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4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5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6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01" r:id="rId1"/>
    <p:sldMasterId id="2147484040" r:id="rId2"/>
    <p:sldMasterId id="2147484063" r:id="rId3"/>
    <p:sldMasterId id="2147484086" r:id="rId4"/>
    <p:sldMasterId id="2147484109" r:id="rId5"/>
    <p:sldMasterId id="2147484132" r:id="rId6"/>
    <p:sldMasterId id="2147484155" r:id="rId7"/>
  </p:sldMasterIdLst>
  <p:notesMasterIdLst>
    <p:notesMasterId r:id="rId109"/>
  </p:notesMasterIdLst>
  <p:sldIdLst>
    <p:sldId id="315" r:id="rId8"/>
    <p:sldId id="317" r:id="rId9"/>
    <p:sldId id="346" r:id="rId10"/>
    <p:sldId id="347" r:id="rId11"/>
    <p:sldId id="318" r:id="rId12"/>
    <p:sldId id="319" r:id="rId13"/>
    <p:sldId id="320" r:id="rId14"/>
    <p:sldId id="321" r:id="rId15"/>
    <p:sldId id="322" r:id="rId16"/>
    <p:sldId id="323" r:id="rId17"/>
    <p:sldId id="324" r:id="rId18"/>
    <p:sldId id="325" r:id="rId19"/>
    <p:sldId id="326" r:id="rId20"/>
    <p:sldId id="327" r:id="rId21"/>
    <p:sldId id="328" r:id="rId22"/>
    <p:sldId id="329" r:id="rId23"/>
    <p:sldId id="330" r:id="rId24"/>
    <p:sldId id="331" r:id="rId25"/>
    <p:sldId id="332" r:id="rId26"/>
    <p:sldId id="333" r:id="rId27"/>
    <p:sldId id="334" r:id="rId28"/>
    <p:sldId id="335" r:id="rId29"/>
    <p:sldId id="336" r:id="rId30"/>
    <p:sldId id="316" r:id="rId31"/>
    <p:sldId id="337" r:id="rId32"/>
    <p:sldId id="338" r:id="rId33"/>
    <p:sldId id="339" r:id="rId34"/>
    <p:sldId id="340" r:id="rId35"/>
    <p:sldId id="341" r:id="rId36"/>
    <p:sldId id="342" r:id="rId37"/>
    <p:sldId id="345" r:id="rId38"/>
    <p:sldId id="367" r:id="rId39"/>
    <p:sldId id="343" r:id="rId40"/>
    <p:sldId id="348" r:id="rId41"/>
    <p:sldId id="349" r:id="rId42"/>
    <p:sldId id="350" r:id="rId43"/>
    <p:sldId id="351" r:id="rId44"/>
    <p:sldId id="352" r:id="rId45"/>
    <p:sldId id="353" r:id="rId46"/>
    <p:sldId id="354" r:id="rId47"/>
    <p:sldId id="355" r:id="rId48"/>
    <p:sldId id="358" r:id="rId49"/>
    <p:sldId id="356" r:id="rId50"/>
    <p:sldId id="357" r:id="rId51"/>
    <p:sldId id="360" r:id="rId52"/>
    <p:sldId id="359" r:id="rId53"/>
    <p:sldId id="361" r:id="rId54"/>
    <p:sldId id="362" r:id="rId55"/>
    <p:sldId id="364" r:id="rId56"/>
    <p:sldId id="365" r:id="rId57"/>
    <p:sldId id="368" r:id="rId58"/>
    <p:sldId id="366" r:id="rId59"/>
    <p:sldId id="369" r:id="rId60"/>
    <p:sldId id="370" r:id="rId61"/>
    <p:sldId id="371" r:id="rId62"/>
    <p:sldId id="372" r:id="rId63"/>
    <p:sldId id="413" r:id="rId64"/>
    <p:sldId id="373" r:id="rId65"/>
    <p:sldId id="374" r:id="rId66"/>
    <p:sldId id="375" r:id="rId67"/>
    <p:sldId id="376" r:id="rId68"/>
    <p:sldId id="377" r:id="rId69"/>
    <p:sldId id="378" r:id="rId70"/>
    <p:sldId id="379" r:id="rId71"/>
    <p:sldId id="380" r:id="rId72"/>
    <p:sldId id="381" r:id="rId73"/>
    <p:sldId id="382" r:id="rId74"/>
    <p:sldId id="383" r:id="rId75"/>
    <p:sldId id="385" r:id="rId76"/>
    <p:sldId id="386" r:id="rId77"/>
    <p:sldId id="387" r:id="rId78"/>
    <p:sldId id="389" r:id="rId79"/>
    <p:sldId id="390" r:id="rId80"/>
    <p:sldId id="391" r:id="rId81"/>
    <p:sldId id="392" r:id="rId82"/>
    <p:sldId id="393" r:id="rId83"/>
    <p:sldId id="394" r:id="rId84"/>
    <p:sldId id="395" r:id="rId85"/>
    <p:sldId id="396" r:id="rId86"/>
    <p:sldId id="397" r:id="rId87"/>
    <p:sldId id="398" r:id="rId88"/>
    <p:sldId id="399" r:id="rId89"/>
    <p:sldId id="400" r:id="rId90"/>
    <p:sldId id="402" r:id="rId91"/>
    <p:sldId id="401" r:id="rId92"/>
    <p:sldId id="418" r:id="rId93"/>
    <p:sldId id="415" r:id="rId94"/>
    <p:sldId id="419" r:id="rId95"/>
    <p:sldId id="420" r:id="rId96"/>
    <p:sldId id="421" r:id="rId97"/>
    <p:sldId id="417" r:id="rId98"/>
    <p:sldId id="405" r:id="rId99"/>
    <p:sldId id="404" r:id="rId100"/>
    <p:sldId id="407" r:id="rId101"/>
    <p:sldId id="409" r:id="rId102"/>
    <p:sldId id="410" r:id="rId103"/>
    <p:sldId id="411" r:id="rId104"/>
    <p:sldId id="408" r:id="rId105"/>
    <p:sldId id="416" r:id="rId106"/>
    <p:sldId id="406" r:id="rId107"/>
    <p:sldId id="267" r:id="rId108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5610">
          <p15:clr>
            <a:srgbClr val="A4A3A4"/>
          </p15:clr>
        </p15:guide>
        <p15:guide id="3" pos="4322">
          <p15:clr>
            <a:srgbClr val="A4A3A4"/>
          </p15:clr>
        </p15:guide>
        <p15:guide id="4" pos="149">
          <p15:clr>
            <a:srgbClr val="A4A3A4"/>
          </p15:clr>
        </p15:guide>
        <p15:guide id="5" pos="2880">
          <p15:clr>
            <a:srgbClr val="A4A3A4"/>
          </p15:clr>
        </p15:guide>
        <p15:guide id="6" pos="14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IOT Paul" initials="GP" lastIdx="1" clrIdx="0">
    <p:extLst>
      <p:ext uri="{19B8F6BF-5375-455C-9EA6-DF929625EA0E}">
        <p15:presenceInfo xmlns:p15="http://schemas.microsoft.com/office/powerpoint/2012/main" userId="S-1-5-21-3939231874-287189576-1860914158-89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8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84" y="522"/>
      </p:cViewPr>
      <p:guideLst>
        <p:guide orient="horz" pos="1620"/>
        <p:guide pos="5610"/>
        <p:guide pos="4322"/>
        <p:guide pos="149"/>
        <p:guide pos="2880"/>
        <p:guide pos="14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openxmlformats.org/officeDocument/2006/relationships/slide" Target="slides/slide77.xml"/><Relationship Id="rId89" Type="http://schemas.openxmlformats.org/officeDocument/2006/relationships/slide" Target="slides/slide82.xml"/><Relationship Id="rId1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07" Type="http://schemas.openxmlformats.org/officeDocument/2006/relationships/slide" Target="slides/slide100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66" Type="http://schemas.openxmlformats.org/officeDocument/2006/relationships/slide" Target="slides/slide59.xml"/><Relationship Id="rId74" Type="http://schemas.openxmlformats.org/officeDocument/2006/relationships/slide" Target="slides/slide67.xml"/><Relationship Id="rId79" Type="http://schemas.openxmlformats.org/officeDocument/2006/relationships/slide" Target="slides/slide72.xml"/><Relationship Id="rId87" Type="http://schemas.openxmlformats.org/officeDocument/2006/relationships/slide" Target="slides/slide80.xml"/><Relationship Id="rId102" Type="http://schemas.openxmlformats.org/officeDocument/2006/relationships/slide" Target="slides/slide95.xml"/><Relationship Id="rId110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4.xml"/><Relationship Id="rId82" Type="http://schemas.openxmlformats.org/officeDocument/2006/relationships/slide" Target="slides/slide75.xml"/><Relationship Id="rId90" Type="http://schemas.openxmlformats.org/officeDocument/2006/relationships/slide" Target="slides/slide83.xml"/><Relationship Id="rId95" Type="http://schemas.openxmlformats.org/officeDocument/2006/relationships/slide" Target="slides/slide88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77" Type="http://schemas.openxmlformats.org/officeDocument/2006/relationships/slide" Target="slides/slide70.xml"/><Relationship Id="rId100" Type="http://schemas.openxmlformats.org/officeDocument/2006/relationships/slide" Target="slides/slide93.xml"/><Relationship Id="rId105" Type="http://schemas.openxmlformats.org/officeDocument/2006/relationships/slide" Target="slides/slide98.xml"/><Relationship Id="rId113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80" Type="http://schemas.openxmlformats.org/officeDocument/2006/relationships/slide" Target="slides/slide73.xml"/><Relationship Id="rId85" Type="http://schemas.openxmlformats.org/officeDocument/2006/relationships/slide" Target="slides/slide78.xml"/><Relationship Id="rId93" Type="http://schemas.openxmlformats.org/officeDocument/2006/relationships/slide" Target="slides/slide86.xml"/><Relationship Id="rId98" Type="http://schemas.openxmlformats.org/officeDocument/2006/relationships/slide" Target="slides/slide9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103" Type="http://schemas.openxmlformats.org/officeDocument/2006/relationships/slide" Target="slides/slide96.xml"/><Relationship Id="rId108" Type="http://schemas.openxmlformats.org/officeDocument/2006/relationships/slide" Target="slides/slide101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83" Type="http://schemas.openxmlformats.org/officeDocument/2006/relationships/slide" Target="slides/slide76.xml"/><Relationship Id="rId88" Type="http://schemas.openxmlformats.org/officeDocument/2006/relationships/slide" Target="slides/slide81.xml"/><Relationship Id="rId91" Type="http://schemas.openxmlformats.org/officeDocument/2006/relationships/slide" Target="slides/slide84.xml"/><Relationship Id="rId96" Type="http://schemas.openxmlformats.org/officeDocument/2006/relationships/slide" Target="slides/slide89.xml"/><Relationship Id="rId11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6" Type="http://schemas.openxmlformats.org/officeDocument/2006/relationships/slide" Target="slides/slide99.xml"/><Relationship Id="rId114" Type="http://schemas.openxmlformats.org/officeDocument/2006/relationships/tableStyles" Target="tableStyle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slide" Target="slides/slide71.xml"/><Relationship Id="rId81" Type="http://schemas.openxmlformats.org/officeDocument/2006/relationships/slide" Target="slides/slide74.xml"/><Relationship Id="rId86" Type="http://schemas.openxmlformats.org/officeDocument/2006/relationships/slide" Target="slides/slide79.xml"/><Relationship Id="rId94" Type="http://schemas.openxmlformats.org/officeDocument/2006/relationships/slide" Target="slides/slide87.xml"/><Relationship Id="rId99" Type="http://schemas.openxmlformats.org/officeDocument/2006/relationships/slide" Target="slides/slide92.xml"/><Relationship Id="rId101" Type="http://schemas.openxmlformats.org/officeDocument/2006/relationships/slide" Target="slides/slide9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109" Type="http://schemas.openxmlformats.org/officeDocument/2006/relationships/notesMaster" Target="notesMasters/notesMaster1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97" Type="http://schemas.openxmlformats.org/officeDocument/2006/relationships/slide" Target="slides/slide90.xml"/><Relationship Id="rId104" Type="http://schemas.openxmlformats.org/officeDocument/2006/relationships/slide" Target="slides/slide97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4.xml"/><Relationship Id="rId92" Type="http://schemas.openxmlformats.org/officeDocument/2006/relationships/slide" Target="slides/slide8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7A39D1-3B46-456A-9A8A-B5ABCD0C0441}" type="datetimeFigureOut">
              <a:rPr lang="en-US" smtClean="0"/>
              <a:t>1/2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961E7-89E6-41B3-BB69-63B55C33F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728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for background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4"/>
          <p:cNvGrpSpPr>
            <a:grpSpLocks noChangeAspect="1"/>
          </p:cNvGrpSpPr>
          <p:nvPr/>
        </p:nvGrpSpPr>
        <p:grpSpPr bwMode="auto">
          <a:xfrm>
            <a:off x="1698" y="-17163"/>
            <a:ext cx="9159875" cy="2687638"/>
            <a:chOff x="-5" y="-2"/>
            <a:chExt cx="5770" cy="1693"/>
          </a:xfrm>
        </p:grpSpPr>
        <p:sp>
          <p:nvSpPr>
            <p:cNvPr id="40" name="Line 5"/>
            <p:cNvSpPr>
              <a:spLocks noChangeShapeType="1"/>
            </p:cNvSpPr>
            <p:nvPr/>
          </p:nvSpPr>
          <p:spPr bwMode="auto">
            <a:xfrm flipV="1">
              <a:off x="-5" y="-2"/>
              <a:ext cx="1636" cy="1149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1" name="Line 6"/>
            <p:cNvSpPr>
              <a:spLocks noChangeShapeType="1"/>
            </p:cNvSpPr>
            <p:nvPr/>
          </p:nvSpPr>
          <p:spPr bwMode="auto">
            <a:xfrm flipV="1">
              <a:off x="-5" y="-2"/>
              <a:ext cx="1792" cy="1186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2" name="Line 7"/>
            <p:cNvSpPr>
              <a:spLocks noChangeShapeType="1"/>
            </p:cNvSpPr>
            <p:nvPr/>
          </p:nvSpPr>
          <p:spPr bwMode="auto">
            <a:xfrm flipV="1">
              <a:off x="-5" y="-2"/>
              <a:ext cx="1953" cy="1241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3" name="Line 8"/>
            <p:cNvSpPr>
              <a:spLocks noChangeShapeType="1"/>
            </p:cNvSpPr>
            <p:nvPr/>
          </p:nvSpPr>
          <p:spPr bwMode="auto">
            <a:xfrm flipV="1">
              <a:off x="-5" y="-2"/>
              <a:ext cx="2141" cy="1278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4" name="Line 9"/>
            <p:cNvSpPr>
              <a:spLocks noChangeShapeType="1"/>
            </p:cNvSpPr>
            <p:nvPr/>
          </p:nvSpPr>
          <p:spPr bwMode="auto">
            <a:xfrm flipV="1">
              <a:off x="-5" y="-2"/>
              <a:ext cx="2338" cy="1315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5" name="Line 10"/>
            <p:cNvSpPr>
              <a:spLocks noChangeShapeType="1"/>
            </p:cNvSpPr>
            <p:nvPr/>
          </p:nvSpPr>
          <p:spPr bwMode="auto">
            <a:xfrm flipV="1">
              <a:off x="-5" y="-2"/>
              <a:ext cx="1190" cy="715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6" name="Line 11"/>
            <p:cNvSpPr>
              <a:spLocks noChangeShapeType="1"/>
            </p:cNvSpPr>
            <p:nvPr/>
          </p:nvSpPr>
          <p:spPr bwMode="auto">
            <a:xfrm flipV="1">
              <a:off x="-5" y="-2"/>
              <a:ext cx="634" cy="319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7" name="Line 12"/>
            <p:cNvSpPr>
              <a:spLocks noChangeShapeType="1"/>
            </p:cNvSpPr>
            <p:nvPr/>
          </p:nvSpPr>
          <p:spPr bwMode="auto">
            <a:xfrm flipV="1">
              <a:off x="-5" y="-2"/>
              <a:ext cx="5370" cy="1601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8" name="Line 13"/>
            <p:cNvSpPr>
              <a:spLocks noChangeShapeType="1"/>
            </p:cNvSpPr>
            <p:nvPr/>
          </p:nvSpPr>
          <p:spPr bwMode="auto">
            <a:xfrm flipV="1">
              <a:off x="-5" y="-2"/>
              <a:ext cx="2559" cy="1352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49" name="Line 14"/>
            <p:cNvSpPr>
              <a:spLocks noChangeShapeType="1"/>
            </p:cNvSpPr>
            <p:nvPr/>
          </p:nvSpPr>
          <p:spPr bwMode="auto">
            <a:xfrm flipV="1">
              <a:off x="-5" y="-2"/>
              <a:ext cx="2793" cy="1389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50" name="Line 15"/>
            <p:cNvSpPr>
              <a:spLocks noChangeShapeType="1"/>
            </p:cNvSpPr>
            <p:nvPr/>
          </p:nvSpPr>
          <p:spPr bwMode="auto">
            <a:xfrm flipV="1">
              <a:off x="-5" y="-2"/>
              <a:ext cx="3050" cy="1416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51" name="Line 16"/>
            <p:cNvSpPr>
              <a:spLocks noChangeShapeType="1"/>
            </p:cNvSpPr>
            <p:nvPr/>
          </p:nvSpPr>
          <p:spPr bwMode="auto">
            <a:xfrm flipV="1">
              <a:off x="-5" y="-2"/>
              <a:ext cx="3335" cy="1449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52" name="Line 17"/>
            <p:cNvSpPr>
              <a:spLocks noChangeShapeType="1"/>
            </p:cNvSpPr>
            <p:nvPr/>
          </p:nvSpPr>
          <p:spPr bwMode="auto">
            <a:xfrm flipV="1">
              <a:off x="-5" y="-2"/>
              <a:ext cx="3648" cy="1485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53" name="Line 18"/>
            <p:cNvSpPr>
              <a:spLocks noChangeShapeType="1"/>
            </p:cNvSpPr>
            <p:nvPr/>
          </p:nvSpPr>
          <p:spPr bwMode="auto">
            <a:xfrm flipV="1">
              <a:off x="-5" y="-2"/>
              <a:ext cx="4010" cy="1518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54" name="Line 19"/>
            <p:cNvSpPr>
              <a:spLocks noChangeShapeType="1"/>
            </p:cNvSpPr>
            <p:nvPr/>
          </p:nvSpPr>
          <p:spPr bwMode="auto">
            <a:xfrm flipV="1">
              <a:off x="-5" y="-2"/>
              <a:ext cx="4428" cy="1550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55" name="Line 20"/>
            <p:cNvSpPr>
              <a:spLocks noChangeShapeType="1"/>
            </p:cNvSpPr>
            <p:nvPr/>
          </p:nvSpPr>
          <p:spPr bwMode="auto">
            <a:xfrm flipV="1">
              <a:off x="-5" y="-2"/>
              <a:ext cx="4842" cy="1573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56" name="Line 21"/>
            <p:cNvSpPr>
              <a:spLocks noChangeShapeType="1"/>
            </p:cNvSpPr>
            <p:nvPr/>
          </p:nvSpPr>
          <p:spPr bwMode="auto">
            <a:xfrm flipV="1">
              <a:off x="-5" y="63"/>
              <a:ext cx="5770" cy="1568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57" name="Line 22"/>
            <p:cNvSpPr>
              <a:spLocks noChangeShapeType="1"/>
            </p:cNvSpPr>
            <p:nvPr/>
          </p:nvSpPr>
          <p:spPr bwMode="auto">
            <a:xfrm flipV="1">
              <a:off x="-5" y="224"/>
              <a:ext cx="5770" cy="1435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58" name="Line 23"/>
            <p:cNvSpPr>
              <a:spLocks noChangeShapeType="1"/>
            </p:cNvSpPr>
            <p:nvPr/>
          </p:nvSpPr>
          <p:spPr bwMode="auto">
            <a:xfrm flipV="1">
              <a:off x="-5" y="381"/>
              <a:ext cx="5770" cy="1310"/>
            </a:xfrm>
            <a:prstGeom prst="line">
              <a:avLst/>
            </a:prstGeom>
            <a:noFill/>
            <a:ln w="3175" cap="flat">
              <a:solidFill>
                <a:srgbClr val="FFFFFF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n w="6350">
                  <a:solidFill>
                    <a:schemeClr val="tx1"/>
                  </a:solidFill>
                </a:ln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0239" y="1245428"/>
            <a:ext cx="7872484" cy="445241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dirty="0" smtClean="0"/>
              <a:t>Insert subtitle here. Right click on slide background to set picture.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fld id="{9C6E2A7D-CF43-40E3-90FA-87778DD65CEB}" type="datetime1">
              <a:rPr lang="en-GB" smtClean="0"/>
              <a:t>24/01/2018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646925" y="470735"/>
            <a:ext cx="7855798" cy="0"/>
          </a:xfrm>
          <a:prstGeom prst="line">
            <a:avLst/>
          </a:prstGeom>
          <a:ln w="381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239" y="470734"/>
            <a:ext cx="7872484" cy="698501"/>
          </a:xfrm>
        </p:spPr>
        <p:txBody>
          <a:bodyPr vert="horz" lIns="36000" tIns="0" rIns="36000" bIns="0" rtlCol="0" anchor="ctr">
            <a:normAutofit/>
          </a:bodyPr>
          <a:lstStyle>
            <a:lvl1pPr>
              <a:defRPr lang="en-US" sz="48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>
              <a:spcBef>
                <a:spcPts val="0"/>
              </a:spcBef>
              <a:buFont typeface="Arial" panose="020B0604020202020204" pitchFamily="34" charset="0"/>
            </a:pPr>
            <a:r>
              <a:rPr lang="en-US" dirty="0" smtClean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97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re et contenu su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4FEE24FE-C300-4893-B24A-3BA8F9085FEA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11793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4359276" y="-327025"/>
            <a:ext cx="4581526" cy="4872038"/>
          </a:xfrm>
          <a:custGeom>
            <a:avLst/>
            <a:gdLst>
              <a:gd name="T0" fmla="*/ 4641 w 7350"/>
              <a:gd name="T1" fmla="*/ 6558 h 7827"/>
              <a:gd name="T2" fmla="*/ 5275 w 7350"/>
              <a:gd name="T3" fmla="*/ 6769 h 7827"/>
              <a:gd name="T4" fmla="*/ 4641 w 7350"/>
              <a:gd name="T5" fmla="*/ 6981 h 7827"/>
              <a:gd name="T6" fmla="*/ 5275 w 7350"/>
              <a:gd name="T7" fmla="*/ 7192 h 7827"/>
              <a:gd name="T8" fmla="*/ 5698 w 7350"/>
              <a:gd name="T9" fmla="*/ 5923 h 7827"/>
              <a:gd name="T10" fmla="*/ 4995 w 7350"/>
              <a:gd name="T11" fmla="*/ 1746 h 7827"/>
              <a:gd name="T12" fmla="*/ 5698 w 7350"/>
              <a:gd name="T13" fmla="*/ 4019 h 7827"/>
              <a:gd name="T14" fmla="*/ 5698 w 7350"/>
              <a:gd name="T15" fmla="*/ 5288 h 7827"/>
              <a:gd name="T16" fmla="*/ 5698 w 7350"/>
              <a:gd name="T17" fmla="*/ 5923 h 7827"/>
              <a:gd name="T18" fmla="*/ 6022 w 7350"/>
              <a:gd name="T19" fmla="*/ 2924 h 7827"/>
              <a:gd name="T20" fmla="*/ 5291 w 7350"/>
              <a:gd name="T21" fmla="*/ 1416 h 7827"/>
              <a:gd name="T22" fmla="*/ 3596 w 7350"/>
              <a:gd name="T23" fmla="*/ 637 h 7827"/>
              <a:gd name="T24" fmla="*/ 6346 w 7350"/>
              <a:gd name="T25" fmla="*/ 4019 h 7827"/>
              <a:gd name="T26" fmla="*/ 6629 w 7350"/>
              <a:gd name="T27" fmla="*/ 2691 h 7827"/>
              <a:gd name="T28" fmla="*/ 5637 w 7350"/>
              <a:gd name="T29" fmla="*/ 898 h 7827"/>
              <a:gd name="T30" fmla="*/ 3596 w 7350"/>
              <a:gd name="T31" fmla="*/ 1 h 7827"/>
              <a:gd name="T32" fmla="*/ 6980 w 7350"/>
              <a:gd name="T33" fmla="*/ 4019 h 7827"/>
              <a:gd name="T34" fmla="*/ 6241 w 7350"/>
              <a:gd name="T35" fmla="*/ 4972 h 7827"/>
              <a:gd name="T36" fmla="*/ 6007 w 7350"/>
              <a:gd name="T37" fmla="*/ 5626 h 7827"/>
              <a:gd name="T38" fmla="*/ 6137 w 7350"/>
              <a:gd name="T39" fmla="*/ 4014 h 7827"/>
              <a:gd name="T40" fmla="*/ 6225 w 7350"/>
              <a:gd name="T41" fmla="*/ 5288 h 7827"/>
              <a:gd name="T42" fmla="*/ 6200 w 7350"/>
              <a:gd name="T43" fmla="*/ 5791 h 7827"/>
              <a:gd name="T44" fmla="*/ 6346 w 7350"/>
              <a:gd name="T45" fmla="*/ 4019 h 7827"/>
              <a:gd name="T46" fmla="*/ 6331 w 7350"/>
              <a:gd name="T47" fmla="*/ 5289 h 7827"/>
              <a:gd name="T48" fmla="*/ 6346 w 7350"/>
              <a:gd name="T49" fmla="*/ 5923 h 7827"/>
              <a:gd name="T50" fmla="*/ 6875 w 7350"/>
              <a:gd name="T51" fmla="*/ 4972 h 7827"/>
              <a:gd name="T52" fmla="*/ 6642 w 7350"/>
              <a:gd name="T53" fmla="*/ 5626 h 7827"/>
              <a:gd name="T54" fmla="*/ 6771 w 7350"/>
              <a:gd name="T55" fmla="*/ 4014 h 7827"/>
              <a:gd name="T56" fmla="*/ 6859 w 7350"/>
              <a:gd name="T57" fmla="*/ 5288 h 7827"/>
              <a:gd name="T58" fmla="*/ 6835 w 7350"/>
              <a:gd name="T59" fmla="*/ 5791 h 7827"/>
              <a:gd name="T60" fmla="*/ 6980 w 7350"/>
              <a:gd name="T61" fmla="*/ 4019 h 7827"/>
              <a:gd name="T62" fmla="*/ 6965 w 7350"/>
              <a:gd name="T63" fmla="*/ 5289 h 7827"/>
              <a:gd name="T64" fmla="*/ 6980 w 7350"/>
              <a:gd name="T65" fmla="*/ 5923 h 7827"/>
              <a:gd name="T66" fmla="*/ 4429 w 7350"/>
              <a:gd name="T67" fmla="*/ 7192 h 7827"/>
              <a:gd name="T68" fmla="*/ 4641 w 7350"/>
              <a:gd name="T69" fmla="*/ 7827 h 7827"/>
              <a:gd name="T70" fmla="*/ 4641 w 7350"/>
              <a:gd name="T71" fmla="*/ 7615 h 7827"/>
              <a:gd name="T72" fmla="*/ 5275 w 7350"/>
              <a:gd name="T73" fmla="*/ 7615 h 7827"/>
              <a:gd name="T74" fmla="*/ 4217 w 7350"/>
              <a:gd name="T75" fmla="*/ 7192 h 7827"/>
              <a:gd name="T76" fmla="*/ 4641 w 7350"/>
              <a:gd name="T77" fmla="*/ 7404 h 7827"/>
              <a:gd name="T78" fmla="*/ 6134 w 7350"/>
              <a:gd name="T79" fmla="*/ 6135 h 7827"/>
              <a:gd name="T80" fmla="*/ 5275 w 7350"/>
              <a:gd name="T81" fmla="*/ 7192 h 7827"/>
              <a:gd name="T82" fmla="*/ 6769 w 7350"/>
              <a:gd name="T83" fmla="*/ 6135 h 7827"/>
              <a:gd name="T84" fmla="*/ 5275 w 7350"/>
              <a:gd name="T85" fmla="*/ 7827 h 7827"/>
              <a:gd name="T86" fmla="*/ 6134 w 7350"/>
              <a:gd name="T87" fmla="*/ 5923 h 7827"/>
              <a:gd name="T88" fmla="*/ 6346 w 7350"/>
              <a:gd name="T89" fmla="*/ 6135 h 7827"/>
              <a:gd name="T90" fmla="*/ 6769 w 7350"/>
              <a:gd name="T91" fmla="*/ 5923 h 7827"/>
              <a:gd name="T92" fmla="*/ 6980 w 7350"/>
              <a:gd name="T93" fmla="*/ 6135 h 7827"/>
              <a:gd name="T94" fmla="*/ 3596 w 7350"/>
              <a:gd name="T95" fmla="*/ 212 h 7827"/>
              <a:gd name="T96" fmla="*/ 1734 w 7350"/>
              <a:gd name="T97" fmla="*/ 6669 h 7827"/>
              <a:gd name="T98" fmla="*/ 1734 w 7350"/>
              <a:gd name="T99" fmla="*/ 6669 h 7827"/>
              <a:gd name="T100" fmla="*/ 423 w 7350"/>
              <a:gd name="T101" fmla="*/ 3599 h 7827"/>
              <a:gd name="T102" fmla="*/ 212 w 7350"/>
              <a:gd name="T103" fmla="*/ 3600 h 7827"/>
              <a:gd name="T104" fmla="*/ 1810 w 7350"/>
              <a:gd name="T105" fmla="*/ 5954 h 7827"/>
              <a:gd name="T106" fmla="*/ 1836 w 7350"/>
              <a:gd name="T107" fmla="*/ 5708 h 7827"/>
              <a:gd name="T108" fmla="*/ 3596 w 7350"/>
              <a:gd name="T109" fmla="*/ 637 h 7827"/>
              <a:gd name="T110" fmla="*/ 1810 w 7350"/>
              <a:gd name="T111" fmla="*/ 5954 h 7827"/>
              <a:gd name="T112" fmla="*/ 1836 w 7350"/>
              <a:gd name="T113" fmla="*/ 5708 h 7827"/>
              <a:gd name="T114" fmla="*/ 2174 w 7350"/>
              <a:gd name="T115" fmla="*/ 5699 h 7827"/>
              <a:gd name="T116" fmla="*/ 1058 w 7350"/>
              <a:gd name="T117" fmla="*/ 3597 h 7827"/>
              <a:gd name="T118" fmla="*/ 1269 w 7350"/>
              <a:gd name="T119" fmla="*/ 3597 h 7827"/>
              <a:gd name="T120" fmla="*/ 2174 w 7350"/>
              <a:gd name="T121" fmla="*/ 5699 h 7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350" h="7827">
                <a:moveTo>
                  <a:pt x="4006" y="7192"/>
                </a:moveTo>
                <a:cubicBezTo>
                  <a:pt x="4006" y="6842"/>
                  <a:pt x="4290" y="6558"/>
                  <a:pt x="4641" y="6558"/>
                </a:cubicBezTo>
                <a:moveTo>
                  <a:pt x="4641" y="6558"/>
                </a:moveTo>
                <a:cubicBezTo>
                  <a:pt x="5275" y="6558"/>
                  <a:pt x="5275" y="6558"/>
                  <a:pt x="5275" y="6558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981"/>
                </a:moveTo>
                <a:cubicBezTo>
                  <a:pt x="5275" y="6981"/>
                  <a:pt x="5275" y="6981"/>
                  <a:pt x="5275" y="6981"/>
                </a:cubicBezTo>
                <a:moveTo>
                  <a:pt x="4641" y="7192"/>
                </a:moveTo>
                <a:cubicBezTo>
                  <a:pt x="5275" y="7192"/>
                  <a:pt x="5275" y="7192"/>
                  <a:pt x="5275" y="7192"/>
                </a:cubicBezTo>
                <a:moveTo>
                  <a:pt x="5698" y="6135"/>
                </a:moveTo>
                <a:cubicBezTo>
                  <a:pt x="5698" y="6368"/>
                  <a:pt x="5509" y="6558"/>
                  <a:pt x="5275" y="6558"/>
                </a:cubicBezTo>
                <a:moveTo>
                  <a:pt x="5698" y="5923"/>
                </a:moveTo>
                <a:cubicBezTo>
                  <a:pt x="5698" y="6135"/>
                  <a:pt x="5698" y="6135"/>
                  <a:pt x="5698" y="6135"/>
                </a:cubicBezTo>
                <a:moveTo>
                  <a:pt x="3583" y="1270"/>
                </a:moveTo>
                <a:cubicBezTo>
                  <a:pt x="4083" y="1270"/>
                  <a:pt x="4583" y="1428"/>
                  <a:pt x="4995" y="1746"/>
                </a:cubicBezTo>
                <a:cubicBezTo>
                  <a:pt x="5410" y="2066"/>
                  <a:pt x="5684" y="2488"/>
                  <a:pt x="5816" y="2942"/>
                </a:cubicBezTo>
                <a:cubicBezTo>
                  <a:pt x="5920" y="3298"/>
                  <a:pt x="5866" y="3682"/>
                  <a:pt x="5700" y="4014"/>
                </a:cubicBezTo>
                <a:cubicBezTo>
                  <a:pt x="5698" y="4019"/>
                  <a:pt x="5698" y="4019"/>
                  <a:pt x="5698" y="4019"/>
                </a:cubicBezTo>
                <a:cubicBezTo>
                  <a:pt x="6016" y="4972"/>
                  <a:pt x="6016" y="4972"/>
                  <a:pt x="6016" y="4972"/>
                </a:cubicBezTo>
                <a:cubicBezTo>
                  <a:pt x="6068" y="5128"/>
                  <a:pt x="5952" y="5288"/>
                  <a:pt x="5789" y="5288"/>
                </a:cubicBezTo>
                <a:cubicBezTo>
                  <a:pt x="5698" y="5288"/>
                  <a:pt x="5698" y="5288"/>
                  <a:pt x="5698" y="5288"/>
                </a:cubicBezTo>
                <a:cubicBezTo>
                  <a:pt x="5782" y="5626"/>
                  <a:pt x="5782" y="5626"/>
                  <a:pt x="5782" y="5626"/>
                </a:cubicBezTo>
                <a:cubicBezTo>
                  <a:pt x="5796" y="5681"/>
                  <a:pt x="5790" y="5740"/>
                  <a:pt x="5764" y="5791"/>
                </a:cubicBezTo>
                <a:cubicBezTo>
                  <a:pt x="5698" y="5923"/>
                  <a:pt x="5698" y="5923"/>
                  <a:pt x="5698" y="5923"/>
                </a:cubicBezTo>
                <a:moveTo>
                  <a:pt x="3531" y="1058"/>
                </a:moveTo>
                <a:cubicBezTo>
                  <a:pt x="4088" y="1058"/>
                  <a:pt x="4646" y="1235"/>
                  <a:pt x="5106" y="1589"/>
                </a:cubicBezTo>
                <a:cubicBezTo>
                  <a:pt x="5569" y="1947"/>
                  <a:pt x="5874" y="2417"/>
                  <a:pt x="6022" y="2924"/>
                </a:cubicBezTo>
                <a:cubicBezTo>
                  <a:pt x="6138" y="3321"/>
                  <a:pt x="6108" y="3648"/>
                  <a:pt x="5923" y="4019"/>
                </a:cubicBezTo>
                <a:moveTo>
                  <a:pt x="3596" y="847"/>
                </a:moveTo>
                <a:cubicBezTo>
                  <a:pt x="4194" y="847"/>
                  <a:pt x="4798" y="1036"/>
                  <a:pt x="5291" y="1416"/>
                </a:cubicBezTo>
                <a:cubicBezTo>
                  <a:pt x="5787" y="1799"/>
                  <a:pt x="6114" y="2303"/>
                  <a:pt x="6272" y="2846"/>
                </a:cubicBezTo>
                <a:cubicBezTo>
                  <a:pt x="6397" y="3272"/>
                  <a:pt x="6333" y="3622"/>
                  <a:pt x="6134" y="4019"/>
                </a:cubicBezTo>
                <a:moveTo>
                  <a:pt x="3596" y="637"/>
                </a:moveTo>
                <a:cubicBezTo>
                  <a:pt x="4234" y="637"/>
                  <a:pt x="4878" y="838"/>
                  <a:pt x="5404" y="1243"/>
                </a:cubicBezTo>
                <a:cubicBezTo>
                  <a:pt x="5933" y="1651"/>
                  <a:pt x="6282" y="2189"/>
                  <a:pt x="6451" y="2769"/>
                </a:cubicBezTo>
                <a:cubicBezTo>
                  <a:pt x="6583" y="3223"/>
                  <a:pt x="6557" y="3596"/>
                  <a:pt x="6346" y="4019"/>
                </a:cubicBezTo>
                <a:moveTo>
                  <a:pt x="3581" y="424"/>
                </a:moveTo>
                <a:cubicBezTo>
                  <a:pt x="4258" y="424"/>
                  <a:pt x="4959" y="640"/>
                  <a:pt x="5517" y="1071"/>
                </a:cubicBezTo>
                <a:cubicBezTo>
                  <a:pt x="6079" y="1504"/>
                  <a:pt x="6450" y="2076"/>
                  <a:pt x="6629" y="2691"/>
                </a:cubicBezTo>
                <a:cubicBezTo>
                  <a:pt x="6770" y="3174"/>
                  <a:pt x="6782" y="3569"/>
                  <a:pt x="6557" y="4019"/>
                </a:cubicBezTo>
                <a:moveTo>
                  <a:pt x="3596" y="212"/>
                </a:moveTo>
                <a:cubicBezTo>
                  <a:pt x="4313" y="212"/>
                  <a:pt x="5046" y="442"/>
                  <a:pt x="5637" y="898"/>
                </a:cubicBezTo>
                <a:cubicBezTo>
                  <a:pt x="6233" y="1357"/>
                  <a:pt x="6625" y="1962"/>
                  <a:pt x="6816" y="2614"/>
                </a:cubicBezTo>
                <a:cubicBezTo>
                  <a:pt x="6965" y="3125"/>
                  <a:pt x="7007" y="3544"/>
                  <a:pt x="6769" y="4020"/>
                </a:cubicBezTo>
                <a:moveTo>
                  <a:pt x="3596" y="1"/>
                </a:moveTo>
                <a:cubicBezTo>
                  <a:pt x="4353" y="0"/>
                  <a:pt x="5119" y="240"/>
                  <a:pt x="5743" y="722"/>
                </a:cubicBezTo>
                <a:cubicBezTo>
                  <a:pt x="6371" y="1206"/>
                  <a:pt x="6786" y="1845"/>
                  <a:pt x="6987" y="2533"/>
                </a:cubicBezTo>
                <a:cubicBezTo>
                  <a:pt x="7144" y="3073"/>
                  <a:pt x="7232" y="3516"/>
                  <a:pt x="6980" y="4019"/>
                </a:cubicBezTo>
                <a:moveTo>
                  <a:pt x="5925" y="4014"/>
                </a:moveTo>
                <a:cubicBezTo>
                  <a:pt x="5923" y="4019"/>
                  <a:pt x="5923" y="4019"/>
                  <a:pt x="5923" y="4019"/>
                </a:cubicBezTo>
                <a:cubicBezTo>
                  <a:pt x="6241" y="4972"/>
                  <a:pt x="6241" y="4972"/>
                  <a:pt x="6241" y="4972"/>
                </a:cubicBezTo>
                <a:cubicBezTo>
                  <a:pt x="6292" y="5128"/>
                  <a:pt x="6177" y="5288"/>
                  <a:pt x="6013" y="5288"/>
                </a:cubicBezTo>
                <a:cubicBezTo>
                  <a:pt x="5908" y="5289"/>
                  <a:pt x="5908" y="5289"/>
                  <a:pt x="5908" y="5289"/>
                </a:cubicBezTo>
                <a:cubicBezTo>
                  <a:pt x="6007" y="5626"/>
                  <a:pt x="6007" y="5626"/>
                  <a:pt x="6007" y="5626"/>
                </a:cubicBezTo>
                <a:cubicBezTo>
                  <a:pt x="6021" y="5681"/>
                  <a:pt x="6014" y="5740"/>
                  <a:pt x="5989" y="5791"/>
                </a:cubicBezTo>
                <a:cubicBezTo>
                  <a:pt x="5923" y="5923"/>
                  <a:pt x="5923" y="5923"/>
                  <a:pt x="5923" y="5923"/>
                </a:cubicBezTo>
                <a:moveTo>
                  <a:pt x="6137" y="4014"/>
                </a:moveTo>
                <a:cubicBezTo>
                  <a:pt x="6134" y="4019"/>
                  <a:pt x="6134" y="4019"/>
                  <a:pt x="6134" y="4019"/>
                </a:cubicBezTo>
                <a:cubicBezTo>
                  <a:pt x="6452" y="4972"/>
                  <a:pt x="6452" y="4972"/>
                  <a:pt x="6452" y="4972"/>
                </a:cubicBezTo>
                <a:cubicBezTo>
                  <a:pt x="6504" y="5128"/>
                  <a:pt x="6388" y="5288"/>
                  <a:pt x="6225" y="5288"/>
                </a:cubicBezTo>
                <a:cubicBezTo>
                  <a:pt x="6119" y="5289"/>
                  <a:pt x="6119" y="5289"/>
                  <a:pt x="6119" y="5289"/>
                </a:cubicBezTo>
                <a:cubicBezTo>
                  <a:pt x="6219" y="5626"/>
                  <a:pt x="6219" y="5626"/>
                  <a:pt x="6219" y="5626"/>
                </a:cubicBezTo>
                <a:cubicBezTo>
                  <a:pt x="6232" y="5681"/>
                  <a:pt x="6226" y="5740"/>
                  <a:pt x="6200" y="5791"/>
                </a:cubicBezTo>
                <a:cubicBezTo>
                  <a:pt x="6134" y="5923"/>
                  <a:pt x="6134" y="5923"/>
                  <a:pt x="6134" y="5923"/>
                </a:cubicBezTo>
                <a:moveTo>
                  <a:pt x="6348" y="4014"/>
                </a:moveTo>
                <a:cubicBezTo>
                  <a:pt x="6346" y="4019"/>
                  <a:pt x="6346" y="4019"/>
                  <a:pt x="6346" y="4019"/>
                </a:cubicBezTo>
                <a:cubicBezTo>
                  <a:pt x="6664" y="4972"/>
                  <a:pt x="6664" y="4972"/>
                  <a:pt x="6664" y="4972"/>
                </a:cubicBezTo>
                <a:cubicBezTo>
                  <a:pt x="6715" y="5128"/>
                  <a:pt x="6600" y="5288"/>
                  <a:pt x="6436" y="5288"/>
                </a:cubicBezTo>
                <a:cubicBezTo>
                  <a:pt x="6331" y="5289"/>
                  <a:pt x="6331" y="5289"/>
                  <a:pt x="6331" y="5289"/>
                </a:cubicBezTo>
                <a:cubicBezTo>
                  <a:pt x="6430" y="5626"/>
                  <a:pt x="6430" y="5626"/>
                  <a:pt x="6430" y="5626"/>
                </a:cubicBezTo>
                <a:cubicBezTo>
                  <a:pt x="6444" y="5681"/>
                  <a:pt x="6438" y="5740"/>
                  <a:pt x="6412" y="5791"/>
                </a:cubicBezTo>
                <a:cubicBezTo>
                  <a:pt x="6346" y="5923"/>
                  <a:pt x="6346" y="5923"/>
                  <a:pt x="6346" y="5923"/>
                </a:cubicBezTo>
                <a:moveTo>
                  <a:pt x="6560" y="4014"/>
                </a:moveTo>
                <a:cubicBezTo>
                  <a:pt x="6557" y="4019"/>
                  <a:pt x="6557" y="4019"/>
                  <a:pt x="6557" y="4019"/>
                </a:cubicBezTo>
                <a:cubicBezTo>
                  <a:pt x="6875" y="4972"/>
                  <a:pt x="6875" y="4972"/>
                  <a:pt x="6875" y="4972"/>
                </a:cubicBezTo>
                <a:cubicBezTo>
                  <a:pt x="6927" y="5128"/>
                  <a:pt x="6811" y="5288"/>
                  <a:pt x="6648" y="5288"/>
                </a:cubicBezTo>
                <a:cubicBezTo>
                  <a:pt x="6542" y="5289"/>
                  <a:pt x="6542" y="5289"/>
                  <a:pt x="6542" y="5289"/>
                </a:cubicBezTo>
                <a:cubicBezTo>
                  <a:pt x="6642" y="5626"/>
                  <a:pt x="6642" y="5626"/>
                  <a:pt x="6642" y="5626"/>
                </a:cubicBezTo>
                <a:cubicBezTo>
                  <a:pt x="6655" y="5681"/>
                  <a:pt x="6649" y="5740"/>
                  <a:pt x="6623" y="5791"/>
                </a:cubicBezTo>
                <a:cubicBezTo>
                  <a:pt x="6557" y="5923"/>
                  <a:pt x="6557" y="5923"/>
                  <a:pt x="6557" y="5923"/>
                </a:cubicBezTo>
                <a:moveTo>
                  <a:pt x="6771" y="4014"/>
                </a:moveTo>
                <a:cubicBezTo>
                  <a:pt x="6769" y="4019"/>
                  <a:pt x="6769" y="4019"/>
                  <a:pt x="6769" y="4019"/>
                </a:cubicBezTo>
                <a:cubicBezTo>
                  <a:pt x="7087" y="4972"/>
                  <a:pt x="7087" y="4972"/>
                  <a:pt x="7087" y="4972"/>
                </a:cubicBezTo>
                <a:cubicBezTo>
                  <a:pt x="7138" y="5128"/>
                  <a:pt x="7023" y="5288"/>
                  <a:pt x="6859" y="5288"/>
                </a:cubicBezTo>
                <a:cubicBezTo>
                  <a:pt x="6754" y="5289"/>
                  <a:pt x="6754" y="5289"/>
                  <a:pt x="6754" y="5289"/>
                </a:cubicBezTo>
                <a:cubicBezTo>
                  <a:pt x="6853" y="5626"/>
                  <a:pt x="6853" y="5626"/>
                  <a:pt x="6853" y="5626"/>
                </a:cubicBezTo>
                <a:cubicBezTo>
                  <a:pt x="6867" y="5681"/>
                  <a:pt x="6861" y="5740"/>
                  <a:pt x="6835" y="5791"/>
                </a:cubicBezTo>
                <a:cubicBezTo>
                  <a:pt x="6769" y="5923"/>
                  <a:pt x="6769" y="5923"/>
                  <a:pt x="6769" y="5923"/>
                </a:cubicBezTo>
                <a:moveTo>
                  <a:pt x="6983" y="4014"/>
                </a:moveTo>
                <a:cubicBezTo>
                  <a:pt x="6980" y="4019"/>
                  <a:pt x="6980" y="4019"/>
                  <a:pt x="6980" y="4019"/>
                </a:cubicBezTo>
                <a:cubicBezTo>
                  <a:pt x="7298" y="4972"/>
                  <a:pt x="7298" y="4972"/>
                  <a:pt x="7298" y="4972"/>
                </a:cubicBezTo>
                <a:cubicBezTo>
                  <a:pt x="7350" y="5128"/>
                  <a:pt x="7234" y="5288"/>
                  <a:pt x="7071" y="5288"/>
                </a:cubicBezTo>
                <a:cubicBezTo>
                  <a:pt x="6965" y="5289"/>
                  <a:pt x="6965" y="5289"/>
                  <a:pt x="6965" y="5289"/>
                </a:cubicBezTo>
                <a:cubicBezTo>
                  <a:pt x="7065" y="5626"/>
                  <a:pt x="7065" y="5626"/>
                  <a:pt x="7065" y="5626"/>
                </a:cubicBezTo>
                <a:cubicBezTo>
                  <a:pt x="7079" y="5681"/>
                  <a:pt x="7072" y="5740"/>
                  <a:pt x="7047" y="5791"/>
                </a:cubicBezTo>
                <a:cubicBezTo>
                  <a:pt x="6980" y="5923"/>
                  <a:pt x="6980" y="5923"/>
                  <a:pt x="6980" y="5923"/>
                </a:cubicBezTo>
                <a:moveTo>
                  <a:pt x="4217" y="7192"/>
                </a:moveTo>
                <a:cubicBezTo>
                  <a:pt x="4217" y="6959"/>
                  <a:pt x="4407" y="6769"/>
                  <a:pt x="4641" y="6769"/>
                </a:cubicBezTo>
                <a:moveTo>
                  <a:pt x="4429" y="7192"/>
                </a:moveTo>
                <a:cubicBezTo>
                  <a:pt x="4429" y="7076"/>
                  <a:pt x="4524" y="6981"/>
                  <a:pt x="4641" y="6981"/>
                </a:cubicBezTo>
                <a:moveTo>
                  <a:pt x="4006" y="7192"/>
                </a:moveTo>
                <a:cubicBezTo>
                  <a:pt x="4006" y="7543"/>
                  <a:pt x="4290" y="7827"/>
                  <a:pt x="4641" y="7827"/>
                </a:cubicBezTo>
                <a:moveTo>
                  <a:pt x="4641" y="7827"/>
                </a:moveTo>
                <a:cubicBezTo>
                  <a:pt x="5275" y="7827"/>
                  <a:pt x="5275" y="7827"/>
                  <a:pt x="5275" y="7827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404"/>
                </a:moveTo>
                <a:cubicBezTo>
                  <a:pt x="5275" y="7404"/>
                  <a:pt x="5275" y="7404"/>
                  <a:pt x="5275" y="7404"/>
                </a:cubicBezTo>
                <a:moveTo>
                  <a:pt x="4217" y="7192"/>
                </a:moveTo>
                <a:cubicBezTo>
                  <a:pt x="4217" y="7426"/>
                  <a:pt x="4407" y="7615"/>
                  <a:pt x="4641" y="7615"/>
                </a:cubicBezTo>
                <a:moveTo>
                  <a:pt x="4429" y="7192"/>
                </a:moveTo>
                <a:cubicBezTo>
                  <a:pt x="4429" y="7309"/>
                  <a:pt x="4524" y="7404"/>
                  <a:pt x="4641" y="7404"/>
                </a:cubicBezTo>
                <a:moveTo>
                  <a:pt x="5923" y="6135"/>
                </a:moveTo>
                <a:cubicBezTo>
                  <a:pt x="5923" y="6485"/>
                  <a:pt x="5633" y="6769"/>
                  <a:pt x="5275" y="6769"/>
                </a:cubicBezTo>
                <a:moveTo>
                  <a:pt x="6134" y="6135"/>
                </a:moveTo>
                <a:cubicBezTo>
                  <a:pt x="6134" y="6602"/>
                  <a:pt x="5750" y="6981"/>
                  <a:pt x="5275" y="6981"/>
                </a:cubicBezTo>
                <a:moveTo>
                  <a:pt x="6346" y="6135"/>
                </a:moveTo>
                <a:cubicBezTo>
                  <a:pt x="6346" y="6719"/>
                  <a:pt x="5866" y="7192"/>
                  <a:pt x="5275" y="7192"/>
                </a:cubicBezTo>
                <a:moveTo>
                  <a:pt x="6557" y="6135"/>
                </a:moveTo>
                <a:cubicBezTo>
                  <a:pt x="6557" y="6836"/>
                  <a:pt x="5983" y="7404"/>
                  <a:pt x="5275" y="7404"/>
                </a:cubicBezTo>
                <a:moveTo>
                  <a:pt x="6769" y="6135"/>
                </a:moveTo>
                <a:cubicBezTo>
                  <a:pt x="6769" y="6953"/>
                  <a:pt x="6100" y="7615"/>
                  <a:pt x="5275" y="7615"/>
                </a:cubicBezTo>
                <a:moveTo>
                  <a:pt x="6980" y="6135"/>
                </a:moveTo>
                <a:cubicBezTo>
                  <a:pt x="6980" y="7069"/>
                  <a:pt x="6217" y="7827"/>
                  <a:pt x="5275" y="7827"/>
                </a:cubicBezTo>
                <a:moveTo>
                  <a:pt x="5923" y="5923"/>
                </a:moveTo>
                <a:cubicBezTo>
                  <a:pt x="5923" y="6135"/>
                  <a:pt x="5923" y="6135"/>
                  <a:pt x="5923" y="6135"/>
                </a:cubicBezTo>
                <a:moveTo>
                  <a:pt x="6134" y="5923"/>
                </a:moveTo>
                <a:cubicBezTo>
                  <a:pt x="6134" y="6135"/>
                  <a:pt x="6134" y="6135"/>
                  <a:pt x="6134" y="6135"/>
                </a:cubicBezTo>
                <a:moveTo>
                  <a:pt x="6346" y="5923"/>
                </a:moveTo>
                <a:cubicBezTo>
                  <a:pt x="6346" y="6135"/>
                  <a:pt x="6346" y="6135"/>
                  <a:pt x="6346" y="6135"/>
                </a:cubicBezTo>
                <a:moveTo>
                  <a:pt x="6557" y="5923"/>
                </a:moveTo>
                <a:cubicBezTo>
                  <a:pt x="6557" y="6135"/>
                  <a:pt x="6557" y="6135"/>
                  <a:pt x="6557" y="6135"/>
                </a:cubicBezTo>
                <a:moveTo>
                  <a:pt x="6769" y="5923"/>
                </a:moveTo>
                <a:cubicBezTo>
                  <a:pt x="6769" y="6135"/>
                  <a:pt x="6769" y="6135"/>
                  <a:pt x="6769" y="6135"/>
                </a:cubicBezTo>
                <a:moveTo>
                  <a:pt x="6980" y="5923"/>
                </a:moveTo>
                <a:cubicBezTo>
                  <a:pt x="6980" y="6135"/>
                  <a:pt x="6980" y="6135"/>
                  <a:pt x="6980" y="6135"/>
                </a:cubicBezTo>
                <a:moveTo>
                  <a:pt x="1759" y="6437"/>
                </a:moveTo>
                <a:cubicBezTo>
                  <a:pt x="829" y="5834"/>
                  <a:pt x="212" y="4790"/>
                  <a:pt x="212" y="3600"/>
                </a:cubicBezTo>
                <a:cubicBezTo>
                  <a:pt x="212" y="1733"/>
                  <a:pt x="1727" y="212"/>
                  <a:pt x="3596" y="212"/>
                </a:cubicBezTo>
                <a:moveTo>
                  <a:pt x="3596" y="1"/>
                </a:moveTo>
                <a:cubicBezTo>
                  <a:pt x="1610" y="1"/>
                  <a:pt x="0" y="1616"/>
                  <a:pt x="0" y="3600"/>
                </a:cubicBezTo>
                <a:cubicBezTo>
                  <a:pt x="0" y="4902"/>
                  <a:pt x="696" y="6039"/>
                  <a:pt x="1734" y="6669"/>
                </a:cubicBezTo>
                <a:moveTo>
                  <a:pt x="1902" y="6524"/>
                </a:moveTo>
                <a:cubicBezTo>
                  <a:pt x="1854" y="6496"/>
                  <a:pt x="1806" y="6467"/>
                  <a:pt x="1759" y="6437"/>
                </a:cubicBezTo>
                <a:moveTo>
                  <a:pt x="1734" y="6669"/>
                </a:moveTo>
                <a:cubicBezTo>
                  <a:pt x="1767" y="6689"/>
                  <a:pt x="1800" y="6710"/>
                  <a:pt x="1834" y="6729"/>
                </a:cubicBezTo>
                <a:moveTo>
                  <a:pt x="1784" y="6199"/>
                </a:moveTo>
                <a:cubicBezTo>
                  <a:pt x="962" y="5626"/>
                  <a:pt x="423" y="4676"/>
                  <a:pt x="423" y="3599"/>
                </a:cubicBezTo>
                <a:cubicBezTo>
                  <a:pt x="423" y="1848"/>
                  <a:pt x="1829" y="424"/>
                  <a:pt x="3581" y="424"/>
                </a:cubicBezTo>
                <a:moveTo>
                  <a:pt x="3596" y="212"/>
                </a:moveTo>
                <a:cubicBezTo>
                  <a:pt x="1727" y="212"/>
                  <a:pt x="212" y="1733"/>
                  <a:pt x="212" y="3600"/>
                </a:cubicBezTo>
                <a:cubicBezTo>
                  <a:pt x="212" y="4790"/>
                  <a:pt x="829" y="5834"/>
                  <a:pt x="1759" y="6437"/>
                </a:cubicBezTo>
                <a:moveTo>
                  <a:pt x="2039" y="6112"/>
                </a:moveTo>
                <a:cubicBezTo>
                  <a:pt x="1960" y="6063"/>
                  <a:pt x="1884" y="6011"/>
                  <a:pt x="1810" y="5954"/>
                </a:cubicBezTo>
                <a:moveTo>
                  <a:pt x="1784" y="6199"/>
                </a:moveTo>
                <a:cubicBezTo>
                  <a:pt x="1844" y="6241"/>
                  <a:pt x="1907" y="6280"/>
                  <a:pt x="1971" y="6318"/>
                </a:cubicBezTo>
                <a:moveTo>
                  <a:pt x="1836" y="5708"/>
                </a:moveTo>
                <a:cubicBezTo>
                  <a:pt x="1231" y="5204"/>
                  <a:pt x="846" y="4445"/>
                  <a:pt x="846" y="3597"/>
                </a:cubicBezTo>
                <a:cubicBezTo>
                  <a:pt x="846" y="2078"/>
                  <a:pt x="2078" y="847"/>
                  <a:pt x="3596" y="847"/>
                </a:cubicBezTo>
                <a:moveTo>
                  <a:pt x="3596" y="637"/>
                </a:moveTo>
                <a:cubicBezTo>
                  <a:pt x="1961" y="637"/>
                  <a:pt x="635" y="1963"/>
                  <a:pt x="635" y="3598"/>
                </a:cubicBezTo>
                <a:cubicBezTo>
                  <a:pt x="635" y="4561"/>
                  <a:pt x="1097" y="5414"/>
                  <a:pt x="1810" y="5954"/>
                </a:cubicBezTo>
                <a:moveTo>
                  <a:pt x="1810" y="5954"/>
                </a:moveTo>
                <a:cubicBezTo>
                  <a:pt x="1884" y="6011"/>
                  <a:pt x="1960" y="6063"/>
                  <a:pt x="2039" y="6112"/>
                </a:cubicBezTo>
                <a:moveTo>
                  <a:pt x="2108" y="5907"/>
                </a:moveTo>
                <a:cubicBezTo>
                  <a:pt x="2013" y="5845"/>
                  <a:pt x="1922" y="5780"/>
                  <a:pt x="1836" y="5708"/>
                </a:cubicBezTo>
                <a:moveTo>
                  <a:pt x="1836" y="5708"/>
                </a:moveTo>
                <a:cubicBezTo>
                  <a:pt x="1922" y="5780"/>
                  <a:pt x="2013" y="5845"/>
                  <a:pt x="2108" y="5907"/>
                </a:cubicBezTo>
                <a:moveTo>
                  <a:pt x="2174" y="5699"/>
                </a:moveTo>
                <a:cubicBezTo>
                  <a:pt x="2063" y="5624"/>
                  <a:pt x="1960" y="5539"/>
                  <a:pt x="1863" y="5447"/>
                </a:cubicBezTo>
                <a:moveTo>
                  <a:pt x="3596" y="1058"/>
                </a:moveTo>
                <a:cubicBezTo>
                  <a:pt x="2194" y="1058"/>
                  <a:pt x="1058" y="2195"/>
                  <a:pt x="1058" y="3597"/>
                </a:cubicBezTo>
                <a:cubicBezTo>
                  <a:pt x="1058" y="4327"/>
                  <a:pt x="1369" y="4984"/>
                  <a:pt x="1863" y="5447"/>
                </a:cubicBezTo>
                <a:moveTo>
                  <a:pt x="2259" y="5501"/>
                </a:moveTo>
                <a:cubicBezTo>
                  <a:pt x="1660" y="5080"/>
                  <a:pt x="1269" y="4384"/>
                  <a:pt x="1269" y="3597"/>
                </a:cubicBezTo>
                <a:cubicBezTo>
                  <a:pt x="1269" y="2312"/>
                  <a:pt x="2311" y="1270"/>
                  <a:pt x="3596" y="1270"/>
                </a:cubicBezTo>
                <a:moveTo>
                  <a:pt x="1863" y="5447"/>
                </a:moveTo>
                <a:cubicBezTo>
                  <a:pt x="1960" y="5539"/>
                  <a:pt x="2063" y="5624"/>
                  <a:pt x="2174" y="5699"/>
                </a:cubicBez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Public Securit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chemeClr val="accent1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chemeClr val="accent1"/>
                </a:solidFill>
              </a:defRPr>
            </a:lvl1pPr>
          </a:lstStyle>
          <a:p>
            <a:pPr algn="r"/>
            <a:fld id="{A2D18E6B-9C22-4C6B-8130-1AF77BAE66FC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838824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bg>
      <p:bgPr>
        <a:solidFill>
          <a:srgbClr val="ADD5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21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7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8" name="Freeform 5"/>
          <p:cNvSpPr>
            <a:spLocks noEditPoints="1"/>
          </p:cNvSpPr>
          <p:nvPr/>
        </p:nvSpPr>
        <p:spPr bwMode="auto">
          <a:xfrm>
            <a:off x="4260633" y="141658"/>
            <a:ext cx="4581526" cy="4872038"/>
          </a:xfrm>
          <a:custGeom>
            <a:avLst/>
            <a:gdLst>
              <a:gd name="T0" fmla="*/ 4641 w 7350"/>
              <a:gd name="T1" fmla="*/ 6558 h 7827"/>
              <a:gd name="T2" fmla="*/ 5275 w 7350"/>
              <a:gd name="T3" fmla="*/ 6769 h 7827"/>
              <a:gd name="T4" fmla="*/ 4641 w 7350"/>
              <a:gd name="T5" fmla="*/ 6981 h 7827"/>
              <a:gd name="T6" fmla="*/ 5275 w 7350"/>
              <a:gd name="T7" fmla="*/ 7192 h 7827"/>
              <a:gd name="T8" fmla="*/ 5698 w 7350"/>
              <a:gd name="T9" fmla="*/ 5923 h 7827"/>
              <a:gd name="T10" fmla="*/ 4995 w 7350"/>
              <a:gd name="T11" fmla="*/ 1746 h 7827"/>
              <a:gd name="T12" fmla="*/ 5698 w 7350"/>
              <a:gd name="T13" fmla="*/ 4019 h 7827"/>
              <a:gd name="T14" fmla="*/ 5698 w 7350"/>
              <a:gd name="T15" fmla="*/ 5288 h 7827"/>
              <a:gd name="T16" fmla="*/ 5698 w 7350"/>
              <a:gd name="T17" fmla="*/ 5923 h 7827"/>
              <a:gd name="T18" fmla="*/ 6022 w 7350"/>
              <a:gd name="T19" fmla="*/ 2924 h 7827"/>
              <a:gd name="T20" fmla="*/ 5291 w 7350"/>
              <a:gd name="T21" fmla="*/ 1416 h 7827"/>
              <a:gd name="T22" fmla="*/ 3596 w 7350"/>
              <a:gd name="T23" fmla="*/ 637 h 7827"/>
              <a:gd name="T24" fmla="*/ 6346 w 7350"/>
              <a:gd name="T25" fmla="*/ 4019 h 7827"/>
              <a:gd name="T26" fmla="*/ 6629 w 7350"/>
              <a:gd name="T27" fmla="*/ 2691 h 7827"/>
              <a:gd name="T28" fmla="*/ 5637 w 7350"/>
              <a:gd name="T29" fmla="*/ 898 h 7827"/>
              <a:gd name="T30" fmla="*/ 3596 w 7350"/>
              <a:gd name="T31" fmla="*/ 1 h 7827"/>
              <a:gd name="T32" fmla="*/ 6980 w 7350"/>
              <a:gd name="T33" fmla="*/ 4019 h 7827"/>
              <a:gd name="T34" fmla="*/ 6241 w 7350"/>
              <a:gd name="T35" fmla="*/ 4972 h 7827"/>
              <a:gd name="T36" fmla="*/ 6007 w 7350"/>
              <a:gd name="T37" fmla="*/ 5626 h 7827"/>
              <a:gd name="T38" fmla="*/ 6137 w 7350"/>
              <a:gd name="T39" fmla="*/ 4014 h 7827"/>
              <a:gd name="T40" fmla="*/ 6225 w 7350"/>
              <a:gd name="T41" fmla="*/ 5288 h 7827"/>
              <a:gd name="T42" fmla="*/ 6200 w 7350"/>
              <a:gd name="T43" fmla="*/ 5791 h 7827"/>
              <a:gd name="T44" fmla="*/ 6346 w 7350"/>
              <a:gd name="T45" fmla="*/ 4019 h 7827"/>
              <a:gd name="T46" fmla="*/ 6331 w 7350"/>
              <a:gd name="T47" fmla="*/ 5289 h 7827"/>
              <a:gd name="T48" fmla="*/ 6346 w 7350"/>
              <a:gd name="T49" fmla="*/ 5923 h 7827"/>
              <a:gd name="T50" fmla="*/ 6875 w 7350"/>
              <a:gd name="T51" fmla="*/ 4972 h 7827"/>
              <a:gd name="T52" fmla="*/ 6642 w 7350"/>
              <a:gd name="T53" fmla="*/ 5626 h 7827"/>
              <a:gd name="T54" fmla="*/ 6771 w 7350"/>
              <a:gd name="T55" fmla="*/ 4014 h 7827"/>
              <a:gd name="T56" fmla="*/ 6859 w 7350"/>
              <a:gd name="T57" fmla="*/ 5288 h 7827"/>
              <a:gd name="T58" fmla="*/ 6835 w 7350"/>
              <a:gd name="T59" fmla="*/ 5791 h 7827"/>
              <a:gd name="T60" fmla="*/ 6980 w 7350"/>
              <a:gd name="T61" fmla="*/ 4019 h 7827"/>
              <a:gd name="T62" fmla="*/ 6965 w 7350"/>
              <a:gd name="T63" fmla="*/ 5289 h 7827"/>
              <a:gd name="T64" fmla="*/ 6980 w 7350"/>
              <a:gd name="T65" fmla="*/ 5923 h 7827"/>
              <a:gd name="T66" fmla="*/ 4429 w 7350"/>
              <a:gd name="T67" fmla="*/ 7192 h 7827"/>
              <a:gd name="T68" fmla="*/ 4641 w 7350"/>
              <a:gd name="T69" fmla="*/ 7827 h 7827"/>
              <a:gd name="T70" fmla="*/ 4641 w 7350"/>
              <a:gd name="T71" fmla="*/ 7615 h 7827"/>
              <a:gd name="T72" fmla="*/ 5275 w 7350"/>
              <a:gd name="T73" fmla="*/ 7615 h 7827"/>
              <a:gd name="T74" fmla="*/ 4217 w 7350"/>
              <a:gd name="T75" fmla="*/ 7192 h 7827"/>
              <a:gd name="T76" fmla="*/ 4641 w 7350"/>
              <a:gd name="T77" fmla="*/ 7404 h 7827"/>
              <a:gd name="T78" fmla="*/ 6134 w 7350"/>
              <a:gd name="T79" fmla="*/ 6135 h 7827"/>
              <a:gd name="T80" fmla="*/ 5275 w 7350"/>
              <a:gd name="T81" fmla="*/ 7192 h 7827"/>
              <a:gd name="T82" fmla="*/ 6769 w 7350"/>
              <a:gd name="T83" fmla="*/ 6135 h 7827"/>
              <a:gd name="T84" fmla="*/ 5275 w 7350"/>
              <a:gd name="T85" fmla="*/ 7827 h 7827"/>
              <a:gd name="T86" fmla="*/ 6134 w 7350"/>
              <a:gd name="T87" fmla="*/ 5923 h 7827"/>
              <a:gd name="T88" fmla="*/ 6346 w 7350"/>
              <a:gd name="T89" fmla="*/ 6135 h 7827"/>
              <a:gd name="T90" fmla="*/ 6769 w 7350"/>
              <a:gd name="T91" fmla="*/ 5923 h 7827"/>
              <a:gd name="T92" fmla="*/ 6980 w 7350"/>
              <a:gd name="T93" fmla="*/ 6135 h 7827"/>
              <a:gd name="T94" fmla="*/ 3596 w 7350"/>
              <a:gd name="T95" fmla="*/ 212 h 7827"/>
              <a:gd name="T96" fmla="*/ 1734 w 7350"/>
              <a:gd name="T97" fmla="*/ 6669 h 7827"/>
              <a:gd name="T98" fmla="*/ 1734 w 7350"/>
              <a:gd name="T99" fmla="*/ 6669 h 7827"/>
              <a:gd name="T100" fmla="*/ 423 w 7350"/>
              <a:gd name="T101" fmla="*/ 3599 h 7827"/>
              <a:gd name="T102" fmla="*/ 212 w 7350"/>
              <a:gd name="T103" fmla="*/ 3600 h 7827"/>
              <a:gd name="T104" fmla="*/ 1810 w 7350"/>
              <a:gd name="T105" fmla="*/ 5954 h 7827"/>
              <a:gd name="T106" fmla="*/ 1836 w 7350"/>
              <a:gd name="T107" fmla="*/ 5708 h 7827"/>
              <a:gd name="T108" fmla="*/ 3596 w 7350"/>
              <a:gd name="T109" fmla="*/ 637 h 7827"/>
              <a:gd name="T110" fmla="*/ 1810 w 7350"/>
              <a:gd name="T111" fmla="*/ 5954 h 7827"/>
              <a:gd name="T112" fmla="*/ 1836 w 7350"/>
              <a:gd name="T113" fmla="*/ 5708 h 7827"/>
              <a:gd name="T114" fmla="*/ 2174 w 7350"/>
              <a:gd name="T115" fmla="*/ 5699 h 7827"/>
              <a:gd name="T116" fmla="*/ 1058 w 7350"/>
              <a:gd name="T117" fmla="*/ 3597 h 7827"/>
              <a:gd name="T118" fmla="*/ 1269 w 7350"/>
              <a:gd name="T119" fmla="*/ 3597 h 7827"/>
              <a:gd name="T120" fmla="*/ 2174 w 7350"/>
              <a:gd name="T121" fmla="*/ 5699 h 7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350" h="7827">
                <a:moveTo>
                  <a:pt x="4006" y="7192"/>
                </a:moveTo>
                <a:cubicBezTo>
                  <a:pt x="4006" y="6842"/>
                  <a:pt x="4290" y="6558"/>
                  <a:pt x="4641" y="6558"/>
                </a:cubicBezTo>
                <a:moveTo>
                  <a:pt x="4641" y="6558"/>
                </a:moveTo>
                <a:cubicBezTo>
                  <a:pt x="5275" y="6558"/>
                  <a:pt x="5275" y="6558"/>
                  <a:pt x="5275" y="6558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981"/>
                </a:moveTo>
                <a:cubicBezTo>
                  <a:pt x="5275" y="6981"/>
                  <a:pt x="5275" y="6981"/>
                  <a:pt x="5275" y="6981"/>
                </a:cubicBezTo>
                <a:moveTo>
                  <a:pt x="4641" y="7192"/>
                </a:moveTo>
                <a:cubicBezTo>
                  <a:pt x="5275" y="7192"/>
                  <a:pt x="5275" y="7192"/>
                  <a:pt x="5275" y="7192"/>
                </a:cubicBezTo>
                <a:moveTo>
                  <a:pt x="5698" y="6135"/>
                </a:moveTo>
                <a:cubicBezTo>
                  <a:pt x="5698" y="6368"/>
                  <a:pt x="5509" y="6558"/>
                  <a:pt x="5275" y="6558"/>
                </a:cubicBezTo>
                <a:moveTo>
                  <a:pt x="5698" y="5923"/>
                </a:moveTo>
                <a:cubicBezTo>
                  <a:pt x="5698" y="6135"/>
                  <a:pt x="5698" y="6135"/>
                  <a:pt x="5698" y="6135"/>
                </a:cubicBezTo>
                <a:moveTo>
                  <a:pt x="3583" y="1270"/>
                </a:moveTo>
                <a:cubicBezTo>
                  <a:pt x="4083" y="1270"/>
                  <a:pt x="4583" y="1428"/>
                  <a:pt x="4995" y="1746"/>
                </a:cubicBezTo>
                <a:cubicBezTo>
                  <a:pt x="5410" y="2066"/>
                  <a:pt x="5684" y="2488"/>
                  <a:pt x="5816" y="2942"/>
                </a:cubicBezTo>
                <a:cubicBezTo>
                  <a:pt x="5920" y="3298"/>
                  <a:pt x="5866" y="3682"/>
                  <a:pt x="5700" y="4014"/>
                </a:cubicBezTo>
                <a:cubicBezTo>
                  <a:pt x="5698" y="4019"/>
                  <a:pt x="5698" y="4019"/>
                  <a:pt x="5698" y="4019"/>
                </a:cubicBezTo>
                <a:cubicBezTo>
                  <a:pt x="6016" y="4972"/>
                  <a:pt x="6016" y="4972"/>
                  <a:pt x="6016" y="4972"/>
                </a:cubicBezTo>
                <a:cubicBezTo>
                  <a:pt x="6068" y="5128"/>
                  <a:pt x="5952" y="5288"/>
                  <a:pt x="5789" y="5288"/>
                </a:cubicBezTo>
                <a:cubicBezTo>
                  <a:pt x="5698" y="5288"/>
                  <a:pt x="5698" y="5288"/>
                  <a:pt x="5698" y="5288"/>
                </a:cubicBezTo>
                <a:cubicBezTo>
                  <a:pt x="5782" y="5626"/>
                  <a:pt x="5782" y="5626"/>
                  <a:pt x="5782" y="5626"/>
                </a:cubicBezTo>
                <a:cubicBezTo>
                  <a:pt x="5796" y="5681"/>
                  <a:pt x="5790" y="5740"/>
                  <a:pt x="5764" y="5791"/>
                </a:cubicBezTo>
                <a:cubicBezTo>
                  <a:pt x="5698" y="5923"/>
                  <a:pt x="5698" y="5923"/>
                  <a:pt x="5698" y="5923"/>
                </a:cubicBezTo>
                <a:moveTo>
                  <a:pt x="3531" y="1058"/>
                </a:moveTo>
                <a:cubicBezTo>
                  <a:pt x="4088" y="1058"/>
                  <a:pt x="4646" y="1235"/>
                  <a:pt x="5106" y="1589"/>
                </a:cubicBezTo>
                <a:cubicBezTo>
                  <a:pt x="5569" y="1947"/>
                  <a:pt x="5874" y="2417"/>
                  <a:pt x="6022" y="2924"/>
                </a:cubicBezTo>
                <a:cubicBezTo>
                  <a:pt x="6138" y="3321"/>
                  <a:pt x="6108" y="3648"/>
                  <a:pt x="5923" y="4019"/>
                </a:cubicBezTo>
                <a:moveTo>
                  <a:pt x="3596" y="847"/>
                </a:moveTo>
                <a:cubicBezTo>
                  <a:pt x="4194" y="847"/>
                  <a:pt x="4798" y="1036"/>
                  <a:pt x="5291" y="1416"/>
                </a:cubicBezTo>
                <a:cubicBezTo>
                  <a:pt x="5787" y="1799"/>
                  <a:pt x="6114" y="2303"/>
                  <a:pt x="6272" y="2846"/>
                </a:cubicBezTo>
                <a:cubicBezTo>
                  <a:pt x="6397" y="3272"/>
                  <a:pt x="6333" y="3622"/>
                  <a:pt x="6134" y="4019"/>
                </a:cubicBezTo>
                <a:moveTo>
                  <a:pt x="3596" y="637"/>
                </a:moveTo>
                <a:cubicBezTo>
                  <a:pt x="4234" y="637"/>
                  <a:pt x="4878" y="838"/>
                  <a:pt x="5404" y="1243"/>
                </a:cubicBezTo>
                <a:cubicBezTo>
                  <a:pt x="5933" y="1651"/>
                  <a:pt x="6282" y="2189"/>
                  <a:pt x="6451" y="2769"/>
                </a:cubicBezTo>
                <a:cubicBezTo>
                  <a:pt x="6583" y="3223"/>
                  <a:pt x="6557" y="3596"/>
                  <a:pt x="6346" y="4019"/>
                </a:cubicBezTo>
                <a:moveTo>
                  <a:pt x="3581" y="424"/>
                </a:moveTo>
                <a:cubicBezTo>
                  <a:pt x="4258" y="424"/>
                  <a:pt x="4959" y="640"/>
                  <a:pt x="5517" y="1071"/>
                </a:cubicBezTo>
                <a:cubicBezTo>
                  <a:pt x="6079" y="1504"/>
                  <a:pt x="6450" y="2076"/>
                  <a:pt x="6629" y="2691"/>
                </a:cubicBezTo>
                <a:cubicBezTo>
                  <a:pt x="6770" y="3174"/>
                  <a:pt x="6782" y="3569"/>
                  <a:pt x="6557" y="4019"/>
                </a:cubicBezTo>
                <a:moveTo>
                  <a:pt x="3596" y="212"/>
                </a:moveTo>
                <a:cubicBezTo>
                  <a:pt x="4313" y="212"/>
                  <a:pt x="5046" y="442"/>
                  <a:pt x="5637" y="898"/>
                </a:cubicBezTo>
                <a:cubicBezTo>
                  <a:pt x="6233" y="1357"/>
                  <a:pt x="6625" y="1962"/>
                  <a:pt x="6816" y="2614"/>
                </a:cubicBezTo>
                <a:cubicBezTo>
                  <a:pt x="6965" y="3125"/>
                  <a:pt x="7007" y="3544"/>
                  <a:pt x="6769" y="4020"/>
                </a:cubicBezTo>
                <a:moveTo>
                  <a:pt x="3596" y="1"/>
                </a:moveTo>
                <a:cubicBezTo>
                  <a:pt x="4353" y="0"/>
                  <a:pt x="5119" y="240"/>
                  <a:pt x="5743" y="722"/>
                </a:cubicBezTo>
                <a:cubicBezTo>
                  <a:pt x="6371" y="1206"/>
                  <a:pt x="6786" y="1845"/>
                  <a:pt x="6987" y="2533"/>
                </a:cubicBezTo>
                <a:cubicBezTo>
                  <a:pt x="7144" y="3073"/>
                  <a:pt x="7232" y="3516"/>
                  <a:pt x="6980" y="4019"/>
                </a:cubicBezTo>
                <a:moveTo>
                  <a:pt x="5925" y="4014"/>
                </a:moveTo>
                <a:cubicBezTo>
                  <a:pt x="5923" y="4019"/>
                  <a:pt x="5923" y="4019"/>
                  <a:pt x="5923" y="4019"/>
                </a:cubicBezTo>
                <a:cubicBezTo>
                  <a:pt x="6241" y="4972"/>
                  <a:pt x="6241" y="4972"/>
                  <a:pt x="6241" y="4972"/>
                </a:cubicBezTo>
                <a:cubicBezTo>
                  <a:pt x="6292" y="5128"/>
                  <a:pt x="6177" y="5288"/>
                  <a:pt x="6013" y="5288"/>
                </a:cubicBezTo>
                <a:cubicBezTo>
                  <a:pt x="5908" y="5289"/>
                  <a:pt x="5908" y="5289"/>
                  <a:pt x="5908" y="5289"/>
                </a:cubicBezTo>
                <a:cubicBezTo>
                  <a:pt x="6007" y="5626"/>
                  <a:pt x="6007" y="5626"/>
                  <a:pt x="6007" y="5626"/>
                </a:cubicBezTo>
                <a:cubicBezTo>
                  <a:pt x="6021" y="5681"/>
                  <a:pt x="6014" y="5740"/>
                  <a:pt x="5989" y="5791"/>
                </a:cubicBezTo>
                <a:cubicBezTo>
                  <a:pt x="5923" y="5923"/>
                  <a:pt x="5923" y="5923"/>
                  <a:pt x="5923" y="5923"/>
                </a:cubicBezTo>
                <a:moveTo>
                  <a:pt x="6137" y="4014"/>
                </a:moveTo>
                <a:cubicBezTo>
                  <a:pt x="6134" y="4019"/>
                  <a:pt x="6134" y="4019"/>
                  <a:pt x="6134" y="4019"/>
                </a:cubicBezTo>
                <a:cubicBezTo>
                  <a:pt x="6452" y="4972"/>
                  <a:pt x="6452" y="4972"/>
                  <a:pt x="6452" y="4972"/>
                </a:cubicBezTo>
                <a:cubicBezTo>
                  <a:pt x="6504" y="5128"/>
                  <a:pt x="6388" y="5288"/>
                  <a:pt x="6225" y="5288"/>
                </a:cubicBezTo>
                <a:cubicBezTo>
                  <a:pt x="6119" y="5289"/>
                  <a:pt x="6119" y="5289"/>
                  <a:pt x="6119" y="5289"/>
                </a:cubicBezTo>
                <a:cubicBezTo>
                  <a:pt x="6219" y="5626"/>
                  <a:pt x="6219" y="5626"/>
                  <a:pt x="6219" y="5626"/>
                </a:cubicBezTo>
                <a:cubicBezTo>
                  <a:pt x="6232" y="5681"/>
                  <a:pt x="6226" y="5740"/>
                  <a:pt x="6200" y="5791"/>
                </a:cubicBezTo>
                <a:cubicBezTo>
                  <a:pt x="6134" y="5923"/>
                  <a:pt x="6134" y="5923"/>
                  <a:pt x="6134" y="5923"/>
                </a:cubicBezTo>
                <a:moveTo>
                  <a:pt x="6348" y="4014"/>
                </a:moveTo>
                <a:cubicBezTo>
                  <a:pt x="6346" y="4019"/>
                  <a:pt x="6346" y="4019"/>
                  <a:pt x="6346" y="4019"/>
                </a:cubicBezTo>
                <a:cubicBezTo>
                  <a:pt x="6664" y="4972"/>
                  <a:pt x="6664" y="4972"/>
                  <a:pt x="6664" y="4972"/>
                </a:cubicBezTo>
                <a:cubicBezTo>
                  <a:pt x="6715" y="5128"/>
                  <a:pt x="6600" y="5288"/>
                  <a:pt x="6436" y="5288"/>
                </a:cubicBezTo>
                <a:cubicBezTo>
                  <a:pt x="6331" y="5289"/>
                  <a:pt x="6331" y="5289"/>
                  <a:pt x="6331" y="5289"/>
                </a:cubicBezTo>
                <a:cubicBezTo>
                  <a:pt x="6430" y="5626"/>
                  <a:pt x="6430" y="5626"/>
                  <a:pt x="6430" y="5626"/>
                </a:cubicBezTo>
                <a:cubicBezTo>
                  <a:pt x="6444" y="5681"/>
                  <a:pt x="6438" y="5740"/>
                  <a:pt x="6412" y="5791"/>
                </a:cubicBezTo>
                <a:cubicBezTo>
                  <a:pt x="6346" y="5923"/>
                  <a:pt x="6346" y="5923"/>
                  <a:pt x="6346" y="5923"/>
                </a:cubicBezTo>
                <a:moveTo>
                  <a:pt x="6560" y="4014"/>
                </a:moveTo>
                <a:cubicBezTo>
                  <a:pt x="6557" y="4019"/>
                  <a:pt x="6557" y="4019"/>
                  <a:pt x="6557" y="4019"/>
                </a:cubicBezTo>
                <a:cubicBezTo>
                  <a:pt x="6875" y="4972"/>
                  <a:pt x="6875" y="4972"/>
                  <a:pt x="6875" y="4972"/>
                </a:cubicBezTo>
                <a:cubicBezTo>
                  <a:pt x="6927" y="5128"/>
                  <a:pt x="6811" y="5288"/>
                  <a:pt x="6648" y="5288"/>
                </a:cubicBezTo>
                <a:cubicBezTo>
                  <a:pt x="6542" y="5289"/>
                  <a:pt x="6542" y="5289"/>
                  <a:pt x="6542" y="5289"/>
                </a:cubicBezTo>
                <a:cubicBezTo>
                  <a:pt x="6642" y="5626"/>
                  <a:pt x="6642" y="5626"/>
                  <a:pt x="6642" y="5626"/>
                </a:cubicBezTo>
                <a:cubicBezTo>
                  <a:pt x="6655" y="5681"/>
                  <a:pt x="6649" y="5740"/>
                  <a:pt x="6623" y="5791"/>
                </a:cubicBezTo>
                <a:cubicBezTo>
                  <a:pt x="6557" y="5923"/>
                  <a:pt x="6557" y="5923"/>
                  <a:pt x="6557" y="5923"/>
                </a:cubicBezTo>
                <a:moveTo>
                  <a:pt x="6771" y="4014"/>
                </a:moveTo>
                <a:cubicBezTo>
                  <a:pt x="6769" y="4019"/>
                  <a:pt x="6769" y="4019"/>
                  <a:pt x="6769" y="4019"/>
                </a:cubicBezTo>
                <a:cubicBezTo>
                  <a:pt x="7087" y="4972"/>
                  <a:pt x="7087" y="4972"/>
                  <a:pt x="7087" y="4972"/>
                </a:cubicBezTo>
                <a:cubicBezTo>
                  <a:pt x="7138" y="5128"/>
                  <a:pt x="7023" y="5288"/>
                  <a:pt x="6859" y="5288"/>
                </a:cubicBezTo>
                <a:cubicBezTo>
                  <a:pt x="6754" y="5289"/>
                  <a:pt x="6754" y="5289"/>
                  <a:pt x="6754" y="5289"/>
                </a:cubicBezTo>
                <a:cubicBezTo>
                  <a:pt x="6853" y="5626"/>
                  <a:pt x="6853" y="5626"/>
                  <a:pt x="6853" y="5626"/>
                </a:cubicBezTo>
                <a:cubicBezTo>
                  <a:pt x="6867" y="5681"/>
                  <a:pt x="6861" y="5740"/>
                  <a:pt x="6835" y="5791"/>
                </a:cubicBezTo>
                <a:cubicBezTo>
                  <a:pt x="6769" y="5923"/>
                  <a:pt x="6769" y="5923"/>
                  <a:pt x="6769" y="5923"/>
                </a:cubicBezTo>
                <a:moveTo>
                  <a:pt x="6983" y="4014"/>
                </a:moveTo>
                <a:cubicBezTo>
                  <a:pt x="6980" y="4019"/>
                  <a:pt x="6980" y="4019"/>
                  <a:pt x="6980" y="4019"/>
                </a:cubicBezTo>
                <a:cubicBezTo>
                  <a:pt x="7298" y="4972"/>
                  <a:pt x="7298" y="4972"/>
                  <a:pt x="7298" y="4972"/>
                </a:cubicBezTo>
                <a:cubicBezTo>
                  <a:pt x="7350" y="5128"/>
                  <a:pt x="7234" y="5288"/>
                  <a:pt x="7071" y="5288"/>
                </a:cubicBezTo>
                <a:cubicBezTo>
                  <a:pt x="6965" y="5289"/>
                  <a:pt x="6965" y="5289"/>
                  <a:pt x="6965" y="5289"/>
                </a:cubicBezTo>
                <a:cubicBezTo>
                  <a:pt x="7065" y="5626"/>
                  <a:pt x="7065" y="5626"/>
                  <a:pt x="7065" y="5626"/>
                </a:cubicBezTo>
                <a:cubicBezTo>
                  <a:pt x="7079" y="5681"/>
                  <a:pt x="7072" y="5740"/>
                  <a:pt x="7047" y="5791"/>
                </a:cubicBezTo>
                <a:cubicBezTo>
                  <a:pt x="6980" y="5923"/>
                  <a:pt x="6980" y="5923"/>
                  <a:pt x="6980" y="5923"/>
                </a:cubicBezTo>
                <a:moveTo>
                  <a:pt x="4217" y="7192"/>
                </a:moveTo>
                <a:cubicBezTo>
                  <a:pt x="4217" y="6959"/>
                  <a:pt x="4407" y="6769"/>
                  <a:pt x="4641" y="6769"/>
                </a:cubicBezTo>
                <a:moveTo>
                  <a:pt x="4429" y="7192"/>
                </a:moveTo>
                <a:cubicBezTo>
                  <a:pt x="4429" y="7076"/>
                  <a:pt x="4524" y="6981"/>
                  <a:pt x="4641" y="6981"/>
                </a:cubicBezTo>
                <a:moveTo>
                  <a:pt x="4006" y="7192"/>
                </a:moveTo>
                <a:cubicBezTo>
                  <a:pt x="4006" y="7543"/>
                  <a:pt x="4290" y="7827"/>
                  <a:pt x="4641" y="7827"/>
                </a:cubicBezTo>
                <a:moveTo>
                  <a:pt x="4641" y="7827"/>
                </a:moveTo>
                <a:cubicBezTo>
                  <a:pt x="5275" y="7827"/>
                  <a:pt x="5275" y="7827"/>
                  <a:pt x="5275" y="7827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404"/>
                </a:moveTo>
                <a:cubicBezTo>
                  <a:pt x="5275" y="7404"/>
                  <a:pt x="5275" y="7404"/>
                  <a:pt x="5275" y="7404"/>
                </a:cubicBezTo>
                <a:moveTo>
                  <a:pt x="4217" y="7192"/>
                </a:moveTo>
                <a:cubicBezTo>
                  <a:pt x="4217" y="7426"/>
                  <a:pt x="4407" y="7615"/>
                  <a:pt x="4641" y="7615"/>
                </a:cubicBezTo>
                <a:moveTo>
                  <a:pt x="4429" y="7192"/>
                </a:moveTo>
                <a:cubicBezTo>
                  <a:pt x="4429" y="7309"/>
                  <a:pt x="4524" y="7404"/>
                  <a:pt x="4641" y="7404"/>
                </a:cubicBezTo>
                <a:moveTo>
                  <a:pt x="5923" y="6135"/>
                </a:moveTo>
                <a:cubicBezTo>
                  <a:pt x="5923" y="6485"/>
                  <a:pt x="5633" y="6769"/>
                  <a:pt x="5275" y="6769"/>
                </a:cubicBezTo>
                <a:moveTo>
                  <a:pt x="6134" y="6135"/>
                </a:moveTo>
                <a:cubicBezTo>
                  <a:pt x="6134" y="6602"/>
                  <a:pt x="5750" y="6981"/>
                  <a:pt x="5275" y="6981"/>
                </a:cubicBezTo>
                <a:moveTo>
                  <a:pt x="6346" y="6135"/>
                </a:moveTo>
                <a:cubicBezTo>
                  <a:pt x="6346" y="6719"/>
                  <a:pt x="5866" y="7192"/>
                  <a:pt x="5275" y="7192"/>
                </a:cubicBezTo>
                <a:moveTo>
                  <a:pt x="6557" y="6135"/>
                </a:moveTo>
                <a:cubicBezTo>
                  <a:pt x="6557" y="6836"/>
                  <a:pt x="5983" y="7404"/>
                  <a:pt x="5275" y="7404"/>
                </a:cubicBezTo>
                <a:moveTo>
                  <a:pt x="6769" y="6135"/>
                </a:moveTo>
                <a:cubicBezTo>
                  <a:pt x="6769" y="6953"/>
                  <a:pt x="6100" y="7615"/>
                  <a:pt x="5275" y="7615"/>
                </a:cubicBezTo>
                <a:moveTo>
                  <a:pt x="6980" y="6135"/>
                </a:moveTo>
                <a:cubicBezTo>
                  <a:pt x="6980" y="7069"/>
                  <a:pt x="6217" y="7827"/>
                  <a:pt x="5275" y="7827"/>
                </a:cubicBezTo>
                <a:moveTo>
                  <a:pt x="5923" y="5923"/>
                </a:moveTo>
                <a:cubicBezTo>
                  <a:pt x="5923" y="6135"/>
                  <a:pt x="5923" y="6135"/>
                  <a:pt x="5923" y="6135"/>
                </a:cubicBezTo>
                <a:moveTo>
                  <a:pt x="6134" y="5923"/>
                </a:moveTo>
                <a:cubicBezTo>
                  <a:pt x="6134" y="6135"/>
                  <a:pt x="6134" y="6135"/>
                  <a:pt x="6134" y="6135"/>
                </a:cubicBezTo>
                <a:moveTo>
                  <a:pt x="6346" y="5923"/>
                </a:moveTo>
                <a:cubicBezTo>
                  <a:pt x="6346" y="6135"/>
                  <a:pt x="6346" y="6135"/>
                  <a:pt x="6346" y="6135"/>
                </a:cubicBezTo>
                <a:moveTo>
                  <a:pt x="6557" y="5923"/>
                </a:moveTo>
                <a:cubicBezTo>
                  <a:pt x="6557" y="6135"/>
                  <a:pt x="6557" y="6135"/>
                  <a:pt x="6557" y="6135"/>
                </a:cubicBezTo>
                <a:moveTo>
                  <a:pt x="6769" y="5923"/>
                </a:moveTo>
                <a:cubicBezTo>
                  <a:pt x="6769" y="6135"/>
                  <a:pt x="6769" y="6135"/>
                  <a:pt x="6769" y="6135"/>
                </a:cubicBezTo>
                <a:moveTo>
                  <a:pt x="6980" y="5923"/>
                </a:moveTo>
                <a:cubicBezTo>
                  <a:pt x="6980" y="6135"/>
                  <a:pt x="6980" y="6135"/>
                  <a:pt x="6980" y="6135"/>
                </a:cubicBezTo>
                <a:moveTo>
                  <a:pt x="1759" y="6437"/>
                </a:moveTo>
                <a:cubicBezTo>
                  <a:pt x="829" y="5834"/>
                  <a:pt x="212" y="4790"/>
                  <a:pt x="212" y="3600"/>
                </a:cubicBezTo>
                <a:cubicBezTo>
                  <a:pt x="212" y="1733"/>
                  <a:pt x="1727" y="212"/>
                  <a:pt x="3596" y="212"/>
                </a:cubicBezTo>
                <a:moveTo>
                  <a:pt x="3596" y="1"/>
                </a:moveTo>
                <a:cubicBezTo>
                  <a:pt x="1610" y="1"/>
                  <a:pt x="0" y="1616"/>
                  <a:pt x="0" y="3600"/>
                </a:cubicBezTo>
                <a:cubicBezTo>
                  <a:pt x="0" y="4902"/>
                  <a:pt x="696" y="6039"/>
                  <a:pt x="1734" y="6669"/>
                </a:cubicBezTo>
                <a:moveTo>
                  <a:pt x="1902" y="6524"/>
                </a:moveTo>
                <a:cubicBezTo>
                  <a:pt x="1854" y="6496"/>
                  <a:pt x="1806" y="6467"/>
                  <a:pt x="1759" y="6437"/>
                </a:cubicBezTo>
                <a:moveTo>
                  <a:pt x="1734" y="6669"/>
                </a:moveTo>
                <a:cubicBezTo>
                  <a:pt x="1767" y="6689"/>
                  <a:pt x="1800" y="6710"/>
                  <a:pt x="1834" y="6729"/>
                </a:cubicBezTo>
                <a:moveTo>
                  <a:pt x="1784" y="6199"/>
                </a:moveTo>
                <a:cubicBezTo>
                  <a:pt x="962" y="5626"/>
                  <a:pt x="423" y="4676"/>
                  <a:pt x="423" y="3599"/>
                </a:cubicBezTo>
                <a:cubicBezTo>
                  <a:pt x="423" y="1848"/>
                  <a:pt x="1829" y="424"/>
                  <a:pt x="3581" y="424"/>
                </a:cubicBezTo>
                <a:moveTo>
                  <a:pt x="3596" y="212"/>
                </a:moveTo>
                <a:cubicBezTo>
                  <a:pt x="1727" y="212"/>
                  <a:pt x="212" y="1733"/>
                  <a:pt x="212" y="3600"/>
                </a:cubicBezTo>
                <a:cubicBezTo>
                  <a:pt x="212" y="4790"/>
                  <a:pt x="829" y="5834"/>
                  <a:pt x="1759" y="6437"/>
                </a:cubicBezTo>
                <a:moveTo>
                  <a:pt x="2039" y="6112"/>
                </a:moveTo>
                <a:cubicBezTo>
                  <a:pt x="1960" y="6063"/>
                  <a:pt x="1884" y="6011"/>
                  <a:pt x="1810" y="5954"/>
                </a:cubicBezTo>
                <a:moveTo>
                  <a:pt x="1784" y="6199"/>
                </a:moveTo>
                <a:cubicBezTo>
                  <a:pt x="1844" y="6241"/>
                  <a:pt x="1907" y="6280"/>
                  <a:pt x="1971" y="6318"/>
                </a:cubicBezTo>
                <a:moveTo>
                  <a:pt x="1836" y="5708"/>
                </a:moveTo>
                <a:cubicBezTo>
                  <a:pt x="1231" y="5204"/>
                  <a:pt x="846" y="4445"/>
                  <a:pt x="846" y="3597"/>
                </a:cubicBezTo>
                <a:cubicBezTo>
                  <a:pt x="846" y="2078"/>
                  <a:pt x="2078" y="847"/>
                  <a:pt x="3596" y="847"/>
                </a:cubicBezTo>
                <a:moveTo>
                  <a:pt x="3596" y="637"/>
                </a:moveTo>
                <a:cubicBezTo>
                  <a:pt x="1961" y="637"/>
                  <a:pt x="635" y="1963"/>
                  <a:pt x="635" y="3598"/>
                </a:cubicBezTo>
                <a:cubicBezTo>
                  <a:pt x="635" y="4561"/>
                  <a:pt x="1097" y="5414"/>
                  <a:pt x="1810" y="5954"/>
                </a:cubicBezTo>
                <a:moveTo>
                  <a:pt x="1810" y="5954"/>
                </a:moveTo>
                <a:cubicBezTo>
                  <a:pt x="1884" y="6011"/>
                  <a:pt x="1960" y="6063"/>
                  <a:pt x="2039" y="6112"/>
                </a:cubicBezTo>
                <a:moveTo>
                  <a:pt x="2108" y="5907"/>
                </a:moveTo>
                <a:cubicBezTo>
                  <a:pt x="2013" y="5845"/>
                  <a:pt x="1922" y="5780"/>
                  <a:pt x="1836" y="5708"/>
                </a:cubicBezTo>
                <a:moveTo>
                  <a:pt x="1836" y="5708"/>
                </a:moveTo>
                <a:cubicBezTo>
                  <a:pt x="1922" y="5780"/>
                  <a:pt x="2013" y="5845"/>
                  <a:pt x="2108" y="5907"/>
                </a:cubicBezTo>
                <a:moveTo>
                  <a:pt x="2174" y="5699"/>
                </a:moveTo>
                <a:cubicBezTo>
                  <a:pt x="2063" y="5624"/>
                  <a:pt x="1960" y="5539"/>
                  <a:pt x="1863" y="5447"/>
                </a:cubicBezTo>
                <a:moveTo>
                  <a:pt x="3596" y="1058"/>
                </a:moveTo>
                <a:cubicBezTo>
                  <a:pt x="2194" y="1058"/>
                  <a:pt x="1058" y="2195"/>
                  <a:pt x="1058" y="3597"/>
                </a:cubicBezTo>
                <a:cubicBezTo>
                  <a:pt x="1058" y="4327"/>
                  <a:pt x="1369" y="4984"/>
                  <a:pt x="1863" y="5447"/>
                </a:cubicBezTo>
                <a:moveTo>
                  <a:pt x="2259" y="5501"/>
                </a:moveTo>
                <a:cubicBezTo>
                  <a:pt x="1660" y="5080"/>
                  <a:pt x="1269" y="4384"/>
                  <a:pt x="1269" y="3597"/>
                </a:cubicBezTo>
                <a:cubicBezTo>
                  <a:pt x="1269" y="2312"/>
                  <a:pt x="2311" y="1270"/>
                  <a:pt x="3596" y="1270"/>
                </a:cubicBezTo>
                <a:moveTo>
                  <a:pt x="1863" y="5447"/>
                </a:moveTo>
                <a:cubicBezTo>
                  <a:pt x="1960" y="5539"/>
                  <a:pt x="2063" y="5624"/>
                  <a:pt x="2174" y="5699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AFB5320B-E515-43C1-83A8-A16E320002C5}" type="datetime1">
              <a:rPr lang="en-GB" smtClean="0"/>
              <a:t>24/01/2018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03114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4260633" y="141658"/>
            <a:ext cx="4581526" cy="4872038"/>
          </a:xfrm>
          <a:custGeom>
            <a:avLst/>
            <a:gdLst>
              <a:gd name="T0" fmla="*/ 4641 w 7350"/>
              <a:gd name="T1" fmla="*/ 6558 h 7827"/>
              <a:gd name="T2" fmla="*/ 5275 w 7350"/>
              <a:gd name="T3" fmla="*/ 6769 h 7827"/>
              <a:gd name="T4" fmla="*/ 4641 w 7350"/>
              <a:gd name="T5" fmla="*/ 6981 h 7827"/>
              <a:gd name="T6" fmla="*/ 5275 w 7350"/>
              <a:gd name="T7" fmla="*/ 7192 h 7827"/>
              <a:gd name="T8" fmla="*/ 5698 w 7350"/>
              <a:gd name="T9" fmla="*/ 5923 h 7827"/>
              <a:gd name="T10" fmla="*/ 4995 w 7350"/>
              <a:gd name="T11" fmla="*/ 1746 h 7827"/>
              <a:gd name="T12" fmla="*/ 5698 w 7350"/>
              <a:gd name="T13" fmla="*/ 4019 h 7827"/>
              <a:gd name="T14" fmla="*/ 5698 w 7350"/>
              <a:gd name="T15" fmla="*/ 5288 h 7827"/>
              <a:gd name="T16" fmla="*/ 5698 w 7350"/>
              <a:gd name="T17" fmla="*/ 5923 h 7827"/>
              <a:gd name="T18" fmla="*/ 6022 w 7350"/>
              <a:gd name="T19" fmla="*/ 2924 h 7827"/>
              <a:gd name="T20" fmla="*/ 5291 w 7350"/>
              <a:gd name="T21" fmla="*/ 1416 h 7827"/>
              <a:gd name="T22" fmla="*/ 3596 w 7350"/>
              <a:gd name="T23" fmla="*/ 637 h 7827"/>
              <a:gd name="T24" fmla="*/ 6346 w 7350"/>
              <a:gd name="T25" fmla="*/ 4019 h 7827"/>
              <a:gd name="T26" fmla="*/ 6629 w 7350"/>
              <a:gd name="T27" fmla="*/ 2691 h 7827"/>
              <a:gd name="T28" fmla="*/ 5637 w 7350"/>
              <a:gd name="T29" fmla="*/ 898 h 7827"/>
              <a:gd name="T30" fmla="*/ 3596 w 7350"/>
              <a:gd name="T31" fmla="*/ 1 h 7827"/>
              <a:gd name="T32" fmla="*/ 6980 w 7350"/>
              <a:gd name="T33" fmla="*/ 4019 h 7827"/>
              <a:gd name="T34" fmla="*/ 6241 w 7350"/>
              <a:gd name="T35" fmla="*/ 4972 h 7827"/>
              <a:gd name="T36" fmla="*/ 6007 w 7350"/>
              <a:gd name="T37" fmla="*/ 5626 h 7827"/>
              <a:gd name="T38" fmla="*/ 6137 w 7350"/>
              <a:gd name="T39" fmla="*/ 4014 h 7827"/>
              <a:gd name="T40" fmla="*/ 6225 w 7350"/>
              <a:gd name="T41" fmla="*/ 5288 h 7827"/>
              <a:gd name="T42" fmla="*/ 6200 w 7350"/>
              <a:gd name="T43" fmla="*/ 5791 h 7827"/>
              <a:gd name="T44" fmla="*/ 6346 w 7350"/>
              <a:gd name="T45" fmla="*/ 4019 h 7827"/>
              <a:gd name="T46" fmla="*/ 6331 w 7350"/>
              <a:gd name="T47" fmla="*/ 5289 h 7827"/>
              <a:gd name="T48" fmla="*/ 6346 w 7350"/>
              <a:gd name="T49" fmla="*/ 5923 h 7827"/>
              <a:gd name="T50" fmla="*/ 6875 w 7350"/>
              <a:gd name="T51" fmla="*/ 4972 h 7827"/>
              <a:gd name="T52" fmla="*/ 6642 w 7350"/>
              <a:gd name="T53" fmla="*/ 5626 h 7827"/>
              <a:gd name="T54" fmla="*/ 6771 w 7350"/>
              <a:gd name="T55" fmla="*/ 4014 h 7827"/>
              <a:gd name="T56" fmla="*/ 6859 w 7350"/>
              <a:gd name="T57" fmla="*/ 5288 h 7827"/>
              <a:gd name="T58" fmla="*/ 6835 w 7350"/>
              <a:gd name="T59" fmla="*/ 5791 h 7827"/>
              <a:gd name="T60" fmla="*/ 6980 w 7350"/>
              <a:gd name="T61" fmla="*/ 4019 h 7827"/>
              <a:gd name="T62" fmla="*/ 6965 w 7350"/>
              <a:gd name="T63" fmla="*/ 5289 h 7827"/>
              <a:gd name="T64" fmla="*/ 6980 w 7350"/>
              <a:gd name="T65" fmla="*/ 5923 h 7827"/>
              <a:gd name="T66" fmla="*/ 4429 w 7350"/>
              <a:gd name="T67" fmla="*/ 7192 h 7827"/>
              <a:gd name="T68" fmla="*/ 4641 w 7350"/>
              <a:gd name="T69" fmla="*/ 7827 h 7827"/>
              <a:gd name="T70" fmla="*/ 4641 w 7350"/>
              <a:gd name="T71" fmla="*/ 7615 h 7827"/>
              <a:gd name="T72" fmla="*/ 5275 w 7350"/>
              <a:gd name="T73" fmla="*/ 7615 h 7827"/>
              <a:gd name="T74" fmla="*/ 4217 w 7350"/>
              <a:gd name="T75" fmla="*/ 7192 h 7827"/>
              <a:gd name="T76" fmla="*/ 4641 w 7350"/>
              <a:gd name="T77" fmla="*/ 7404 h 7827"/>
              <a:gd name="T78" fmla="*/ 6134 w 7350"/>
              <a:gd name="T79" fmla="*/ 6135 h 7827"/>
              <a:gd name="T80" fmla="*/ 5275 w 7350"/>
              <a:gd name="T81" fmla="*/ 7192 h 7827"/>
              <a:gd name="T82" fmla="*/ 6769 w 7350"/>
              <a:gd name="T83" fmla="*/ 6135 h 7827"/>
              <a:gd name="T84" fmla="*/ 5275 w 7350"/>
              <a:gd name="T85" fmla="*/ 7827 h 7827"/>
              <a:gd name="T86" fmla="*/ 6134 w 7350"/>
              <a:gd name="T87" fmla="*/ 5923 h 7827"/>
              <a:gd name="T88" fmla="*/ 6346 w 7350"/>
              <a:gd name="T89" fmla="*/ 6135 h 7827"/>
              <a:gd name="T90" fmla="*/ 6769 w 7350"/>
              <a:gd name="T91" fmla="*/ 5923 h 7827"/>
              <a:gd name="T92" fmla="*/ 6980 w 7350"/>
              <a:gd name="T93" fmla="*/ 6135 h 7827"/>
              <a:gd name="T94" fmla="*/ 3596 w 7350"/>
              <a:gd name="T95" fmla="*/ 212 h 7827"/>
              <a:gd name="T96" fmla="*/ 1734 w 7350"/>
              <a:gd name="T97" fmla="*/ 6669 h 7827"/>
              <a:gd name="T98" fmla="*/ 1734 w 7350"/>
              <a:gd name="T99" fmla="*/ 6669 h 7827"/>
              <a:gd name="T100" fmla="*/ 423 w 7350"/>
              <a:gd name="T101" fmla="*/ 3599 h 7827"/>
              <a:gd name="T102" fmla="*/ 212 w 7350"/>
              <a:gd name="T103" fmla="*/ 3600 h 7827"/>
              <a:gd name="T104" fmla="*/ 1810 w 7350"/>
              <a:gd name="T105" fmla="*/ 5954 h 7827"/>
              <a:gd name="T106" fmla="*/ 1836 w 7350"/>
              <a:gd name="T107" fmla="*/ 5708 h 7827"/>
              <a:gd name="T108" fmla="*/ 3596 w 7350"/>
              <a:gd name="T109" fmla="*/ 637 h 7827"/>
              <a:gd name="T110" fmla="*/ 1810 w 7350"/>
              <a:gd name="T111" fmla="*/ 5954 h 7827"/>
              <a:gd name="T112" fmla="*/ 1836 w 7350"/>
              <a:gd name="T113" fmla="*/ 5708 h 7827"/>
              <a:gd name="T114" fmla="*/ 2174 w 7350"/>
              <a:gd name="T115" fmla="*/ 5699 h 7827"/>
              <a:gd name="T116" fmla="*/ 1058 w 7350"/>
              <a:gd name="T117" fmla="*/ 3597 h 7827"/>
              <a:gd name="T118" fmla="*/ 1269 w 7350"/>
              <a:gd name="T119" fmla="*/ 3597 h 7827"/>
              <a:gd name="T120" fmla="*/ 2174 w 7350"/>
              <a:gd name="T121" fmla="*/ 5699 h 7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350" h="7827">
                <a:moveTo>
                  <a:pt x="4006" y="7192"/>
                </a:moveTo>
                <a:cubicBezTo>
                  <a:pt x="4006" y="6842"/>
                  <a:pt x="4290" y="6558"/>
                  <a:pt x="4641" y="6558"/>
                </a:cubicBezTo>
                <a:moveTo>
                  <a:pt x="4641" y="6558"/>
                </a:moveTo>
                <a:cubicBezTo>
                  <a:pt x="5275" y="6558"/>
                  <a:pt x="5275" y="6558"/>
                  <a:pt x="5275" y="6558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981"/>
                </a:moveTo>
                <a:cubicBezTo>
                  <a:pt x="5275" y="6981"/>
                  <a:pt x="5275" y="6981"/>
                  <a:pt x="5275" y="6981"/>
                </a:cubicBezTo>
                <a:moveTo>
                  <a:pt x="4641" y="7192"/>
                </a:moveTo>
                <a:cubicBezTo>
                  <a:pt x="5275" y="7192"/>
                  <a:pt x="5275" y="7192"/>
                  <a:pt x="5275" y="7192"/>
                </a:cubicBezTo>
                <a:moveTo>
                  <a:pt x="5698" y="6135"/>
                </a:moveTo>
                <a:cubicBezTo>
                  <a:pt x="5698" y="6368"/>
                  <a:pt x="5509" y="6558"/>
                  <a:pt x="5275" y="6558"/>
                </a:cubicBezTo>
                <a:moveTo>
                  <a:pt x="5698" y="5923"/>
                </a:moveTo>
                <a:cubicBezTo>
                  <a:pt x="5698" y="6135"/>
                  <a:pt x="5698" y="6135"/>
                  <a:pt x="5698" y="6135"/>
                </a:cubicBezTo>
                <a:moveTo>
                  <a:pt x="3583" y="1270"/>
                </a:moveTo>
                <a:cubicBezTo>
                  <a:pt x="4083" y="1270"/>
                  <a:pt x="4583" y="1428"/>
                  <a:pt x="4995" y="1746"/>
                </a:cubicBezTo>
                <a:cubicBezTo>
                  <a:pt x="5410" y="2066"/>
                  <a:pt x="5684" y="2488"/>
                  <a:pt x="5816" y="2942"/>
                </a:cubicBezTo>
                <a:cubicBezTo>
                  <a:pt x="5920" y="3298"/>
                  <a:pt x="5866" y="3682"/>
                  <a:pt x="5700" y="4014"/>
                </a:cubicBezTo>
                <a:cubicBezTo>
                  <a:pt x="5698" y="4019"/>
                  <a:pt x="5698" y="4019"/>
                  <a:pt x="5698" y="4019"/>
                </a:cubicBezTo>
                <a:cubicBezTo>
                  <a:pt x="6016" y="4972"/>
                  <a:pt x="6016" y="4972"/>
                  <a:pt x="6016" y="4972"/>
                </a:cubicBezTo>
                <a:cubicBezTo>
                  <a:pt x="6068" y="5128"/>
                  <a:pt x="5952" y="5288"/>
                  <a:pt x="5789" y="5288"/>
                </a:cubicBezTo>
                <a:cubicBezTo>
                  <a:pt x="5698" y="5288"/>
                  <a:pt x="5698" y="5288"/>
                  <a:pt x="5698" y="5288"/>
                </a:cubicBezTo>
                <a:cubicBezTo>
                  <a:pt x="5782" y="5626"/>
                  <a:pt x="5782" y="5626"/>
                  <a:pt x="5782" y="5626"/>
                </a:cubicBezTo>
                <a:cubicBezTo>
                  <a:pt x="5796" y="5681"/>
                  <a:pt x="5790" y="5740"/>
                  <a:pt x="5764" y="5791"/>
                </a:cubicBezTo>
                <a:cubicBezTo>
                  <a:pt x="5698" y="5923"/>
                  <a:pt x="5698" y="5923"/>
                  <a:pt x="5698" y="5923"/>
                </a:cubicBezTo>
                <a:moveTo>
                  <a:pt x="3531" y="1058"/>
                </a:moveTo>
                <a:cubicBezTo>
                  <a:pt x="4088" y="1058"/>
                  <a:pt x="4646" y="1235"/>
                  <a:pt x="5106" y="1589"/>
                </a:cubicBezTo>
                <a:cubicBezTo>
                  <a:pt x="5569" y="1947"/>
                  <a:pt x="5874" y="2417"/>
                  <a:pt x="6022" y="2924"/>
                </a:cubicBezTo>
                <a:cubicBezTo>
                  <a:pt x="6138" y="3321"/>
                  <a:pt x="6108" y="3648"/>
                  <a:pt x="5923" y="4019"/>
                </a:cubicBezTo>
                <a:moveTo>
                  <a:pt x="3596" y="847"/>
                </a:moveTo>
                <a:cubicBezTo>
                  <a:pt x="4194" y="847"/>
                  <a:pt x="4798" y="1036"/>
                  <a:pt x="5291" y="1416"/>
                </a:cubicBezTo>
                <a:cubicBezTo>
                  <a:pt x="5787" y="1799"/>
                  <a:pt x="6114" y="2303"/>
                  <a:pt x="6272" y="2846"/>
                </a:cubicBezTo>
                <a:cubicBezTo>
                  <a:pt x="6397" y="3272"/>
                  <a:pt x="6333" y="3622"/>
                  <a:pt x="6134" y="4019"/>
                </a:cubicBezTo>
                <a:moveTo>
                  <a:pt x="3596" y="637"/>
                </a:moveTo>
                <a:cubicBezTo>
                  <a:pt x="4234" y="637"/>
                  <a:pt x="4878" y="838"/>
                  <a:pt x="5404" y="1243"/>
                </a:cubicBezTo>
                <a:cubicBezTo>
                  <a:pt x="5933" y="1651"/>
                  <a:pt x="6282" y="2189"/>
                  <a:pt x="6451" y="2769"/>
                </a:cubicBezTo>
                <a:cubicBezTo>
                  <a:pt x="6583" y="3223"/>
                  <a:pt x="6557" y="3596"/>
                  <a:pt x="6346" y="4019"/>
                </a:cubicBezTo>
                <a:moveTo>
                  <a:pt x="3581" y="424"/>
                </a:moveTo>
                <a:cubicBezTo>
                  <a:pt x="4258" y="424"/>
                  <a:pt x="4959" y="640"/>
                  <a:pt x="5517" y="1071"/>
                </a:cubicBezTo>
                <a:cubicBezTo>
                  <a:pt x="6079" y="1504"/>
                  <a:pt x="6450" y="2076"/>
                  <a:pt x="6629" y="2691"/>
                </a:cubicBezTo>
                <a:cubicBezTo>
                  <a:pt x="6770" y="3174"/>
                  <a:pt x="6782" y="3569"/>
                  <a:pt x="6557" y="4019"/>
                </a:cubicBezTo>
                <a:moveTo>
                  <a:pt x="3596" y="212"/>
                </a:moveTo>
                <a:cubicBezTo>
                  <a:pt x="4313" y="212"/>
                  <a:pt x="5046" y="442"/>
                  <a:pt x="5637" y="898"/>
                </a:cubicBezTo>
                <a:cubicBezTo>
                  <a:pt x="6233" y="1357"/>
                  <a:pt x="6625" y="1962"/>
                  <a:pt x="6816" y="2614"/>
                </a:cubicBezTo>
                <a:cubicBezTo>
                  <a:pt x="6965" y="3125"/>
                  <a:pt x="7007" y="3544"/>
                  <a:pt x="6769" y="4020"/>
                </a:cubicBezTo>
                <a:moveTo>
                  <a:pt x="3596" y="1"/>
                </a:moveTo>
                <a:cubicBezTo>
                  <a:pt x="4353" y="0"/>
                  <a:pt x="5119" y="240"/>
                  <a:pt x="5743" y="722"/>
                </a:cubicBezTo>
                <a:cubicBezTo>
                  <a:pt x="6371" y="1206"/>
                  <a:pt x="6786" y="1845"/>
                  <a:pt x="6987" y="2533"/>
                </a:cubicBezTo>
                <a:cubicBezTo>
                  <a:pt x="7144" y="3073"/>
                  <a:pt x="7232" y="3516"/>
                  <a:pt x="6980" y="4019"/>
                </a:cubicBezTo>
                <a:moveTo>
                  <a:pt x="5925" y="4014"/>
                </a:moveTo>
                <a:cubicBezTo>
                  <a:pt x="5923" y="4019"/>
                  <a:pt x="5923" y="4019"/>
                  <a:pt x="5923" y="4019"/>
                </a:cubicBezTo>
                <a:cubicBezTo>
                  <a:pt x="6241" y="4972"/>
                  <a:pt x="6241" y="4972"/>
                  <a:pt x="6241" y="4972"/>
                </a:cubicBezTo>
                <a:cubicBezTo>
                  <a:pt x="6292" y="5128"/>
                  <a:pt x="6177" y="5288"/>
                  <a:pt x="6013" y="5288"/>
                </a:cubicBezTo>
                <a:cubicBezTo>
                  <a:pt x="5908" y="5289"/>
                  <a:pt x="5908" y="5289"/>
                  <a:pt x="5908" y="5289"/>
                </a:cubicBezTo>
                <a:cubicBezTo>
                  <a:pt x="6007" y="5626"/>
                  <a:pt x="6007" y="5626"/>
                  <a:pt x="6007" y="5626"/>
                </a:cubicBezTo>
                <a:cubicBezTo>
                  <a:pt x="6021" y="5681"/>
                  <a:pt x="6014" y="5740"/>
                  <a:pt x="5989" y="5791"/>
                </a:cubicBezTo>
                <a:cubicBezTo>
                  <a:pt x="5923" y="5923"/>
                  <a:pt x="5923" y="5923"/>
                  <a:pt x="5923" y="5923"/>
                </a:cubicBezTo>
                <a:moveTo>
                  <a:pt x="6137" y="4014"/>
                </a:moveTo>
                <a:cubicBezTo>
                  <a:pt x="6134" y="4019"/>
                  <a:pt x="6134" y="4019"/>
                  <a:pt x="6134" y="4019"/>
                </a:cubicBezTo>
                <a:cubicBezTo>
                  <a:pt x="6452" y="4972"/>
                  <a:pt x="6452" y="4972"/>
                  <a:pt x="6452" y="4972"/>
                </a:cubicBezTo>
                <a:cubicBezTo>
                  <a:pt x="6504" y="5128"/>
                  <a:pt x="6388" y="5288"/>
                  <a:pt x="6225" y="5288"/>
                </a:cubicBezTo>
                <a:cubicBezTo>
                  <a:pt x="6119" y="5289"/>
                  <a:pt x="6119" y="5289"/>
                  <a:pt x="6119" y="5289"/>
                </a:cubicBezTo>
                <a:cubicBezTo>
                  <a:pt x="6219" y="5626"/>
                  <a:pt x="6219" y="5626"/>
                  <a:pt x="6219" y="5626"/>
                </a:cubicBezTo>
                <a:cubicBezTo>
                  <a:pt x="6232" y="5681"/>
                  <a:pt x="6226" y="5740"/>
                  <a:pt x="6200" y="5791"/>
                </a:cubicBezTo>
                <a:cubicBezTo>
                  <a:pt x="6134" y="5923"/>
                  <a:pt x="6134" y="5923"/>
                  <a:pt x="6134" y="5923"/>
                </a:cubicBezTo>
                <a:moveTo>
                  <a:pt x="6348" y="4014"/>
                </a:moveTo>
                <a:cubicBezTo>
                  <a:pt x="6346" y="4019"/>
                  <a:pt x="6346" y="4019"/>
                  <a:pt x="6346" y="4019"/>
                </a:cubicBezTo>
                <a:cubicBezTo>
                  <a:pt x="6664" y="4972"/>
                  <a:pt x="6664" y="4972"/>
                  <a:pt x="6664" y="4972"/>
                </a:cubicBezTo>
                <a:cubicBezTo>
                  <a:pt x="6715" y="5128"/>
                  <a:pt x="6600" y="5288"/>
                  <a:pt x="6436" y="5288"/>
                </a:cubicBezTo>
                <a:cubicBezTo>
                  <a:pt x="6331" y="5289"/>
                  <a:pt x="6331" y="5289"/>
                  <a:pt x="6331" y="5289"/>
                </a:cubicBezTo>
                <a:cubicBezTo>
                  <a:pt x="6430" y="5626"/>
                  <a:pt x="6430" y="5626"/>
                  <a:pt x="6430" y="5626"/>
                </a:cubicBezTo>
                <a:cubicBezTo>
                  <a:pt x="6444" y="5681"/>
                  <a:pt x="6438" y="5740"/>
                  <a:pt x="6412" y="5791"/>
                </a:cubicBezTo>
                <a:cubicBezTo>
                  <a:pt x="6346" y="5923"/>
                  <a:pt x="6346" y="5923"/>
                  <a:pt x="6346" y="5923"/>
                </a:cubicBezTo>
                <a:moveTo>
                  <a:pt x="6560" y="4014"/>
                </a:moveTo>
                <a:cubicBezTo>
                  <a:pt x="6557" y="4019"/>
                  <a:pt x="6557" y="4019"/>
                  <a:pt x="6557" y="4019"/>
                </a:cubicBezTo>
                <a:cubicBezTo>
                  <a:pt x="6875" y="4972"/>
                  <a:pt x="6875" y="4972"/>
                  <a:pt x="6875" y="4972"/>
                </a:cubicBezTo>
                <a:cubicBezTo>
                  <a:pt x="6927" y="5128"/>
                  <a:pt x="6811" y="5288"/>
                  <a:pt x="6648" y="5288"/>
                </a:cubicBezTo>
                <a:cubicBezTo>
                  <a:pt x="6542" y="5289"/>
                  <a:pt x="6542" y="5289"/>
                  <a:pt x="6542" y="5289"/>
                </a:cubicBezTo>
                <a:cubicBezTo>
                  <a:pt x="6642" y="5626"/>
                  <a:pt x="6642" y="5626"/>
                  <a:pt x="6642" y="5626"/>
                </a:cubicBezTo>
                <a:cubicBezTo>
                  <a:pt x="6655" y="5681"/>
                  <a:pt x="6649" y="5740"/>
                  <a:pt x="6623" y="5791"/>
                </a:cubicBezTo>
                <a:cubicBezTo>
                  <a:pt x="6557" y="5923"/>
                  <a:pt x="6557" y="5923"/>
                  <a:pt x="6557" y="5923"/>
                </a:cubicBezTo>
                <a:moveTo>
                  <a:pt x="6771" y="4014"/>
                </a:moveTo>
                <a:cubicBezTo>
                  <a:pt x="6769" y="4019"/>
                  <a:pt x="6769" y="4019"/>
                  <a:pt x="6769" y="4019"/>
                </a:cubicBezTo>
                <a:cubicBezTo>
                  <a:pt x="7087" y="4972"/>
                  <a:pt x="7087" y="4972"/>
                  <a:pt x="7087" y="4972"/>
                </a:cubicBezTo>
                <a:cubicBezTo>
                  <a:pt x="7138" y="5128"/>
                  <a:pt x="7023" y="5288"/>
                  <a:pt x="6859" y="5288"/>
                </a:cubicBezTo>
                <a:cubicBezTo>
                  <a:pt x="6754" y="5289"/>
                  <a:pt x="6754" y="5289"/>
                  <a:pt x="6754" y="5289"/>
                </a:cubicBezTo>
                <a:cubicBezTo>
                  <a:pt x="6853" y="5626"/>
                  <a:pt x="6853" y="5626"/>
                  <a:pt x="6853" y="5626"/>
                </a:cubicBezTo>
                <a:cubicBezTo>
                  <a:pt x="6867" y="5681"/>
                  <a:pt x="6861" y="5740"/>
                  <a:pt x="6835" y="5791"/>
                </a:cubicBezTo>
                <a:cubicBezTo>
                  <a:pt x="6769" y="5923"/>
                  <a:pt x="6769" y="5923"/>
                  <a:pt x="6769" y="5923"/>
                </a:cubicBezTo>
                <a:moveTo>
                  <a:pt x="6983" y="4014"/>
                </a:moveTo>
                <a:cubicBezTo>
                  <a:pt x="6980" y="4019"/>
                  <a:pt x="6980" y="4019"/>
                  <a:pt x="6980" y="4019"/>
                </a:cubicBezTo>
                <a:cubicBezTo>
                  <a:pt x="7298" y="4972"/>
                  <a:pt x="7298" y="4972"/>
                  <a:pt x="7298" y="4972"/>
                </a:cubicBezTo>
                <a:cubicBezTo>
                  <a:pt x="7350" y="5128"/>
                  <a:pt x="7234" y="5288"/>
                  <a:pt x="7071" y="5288"/>
                </a:cubicBezTo>
                <a:cubicBezTo>
                  <a:pt x="6965" y="5289"/>
                  <a:pt x="6965" y="5289"/>
                  <a:pt x="6965" y="5289"/>
                </a:cubicBezTo>
                <a:cubicBezTo>
                  <a:pt x="7065" y="5626"/>
                  <a:pt x="7065" y="5626"/>
                  <a:pt x="7065" y="5626"/>
                </a:cubicBezTo>
                <a:cubicBezTo>
                  <a:pt x="7079" y="5681"/>
                  <a:pt x="7072" y="5740"/>
                  <a:pt x="7047" y="5791"/>
                </a:cubicBezTo>
                <a:cubicBezTo>
                  <a:pt x="6980" y="5923"/>
                  <a:pt x="6980" y="5923"/>
                  <a:pt x="6980" y="5923"/>
                </a:cubicBezTo>
                <a:moveTo>
                  <a:pt x="4217" y="7192"/>
                </a:moveTo>
                <a:cubicBezTo>
                  <a:pt x="4217" y="6959"/>
                  <a:pt x="4407" y="6769"/>
                  <a:pt x="4641" y="6769"/>
                </a:cubicBezTo>
                <a:moveTo>
                  <a:pt x="4429" y="7192"/>
                </a:moveTo>
                <a:cubicBezTo>
                  <a:pt x="4429" y="7076"/>
                  <a:pt x="4524" y="6981"/>
                  <a:pt x="4641" y="6981"/>
                </a:cubicBezTo>
                <a:moveTo>
                  <a:pt x="4006" y="7192"/>
                </a:moveTo>
                <a:cubicBezTo>
                  <a:pt x="4006" y="7543"/>
                  <a:pt x="4290" y="7827"/>
                  <a:pt x="4641" y="7827"/>
                </a:cubicBezTo>
                <a:moveTo>
                  <a:pt x="4641" y="7827"/>
                </a:moveTo>
                <a:cubicBezTo>
                  <a:pt x="5275" y="7827"/>
                  <a:pt x="5275" y="7827"/>
                  <a:pt x="5275" y="7827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404"/>
                </a:moveTo>
                <a:cubicBezTo>
                  <a:pt x="5275" y="7404"/>
                  <a:pt x="5275" y="7404"/>
                  <a:pt x="5275" y="7404"/>
                </a:cubicBezTo>
                <a:moveTo>
                  <a:pt x="4217" y="7192"/>
                </a:moveTo>
                <a:cubicBezTo>
                  <a:pt x="4217" y="7426"/>
                  <a:pt x="4407" y="7615"/>
                  <a:pt x="4641" y="7615"/>
                </a:cubicBezTo>
                <a:moveTo>
                  <a:pt x="4429" y="7192"/>
                </a:moveTo>
                <a:cubicBezTo>
                  <a:pt x="4429" y="7309"/>
                  <a:pt x="4524" y="7404"/>
                  <a:pt x="4641" y="7404"/>
                </a:cubicBezTo>
                <a:moveTo>
                  <a:pt x="5923" y="6135"/>
                </a:moveTo>
                <a:cubicBezTo>
                  <a:pt x="5923" y="6485"/>
                  <a:pt x="5633" y="6769"/>
                  <a:pt x="5275" y="6769"/>
                </a:cubicBezTo>
                <a:moveTo>
                  <a:pt x="6134" y="6135"/>
                </a:moveTo>
                <a:cubicBezTo>
                  <a:pt x="6134" y="6602"/>
                  <a:pt x="5750" y="6981"/>
                  <a:pt x="5275" y="6981"/>
                </a:cubicBezTo>
                <a:moveTo>
                  <a:pt x="6346" y="6135"/>
                </a:moveTo>
                <a:cubicBezTo>
                  <a:pt x="6346" y="6719"/>
                  <a:pt x="5866" y="7192"/>
                  <a:pt x="5275" y="7192"/>
                </a:cubicBezTo>
                <a:moveTo>
                  <a:pt x="6557" y="6135"/>
                </a:moveTo>
                <a:cubicBezTo>
                  <a:pt x="6557" y="6836"/>
                  <a:pt x="5983" y="7404"/>
                  <a:pt x="5275" y="7404"/>
                </a:cubicBezTo>
                <a:moveTo>
                  <a:pt x="6769" y="6135"/>
                </a:moveTo>
                <a:cubicBezTo>
                  <a:pt x="6769" y="6953"/>
                  <a:pt x="6100" y="7615"/>
                  <a:pt x="5275" y="7615"/>
                </a:cubicBezTo>
                <a:moveTo>
                  <a:pt x="6980" y="6135"/>
                </a:moveTo>
                <a:cubicBezTo>
                  <a:pt x="6980" y="7069"/>
                  <a:pt x="6217" y="7827"/>
                  <a:pt x="5275" y="7827"/>
                </a:cubicBezTo>
                <a:moveTo>
                  <a:pt x="5923" y="5923"/>
                </a:moveTo>
                <a:cubicBezTo>
                  <a:pt x="5923" y="6135"/>
                  <a:pt x="5923" y="6135"/>
                  <a:pt x="5923" y="6135"/>
                </a:cubicBezTo>
                <a:moveTo>
                  <a:pt x="6134" y="5923"/>
                </a:moveTo>
                <a:cubicBezTo>
                  <a:pt x="6134" y="6135"/>
                  <a:pt x="6134" y="6135"/>
                  <a:pt x="6134" y="6135"/>
                </a:cubicBezTo>
                <a:moveTo>
                  <a:pt x="6346" y="5923"/>
                </a:moveTo>
                <a:cubicBezTo>
                  <a:pt x="6346" y="6135"/>
                  <a:pt x="6346" y="6135"/>
                  <a:pt x="6346" y="6135"/>
                </a:cubicBezTo>
                <a:moveTo>
                  <a:pt x="6557" y="5923"/>
                </a:moveTo>
                <a:cubicBezTo>
                  <a:pt x="6557" y="6135"/>
                  <a:pt x="6557" y="6135"/>
                  <a:pt x="6557" y="6135"/>
                </a:cubicBezTo>
                <a:moveTo>
                  <a:pt x="6769" y="5923"/>
                </a:moveTo>
                <a:cubicBezTo>
                  <a:pt x="6769" y="6135"/>
                  <a:pt x="6769" y="6135"/>
                  <a:pt x="6769" y="6135"/>
                </a:cubicBezTo>
                <a:moveTo>
                  <a:pt x="6980" y="5923"/>
                </a:moveTo>
                <a:cubicBezTo>
                  <a:pt x="6980" y="6135"/>
                  <a:pt x="6980" y="6135"/>
                  <a:pt x="6980" y="6135"/>
                </a:cubicBezTo>
                <a:moveTo>
                  <a:pt x="1759" y="6437"/>
                </a:moveTo>
                <a:cubicBezTo>
                  <a:pt x="829" y="5834"/>
                  <a:pt x="212" y="4790"/>
                  <a:pt x="212" y="3600"/>
                </a:cubicBezTo>
                <a:cubicBezTo>
                  <a:pt x="212" y="1733"/>
                  <a:pt x="1727" y="212"/>
                  <a:pt x="3596" y="212"/>
                </a:cubicBezTo>
                <a:moveTo>
                  <a:pt x="3596" y="1"/>
                </a:moveTo>
                <a:cubicBezTo>
                  <a:pt x="1610" y="1"/>
                  <a:pt x="0" y="1616"/>
                  <a:pt x="0" y="3600"/>
                </a:cubicBezTo>
                <a:cubicBezTo>
                  <a:pt x="0" y="4902"/>
                  <a:pt x="696" y="6039"/>
                  <a:pt x="1734" y="6669"/>
                </a:cubicBezTo>
                <a:moveTo>
                  <a:pt x="1902" y="6524"/>
                </a:moveTo>
                <a:cubicBezTo>
                  <a:pt x="1854" y="6496"/>
                  <a:pt x="1806" y="6467"/>
                  <a:pt x="1759" y="6437"/>
                </a:cubicBezTo>
                <a:moveTo>
                  <a:pt x="1734" y="6669"/>
                </a:moveTo>
                <a:cubicBezTo>
                  <a:pt x="1767" y="6689"/>
                  <a:pt x="1800" y="6710"/>
                  <a:pt x="1834" y="6729"/>
                </a:cubicBezTo>
                <a:moveTo>
                  <a:pt x="1784" y="6199"/>
                </a:moveTo>
                <a:cubicBezTo>
                  <a:pt x="962" y="5626"/>
                  <a:pt x="423" y="4676"/>
                  <a:pt x="423" y="3599"/>
                </a:cubicBezTo>
                <a:cubicBezTo>
                  <a:pt x="423" y="1848"/>
                  <a:pt x="1829" y="424"/>
                  <a:pt x="3581" y="424"/>
                </a:cubicBezTo>
                <a:moveTo>
                  <a:pt x="3596" y="212"/>
                </a:moveTo>
                <a:cubicBezTo>
                  <a:pt x="1727" y="212"/>
                  <a:pt x="212" y="1733"/>
                  <a:pt x="212" y="3600"/>
                </a:cubicBezTo>
                <a:cubicBezTo>
                  <a:pt x="212" y="4790"/>
                  <a:pt x="829" y="5834"/>
                  <a:pt x="1759" y="6437"/>
                </a:cubicBezTo>
                <a:moveTo>
                  <a:pt x="2039" y="6112"/>
                </a:moveTo>
                <a:cubicBezTo>
                  <a:pt x="1960" y="6063"/>
                  <a:pt x="1884" y="6011"/>
                  <a:pt x="1810" y="5954"/>
                </a:cubicBezTo>
                <a:moveTo>
                  <a:pt x="1784" y="6199"/>
                </a:moveTo>
                <a:cubicBezTo>
                  <a:pt x="1844" y="6241"/>
                  <a:pt x="1907" y="6280"/>
                  <a:pt x="1971" y="6318"/>
                </a:cubicBezTo>
                <a:moveTo>
                  <a:pt x="1836" y="5708"/>
                </a:moveTo>
                <a:cubicBezTo>
                  <a:pt x="1231" y="5204"/>
                  <a:pt x="846" y="4445"/>
                  <a:pt x="846" y="3597"/>
                </a:cubicBezTo>
                <a:cubicBezTo>
                  <a:pt x="846" y="2078"/>
                  <a:pt x="2078" y="847"/>
                  <a:pt x="3596" y="847"/>
                </a:cubicBezTo>
                <a:moveTo>
                  <a:pt x="3596" y="637"/>
                </a:moveTo>
                <a:cubicBezTo>
                  <a:pt x="1961" y="637"/>
                  <a:pt x="635" y="1963"/>
                  <a:pt x="635" y="3598"/>
                </a:cubicBezTo>
                <a:cubicBezTo>
                  <a:pt x="635" y="4561"/>
                  <a:pt x="1097" y="5414"/>
                  <a:pt x="1810" y="5954"/>
                </a:cubicBezTo>
                <a:moveTo>
                  <a:pt x="1810" y="5954"/>
                </a:moveTo>
                <a:cubicBezTo>
                  <a:pt x="1884" y="6011"/>
                  <a:pt x="1960" y="6063"/>
                  <a:pt x="2039" y="6112"/>
                </a:cubicBezTo>
                <a:moveTo>
                  <a:pt x="2108" y="5907"/>
                </a:moveTo>
                <a:cubicBezTo>
                  <a:pt x="2013" y="5845"/>
                  <a:pt x="1922" y="5780"/>
                  <a:pt x="1836" y="5708"/>
                </a:cubicBezTo>
                <a:moveTo>
                  <a:pt x="1836" y="5708"/>
                </a:moveTo>
                <a:cubicBezTo>
                  <a:pt x="1922" y="5780"/>
                  <a:pt x="2013" y="5845"/>
                  <a:pt x="2108" y="5907"/>
                </a:cubicBezTo>
                <a:moveTo>
                  <a:pt x="2174" y="5699"/>
                </a:moveTo>
                <a:cubicBezTo>
                  <a:pt x="2063" y="5624"/>
                  <a:pt x="1960" y="5539"/>
                  <a:pt x="1863" y="5447"/>
                </a:cubicBezTo>
                <a:moveTo>
                  <a:pt x="3596" y="1058"/>
                </a:moveTo>
                <a:cubicBezTo>
                  <a:pt x="2194" y="1058"/>
                  <a:pt x="1058" y="2195"/>
                  <a:pt x="1058" y="3597"/>
                </a:cubicBezTo>
                <a:cubicBezTo>
                  <a:pt x="1058" y="4327"/>
                  <a:pt x="1369" y="4984"/>
                  <a:pt x="1863" y="5447"/>
                </a:cubicBezTo>
                <a:moveTo>
                  <a:pt x="2259" y="5501"/>
                </a:moveTo>
                <a:cubicBezTo>
                  <a:pt x="1660" y="5080"/>
                  <a:pt x="1269" y="4384"/>
                  <a:pt x="1269" y="3597"/>
                </a:cubicBezTo>
                <a:cubicBezTo>
                  <a:pt x="1269" y="2312"/>
                  <a:pt x="2311" y="1270"/>
                  <a:pt x="3596" y="1270"/>
                </a:cubicBezTo>
                <a:moveTo>
                  <a:pt x="1863" y="5447"/>
                </a:moveTo>
                <a:cubicBezTo>
                  <a:pt x="1960" y="5539"/>
                  <a:pt x="2063" y="5624"/>
                  <a:pt x="2174" y="5699"/>
                </a:cubicBezTo>
              </a:path>
            </a:pathLst>
          </a:custGeom>
          <a:noFill/>
          <a:ln w="12700" cap="flat">
            <a:solidFill>
              <a:srgbClr val="ADD5A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744D7EB9-D4AA-4897-B5C8-D0C0E0B5BA1F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70745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B1667D90-BACB-4F1A-8BFD-4A0875180D57}" type="datetime1">
              <a:rPr lang="en-GB" smtClean="0"/>
              <a:t>24/01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41458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5F01FFF-4E53-4294-8BA8-543DFF6BE2D9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5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808257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54182C73-4A37-4511-9270-FBA73CFCD60C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520483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504393D-96E0-4EF4-A022-8BB98A8B03B4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2123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A52BE58D-B52B-42E7-ABEC-D4CEF65E79EF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298127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BF57AFB-3704-4808-B5F8-1A627261FD96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506119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8EC2DC6-F099-4D30-AA17-B812B2DC3FD0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36878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3148B8D1-8524-4029-A8AD-E6CB75F01156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86499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6D9F89FD-7D28-4827-AED6-A4221B90650B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19976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34BC5D4-6DE3-4640-8D48-83BCBC8CD11E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630592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399" y="985500"/>
            <a:ext cx="39258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400" y="1571400"/>
            <a:ext cx="39258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78800" y="985500"/>
            <a:ext cx="39501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78800" y="1571400"/>
            <a:ext cx="39501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B4296138-E4F3-4AC9-B7A9-CE3DED9EB38D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73205" y="1088122"/>
            <a:ext cx="0" cy="3637087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317481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2-Spli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re 1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72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52"/>
          </p:nvPr>
        </p:nvSpPr>
        <p:spPr bwMode="auto">
          <a:xfrm>
            <a:off x="4992683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55"/>
          </p:nvPr>
        </p:nvSpPr>
        <p:spPr/>
        <p:txBody>
          <a:bodyPr/>
          <a:lstStyle/>
          <a:p>
            <a:pPr algn="ctr"/>
            <a:fld id="{A892B7D1-A669-46EF-A48F-244A74ABF631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58"/>
          </p:nvPr>
        </p:nvSpPr>
        <p:spPr>
          <a:xfrm>
            <a:off x="842401" y="1373981"/>
            <a:ext cx="3912956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9"/>
          </p:nvPr>
        </p:nvSpPr>
        <p:spPr>
          <a:xfrm>
            <a:off x="4992683" y="1373981"/>
            <a:ext cx="3913200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60"/>
          </p:nvPr>
        </p:nvSpPr>
        <p:spPr>
          <a:xfrm>
            <a:off x="4992684" y="3137608"/>
            <a:ext cx="3913192" cy="1587983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61"/>
          </p:nvPr>
        </p:nvSpPr>
        <p:spPr>
          <a:xfrm>
            <a:off x="842963" y="3137298"/>
            <a:ext cx="3912394" cy="158829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2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2" y="935715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38"/>
          </p:nvPr>
        </p:nvSpPr>
        <p:spPr bwMode="auto">
          <a:xfrm>
            <a:off x="842459" y="2866853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3"/>
          </p:nvPr>
        </p:nvSpPr>
        <p:spPr bwMode="auto">
          <a:xfrm>
            <a:off x="4992673" y="923759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40"/>
          </p:nvPr>
        </p:nvSpPr>
        <p:spPr bwMode="auto">
          <a:xfrm>
            <a:off x="4992670" y="2873531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pPr algn="ctr"/>
            <a:fld id="{9FA368BC-22F1-49F2-BD06-7CC50CCFC8BA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4"/>
          </p:nvPr>
        </p:nvSpPr>
        <p:spPr>
          <a:xfrm>
            <a:off x="842401" y="1374031"/>
            <a:ext cx="3913259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5"/>
          </p:nvPr>
        </p:nvSpPr>
        <p:spPr>
          <a:xfrm>
            <a:off x="4992670" y="1374031"/>
            <a:ext cx="3913200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56"/>
          </p:nvPr>
        </p:nvSpPr>
        <p:spPr>
          <a:xfrm>
            <a:off x="4992291" y="3305175"/>
            <a:ext cx="3913584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57"/>
          </p:nvPr>
        </p:nvSpPr>
        <p:spPr>
          <a:xfrm>
            <a:off x="842401" y="3305175"/>
            <a:ext cx="3912956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359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34"/>
          </p:nvPr>
        </p:nvSpPr>
        <p:spPr bwMode="auto">
          <a:xfrm>
            <a:off x="3573370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32"/>
          </p:nvPr>
        </p:nvSpPr>
        <p:spPr bwMode="auto">
          <a:xfrm>
            <a:off x="630907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pPr algn="ctr"/>
            <a:fld id="{656AE935-8A0A-43EC-8231-E77602385A52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8"/>
          </p:nvPr>
        </p:nvSpPr>
        <p:spPr>
          <a:xfrm>
            <a:off x="840338" y="1376208"/>
            <a:ext cx="2589326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9"/>
          </p:nvPr>
        </p:nvSpPr>
        <p:spPr>
          <a:xfrm>
            <a:off x="3573370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50"/>
          </p:nvPr>
        </p:nvSpPr>
        <p:spPr>
          <a:xfrm>
            <a:off x="6309075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01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485654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0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83957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1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83957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2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83957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3</a:t>
            </a:r>
          </a:p>
        </p:txBody>
      </p:sp>
      <p:sp>
        <p:nvSpPr>
          <p:cNvPr id="24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452324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4</a:t>
            </a:r>
          </a:p>
        </p:txBody>
      </p:sp>
      <p:sp>
        <p:nvSpPr>
          <p:cNvPr id="25" name="Text Placeholder 31"/>
          <p:cNvSpPr>
            <a:spLocks noGrp="1"/>
          </p:cNvSpPr>
          <p:nvPr>
            <p:ph type="body" sz="quarter" idx="20" hasCustomPrompt="1"/>
          </p:nvPr>
        </p:nvSpPr>
        <p:spPr>
          <a:xfrm>
            <a:off x="452324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5</a:t>
            </a:r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452324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6</a:t>
            </a:r>
          </a:p>
        </p:txBody>
      </p:sp>
      <p:sp>
        <p:nvSpPr>
          <p:cNvPr id="27" name="Text Placeholder 3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654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1485654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9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5169823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0" name="Text Placeholder 31"/>
          <p:cNvSpPr>
            <a:spLocks noGrp="1"/>
          </p:cNvSpPr>
          <p:nvPr>
            <p:ph type="body" sz="quarter" idx="26" hasCustomPrompt="1"/>
          </p:nvPr>
        </p:nvSpPr>
        <p:spPr>
          <a:xfrm>
            <a:off x="5169823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1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5169823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Summary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algn="ctr"/>
            <a:fld id="{9DF159FB-B6BF-4A01-8E53-D76BDF5D23AE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141294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08006" y="226219"/>
            <a:ext cx="2020491" cy="449937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42963" y="226219"/>
            <a:ext cx="5950744" cy="4499372"/>
          </a:xfrm>
        </p:spPr>
        <p:txBody>
          <a:bodyPr vert="vert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881B3F36-D221-49D2-9402-C79A1963E5AF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67626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rgbClr val="ADD5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7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5" name="Freeform 5"/>
          <p:cNvSpPr>
            <a:spLocks noEditPoints="1"/>
          </p:cNvSpPr>
          <p:nvPr/>
        </p:nvSpPr>
        <p:spPr bwMode="auto">
          <a:xfrm>
            <a:off x="4260633" y="141658"/>
            <a:ext cx="4581526" cy="4872038"/>
          </a:xfrm>
          <a:custGeom>
            <a:avLst/>
            <a:gdLst>
              <a:gd name="T0" fmla="*/ 4641 w 7350"/>
              <a:gd name="T1" fmla="*/ 6558 h 7827"/>
              <a:gd name="T2" fmla="*/ 5275 w 7350"/>
              <a:gd name="T3" fmla="*/ 6769 h 7827"/>
              <a:gd name="T4" fmla="*/ 4641 w 7350"/>
              <a:gd name="T5" fmla="*/ 6981 h 7827"/>
              <a:gd name="T6" fmla="*/ 5275 w 7350"/>
              <a:gd name="T7" fmla="*/ 7192 h 7827"/>
              <a:gd name="T8" fmla="*/ 5698 w 7350"/>
              <a:gd name="T9" fmla="*/ 5923 h 7827"/>
              <a:gd name="T10" fmla="*/ 4995 w 7350"/>
              <a:gd name="T11" fmla="*/ 1746 h 7827"/>
              <a:gd name="T12" fmla="*/ 5698 w 7350"/>
              <a:gd name="T13" fmla="*/ 4019 h 7827"/>
              <a:gd name="T14" fmla="*/ 5698 w 7350"/>
              <a:gd name="T15" fmla="*/ 5288 h 7827"/>
              <a:gd name="T16" fmla="*/ 5698 w 7350"/>
              <a:gd name="T17" fmla="*/ 5923 h 7827"/>
              <a:gd name="T18" fmla="*/ 6022 w 7350"/>
              <a:gd name="T19" fmla="*/ 2924 h 7827"/>
              <a:gd name="T20" fmla="*/ 5291 w 7350"/>
              <a:gd name="T21" fmla="*/ 1416 h 7827"/>
              <a:gd name="T22" fmla="*/ 3596 w 7350"/>
              <a:gd name="T23" fmla="*/ 637 h 7827"/>
              <a:gd name="T24" fmla="*/ 6346 w 7350"/>
              <a:gd name="T25" fmla="*/ 4019 h 7827"/>
              <a:gd name="T26" fmla="*/ 6629 w 7350"/>
              <a:gd name="T27" fmla="*/ 2691 h 7827"/>
              <a:gd name="T28" fmla="*/ 5637 w 7350"/>
              <a:gd name="T29" fmla="*/ 898 h 7827"/>
              <a:gd name="T30" fmla="*/ 3596 w 7350"/>
              <a:gd name="T31" fmla="*/ 1 h 7827"/>
              <a:gd name="T32" fmla="*/ 6980 w 7350"/>
              <a:gd name="T33" fmla="*/ 4019 h 7827"/>
              <a:gd name="T34" fmla="*/ 6241 w 7350"/>
              <a:gd name="T35" fmla="*/ 4972 h 7827"/>
              <a:gd name="T36" fmla="*/ 6007 w 7350"/>
              <a:gd name="T37" fmla="*/ 5626 h 7827"/>
              <a:gd name="T38" fmla="*/ 6137 w 7350"/>
              <a:gd name="T39" fmla="*/ 4014 h 7827"/>
              <a:gd name="T40" fmla="*/ 6225 w 7350"/>
              <a:gd name="T41" fmla="*/ 5288 h 7827"/>
              <a:gd name="T42" fmla="*/ 6200 w 7350"/>
              <a:gd name="T43" fmla="*/ 5791 h 7827"/>
              <a:gd name="T44" fmla="*/ 6346 w 7350"/>
              <a:gd name="T45" fmla="*/ 4019 h 7827"/>
              <a:gd name="T46" fmla="*/ 6331 w 7350"/>
              <a:gd name="T47" fmla="*/ 5289 h 7827"/>
              <a:gd name="T48" fmla="*/ 6346 w 7350"/>
              <a:gd name="T49" fmla="*/ 5923 h 7827"/>
              <a:gd name="T50" fmla="*/ 6875 w 7350"/>
              <a:gd name="T51" fmla="*/ 4972 h 7827"/>
              <a:gd name="T52" fmla="*/ 6642 w 7350"/>
              <a:gd name="T53" fmla="*/ 5626 h 7827"/>
              <a:gd name="T54" fmla="*/ 6771 w 7350"/>
              <a:gd name="T55" fmla="*/ 4014 h 7827"/>
              <a:gd name="T56" fmla="*/ 6859 w 7350"/>
              <a:gd name="T57" fmla="*/ 5288 h 7827"/>
              <a:gd name="T58" fmla="*/ 6835 w 7350"/>
              <a:gd name="T59" fmla="*/ 5791 h 7827"/>
              <a:gd name="T60" fmla="*/ 6980 w 7350"/>
              <a:gd name="T61" fmla="*/ 4019 h 7827"/>
              <a:gd name="T62" fmla="*/ 6965 w 7350"/>
              <a:gd name="T63" fmla="*/ 5289 h 7827"/>
              <a:gd name="T64" fmla="*/ 6980 w 7350"/>
              <a:gd name="T65" fmla="*/ 5923 h 7827"/>
              <a:gd name="T66" fmla="*/ 4429 w 7350"/>
              <a:gd name="T67" fmla="*/ 7192 h 7827"/>
              <a:gd name="T68" fmla="*/ 4641 w 7350"/>
              <a:gd name="T69" fmla="*/ 7827 h 7827"/>
              <a:gd name="T70" fmla="*/ 4641 w 7350"/>
              <a:gd name="T71" fmla="*/ 7615 h 7827"/>
              <a:gd name="T72" fmla="*/ 5275 w 7350"/>
              <a:gd name="T73" fmla="*/ 7615 h 7827"/>
              <a:gd name="T74" fmla="*/ 4217 w 7350"/>
              <a:gd name="T75" fmla="*/ 7192 h 7827"/>
              <a:gd name="T76" fmla="*/ 4641 w 7350"/>
              <a:gd name="T77" fmla="*/ 7404 h 7827"/>
              <a:gd name="T78" fmla="*/ 6134 w 7350"/>
              <a:gd name="T79" fmla="*/ 6135 h 7827"/>
              <a:gd name="T80" fmla="*/ 5275 w 7350"/>
              <a:gd name="T81" fmla="*/ 7192 h 7827"/>
              <a:gd name="T82" fmla="*/ 6769 w 7350"/>
              <a:gd name="T83" fmla="*/ 6135 h 7827"/>
              <a:gd name="T84" fmla="*/ 5275 w 7350"/>
              <a:gd name="T85" fmla="*/ 7827 h 7827"/>
              <a:gd name="T86" fmla="*/ 6134 w 7350"/>
              <a:gd name="T87" fmla="*/ 5923 h 7827"/>
              <a:gd name="T88" fmla="*/ 6346 w 7350"/>
              <a:gd name="T89" fmla="*/ 6135 h 7827"/>
              <a:gd name="T90" fmla="*/ 6769 w 7350"/>
              <a:gd name="T91" fmla="*/ 5923 h 7827"/>
              <a:gd name="T92" fmla="*/ 6980 w 7350"/>
              <a:gd name="T93" fmla="*/ 6135 h 7827"/>
              <a:gd name="T94" fmla="*/ 3596 w 7350"/>
              <a:gd name="T95" fmla="*/ 212 h 7827"/>
              <a:gd name="T96" fmla="*/ 1734 w 7350"/>
              <a:gd name="T97" fmla="*/ 6669 h 7827"/>
              <a:gd name="T98" fmla="*/ 1734 w 7350"/>
              <a:gd name="T99" fmla="*/ 6669 h 7827"/>
              <a:gd name="T100" fmla="*/ 423 w 7350"/>
              <a:gd name="T101" fmla="*/ 3599 h 7827"/>
              <a:gd name="T102" fmla="*/ 212 w 7350"/>
              <a:gd name="T103" fmla="*/ 3600 h 7827"/>
              <a:gd name="T104" fmla="*/ 1810 w 7350"/>
              <a:gd name="T105" fmla="*/ 5954 h 7827"/>
              <a:gd name="T106" fmla="*/ 1836 w 7350"/>
              <a:gd name="T107" fmla="*/ 5708 h 7827"/>
              <a:gd name="T108" fmla="*/ 3596 w 7350"/>
              <a:gd name="T109" fmla="*/ 637 h 7827"/>
              <a:gd name="T110" fmla="*/ 1810 w 7350"/>
              <a:gd name="T111" fmla="*/ 5954 h 7827"/>
              <a:gd name="T112" fmla="*/ 1836 w 7350"/>
              <a:gd name="T113" fmla="*/ 5708 h 7827"/>
              <a:gd name="T114" fmla="*/ 2174 w 7350"/>
              <a:gd name="T115" fmla="*/ 5699 h 7827"/>
              <a:gd name="T116" fmla="*/ 1058 w 7350"/>
              <a:gd name="T117" fmla="*/ 3597 h 7827"/>
              <a:gd name="T118" fmla="*/ 1269 w 7350"/>
              <a:gd name="T119" fmla="*/ 3597 h 7827"/>
              <a:gd name="T120" fmla="*/ 2174 w 7350"/>
              <a:gd name="T121" fmla="*/ 5699 h 7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350" h="7827">
                <a:moveTo>
                  <a:pt x="4006" y="7192"/>
                </a:moveTo>
                <a:cubicBezTo>
                  <a:pt x="4006" y="6842"/>
                  <a:pt x="4290" y="6558"/>
                  <a:pt x="4641" y="6558"/>
                </a:cubicBezTo>
                <a:moveTo>
                  <a:pt x="4641" y="6558"/>
                </a:moveTo>
                <a:cubicBezTo>
                  <a:pt x="5275" y="6558"/>
                  <a:pt x="5275" y="6558"/>
                  <a:pt x="5275" y="6558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981"/>
                </a:moveTo>
                <a:cubicBezTo>
                  <a:pt x="5275" y="6981"/>
                  <a:pt x="5275" y="6981"/>
                  <a:pt x="5275" y="6981"/>
                </a:cubicBezTo>
                <a:moveTo>
                  <a:pt x="4641" y="7192"/>
                </a:moveTo>
                <a:cubicBezTo>
                  <a:pt x="5275" y="7192"/>
                  <a:pt x="5275" y="7192"/>
                  <a:pt x="5275" y="7192"/>
                </a:cubicBezTo>
                <a:moveTo>
                  <a:pt x="5698" y="6135"/>
                </a:moveTo>
                <a:cubicBezTo>
                  <a:pt x="5698" y="6368"/>
                  <a:pt x="5509" y="6558"/>
                  <a:pt x="5275" y="6558"/>
                </a:cubicBezTo>
                <a:moveTo>
                  <a:pt x="5698" y="5923"/>
                </a:moveTo>
                <a:cubicBezTo>
                  <a:pt x="5698" y="6135"/>
                  <a:pt x="5698" y="6135"/>
                  <a:pt x="5698" y="6135"/>
                </a:cubicBezTo>
                <a:moveTo>
                  <a:pt x="3583" y="1270"/>
                </a:moveTo>
                <a:cubicBezTo>
                  <a:pt x="4083" y="1270"/>
                  <a:pt x="4583" y="1428"/>
                  <a:pt x="4995" y="1746"/>
                </a:cubicBezTo>
                <a:cubicBezTo>
                  <a:pt x="5410" y="2066"/>
                  <a:pt x="5684" y="2488"/>
                  <a:pt x="5816" y="2942"/>
                </a:cubicBezTo>
                <a:cubicBezTo>
                  <a:pt x="5920" y="3298"/>
                  <a:pt x="5866" y="3682"/>
                  <a:pt x="5700" y="4014"/>
                </a:cubicBezTo>
                <a:cubicBezTo>
                  <a:pt x="5698" y="4019"/>
                  <a:pt x="5698" y="4019"/>
                  <a:pt x="5698" y="4019"/>
                </a:cubicBezTo>
                <a:cubicBezTo>
                  <a:pt x="6016" y="4972"/>
                  <a:pt x="6016" y="4972"/>
                  <a:pt x="6016" y="4972"/>
                </a:cubicBezTo>
                <a:cubicBezTo>
                  <a:pt x="6068" y="5128"/>
                  <a:pt x="5952" y="5288"/>
                  <a:pt x="5789" y="5288"/>
                </a:cubicBezTo>
                <a:cubicBezTo>
                  <a:pt x="5698" y="5288"/>
                  <a:pt x="5698" y="5288"/>
                  <a:pt x="5698" y="5288"/>
                </a:cubicBezTo>
                <a:cubicBezTo>
                  <a:pt x="5782" y="5626"/>
                  <a:pt x="5782" y="5626"/>
                  <a:pt x="5782" y="5626"/>
                </a:cubicBezTo>
                <a:cubicBezTo>
                  <a:pt x="5796" y="5681"/>
                  <a:pt x="5790" y="5740"/>
                  <a:pt x="5764" y="5791"/>
                </a:cubicBezTo>
                <a:cubicBezTo>
                  <a:pt x="5698" y="5923"/>
                  <a:pt x="5698" y="5923"/>
                  <a:pt x="5698" y="5923"/>
                </a:cubicBezTo>
                <a:moveTo>
                  <a:pt x="3531" y="1058"/>
                </a:moveTo>
                <a:cubicBezTo>
                  <a:pt x="4088" y="1058"/>
                  <a:pt x="4646" y="1235"/>
                  <a:pt x="5106" y="1589"/>
                </a:cubicBezTo>
                <a:cubicBezTo>
                  <a:pt x="5569" y="1947"/>
                  <a:pt x="5874" y="2417"/>
                  <a:pt x="6022" y="2924"/>
                </a:cubicBezTo>
                <a:cubicBezTo>
                  <a:pt x="6138" y="3321"/>
                  <a:pt x="6108" y="3648"/>
                  <a:pt x="5923" y="4019"/>
                </a:cubicBezTo>
                <a:moveTo>
                  <a:pt x="3596" y="847"/>
                </a:moveTo>
                <a:cubicBezTo>
                  <a:pt x="4194" y="847"/>
                  <a:pt x="4798" y="1036"/>
                  <a:pt x="5291" y="1416"/>
                </a:cubicBezTo>
                <a:cubicBezTo>
                  <a:pt x="5787" y="1799"/>
                  <a:pt x="6114" y="2303"/>
                  <a:pt x="6272" y="2846"/>
                </a:cubicBezTo>
                <a:cubicBezTo>
                  <a:pt x="6397" y="3272"/>
                  <a:pt x="6333" y="3622"/>
                  <a:pt x="6134" y="4019"/>
                </a:cubicBezTo>
                <a:moveTo>
                  <a:pt x="3596" y="637"/>
                </a:moveTo>
                <a:cubicBezTo>
                  <a:pt x="4234" y="637"/>
                  <a:pt x="4878" y="838"/>
                  <a:pt x="5404" y="1243"/>
                </a:cubicBezTo>
                <a:cubicBezTo>
                  <a:pt x="5933" y="1651"/>
                  <a:pt x="6282" y="2189"/>
                  <a:pt x="6451" y="2769"/>
                </a:cubicBezTo>
                <a:cubicBezTo>
                  <a:pt x="6583" y="3223"/>
                  <a:pt x="6557" y="3596"/>
                  <a:pt x="6346" y="4019"/>
                </a:cubicBezTo>
                <a:moveTo>
                  <a:pt x="3581" y="424"/>
                </a:moveTo>
                <a:cubicBezTo>
                  <a:pt x="4258" y="424"/>
                  <a:pt x="4959" y="640"/>
                  <a:pt x="5517" y="1071"/>
                </a:cubicBezTo>
                <a:cubicBezTo>
                  <a:pt x="6079" y="1504"/>
                  <a:pt x="6450" y="2076"/>
                  <a:pt x="6629" y="2691"/>
                </a:cubicBezTo>
                <a:cubicBezTo>
                  <a:pt x="6770" y="3174"/>
                  <a:pt x="6782" y="3569"/>
                  <a:pt x="6557" y="4019"/>
                </a:cubicBezTo>
                <a:moveTo>
                  <a:pt x="3596" y="212"/>
                </a:moveTo>
                <a:cubicBezTo>
                  <a:pt x="4313" y="212"/>
                  <a:pt x="5046" y="442"/>
                  <a:pt x="5637" y="898"/>
                </a:cubicBezTo>
                <a:cubicBezTo>
                  <a:pt x="6233" y="1357"/>
                  <a:pt x="6625" y="1962"/>
                  <a:pt x="6816" y="2614"/>
                </a:cubicBezTo>
                <a:cubicBezTo>
                  <a:pt x="6965" y="3125"/>
                  <a:pt x="7007" y="3544"/>
                  <a:pt x="6769" y="4020"/>
                </a:cubicBezTo>
                <a:moveTo>
                  <a:pt x="3596" y="1"/>
                </a:moveTo>
                <a:cubicBezTo>
                  <a:pt x="4353" y="0"/>
                  <a:pt x="5119" y="240"/>
                  <a:pt x="5743" y="722"/>
                </a:cubicBezTo>
                <a:cubicBezTo>
                  <a:pt x="6371" y="1206"/>
                  <a:pt x="6786" y="1845"/>
                  <a:pt x="6987" y="2533"/>
                </a:cubicBezTo>
                <a:cubicBezTo>
                  <a:pt x="7144" y="3073"/>
                  <a:pt x="7232" y="3516"/>
                  <a:pt x="6980" y="4019"/>
                </a:cubicBezTo>
                <a:moveTo>
                  <a:pt x="5925" y="4014"/>
                </a:moveTo>
                <a:cubicBezTo>
                  <a:pt x="5923" y="4019"/>
                  <a:pt x="5923" y="4019"/>
                  <a:pt x="5923" y="4019"/>
                </a:cubicBezTo>
                <a:cubicBezTo>
                  <a:pt x="6241" y="4972"/>
                  <a:pt x="6241" y="4972"/>
                  <a:pt x="6241" y="4972"/>
                </a:cubicBezTo>
                <a:cubicBezTo>
                  <a:pt x="6292" y="5128"/>
                  <a:pt x="6177" y="5288"/>
                  <a:pt x="6013" y="5288"/>
                </a:cubicBezTo>
                <a:cubicBezTo>
                  <a:pt x="5908" y="5289"/>
                  <a:pt x="5908" y="5289"/>
                  <a:pt x="5908" y="5289"/>
                </a:cubicBezTo>
                <a:cubicBezTo>
                  <a:pt x="6007" y="5626"/>
                  <a:pt x="6007" y="5626"/>
                  <a:pt x="6007" y="5626"/>
                </a:cubicBezTo>
                <a:cubicBezTo>
                  <a:pt x="6021" y="5681"/>
                  <a:pt x="6014" y="5740"/>
                  <a:pt x="5989" y="5791"/>
                </a:cubicBezTo>
                <a:cubicBezTo>
                  <a:pt x="5923" y="5923"/>
                  <a:pt x="5923" y="5923"/>
                  <a:pt x="5923" y="5923"/>
                </a:cubicBezTo>
                <a:moveTo>
                  <a:pt x="6137" y="4014"/>
                </a:moveTo>
                <a:cubicBezTo>
                  <a:pt x="6134" y="4019"/>
                  <a:pt x="6134" y="4019"/>
                  <a:pt x="6134" y="4019"/>
                </a:cubicBezTo>
                <a:cubicBezTo>
                  <a:pt x="6452" y="4972"/>
                  <a:pt x="6452" y="4972"/>
                  <a:pt x="6452" y="4972"/>
                </a:cubicBezTo>
                <a:cubicBezTo>
                  <a:pt x="6504" y="5128"/>
                  <a:pt x="6388" y="5288"/>
                  <a:pt x="6225" y="5288"/>
                </a:cubicBezTo>
                <a:cubicBezTo>
                  <a:pt x="6119" y="5289"/>
                  <a:pt x="6119" y="5289"/>
                  <a:pt x="6119" y="5289"/>
                </a:cubicBezTo>
                <a:cubicBezTo>
                  <a:pt x="6219" y="5626"/>
                  <a:pt x="6219" y="5626"/>
                  <a:pt x="6219" y="5626"/>
                </a:cubicBezTo>
                <a:cubicBezTo>
                  <a:pt x="6232" y="5681"/>
                  <a:pt x="6226" y="5740"/>
                  <a:pt x="6200" y="5791"/>
                </a:cubicBezTo>
                <a:cubicBezTo>
                  <a:pt x="6134" y="5923"/>
                  <a:pt x="6134" y="5923"/>
                  <a:pt x="6134" y="5923"/>
                </a:cubicBezTo>
                <a:moveTo>
                  <a:pt x="6348" y="4014"/>
                </a:moveTo>
                <a:cubicBezTo>
                  <a:pt x="6346" y="4019"/>
                  <a:pt x="6346" y="4019"/>
                  <a:pt x="6346" y="4019"/>
                </a:cubicBezTo>
                <a:cubicBezTo>
                  <a:pt x="6664" y="4972"/>
                  <a:pt x="6664" y="4972"/>
                  <a:pt x="6664" y="4972"/>
                </a:cubicBezTo>
                <a:cubicBezTo>
                  <a:pt x="6715" y="5128"/>
                  <a:pt x="6600" y="5288"/>
                  <a:pt x="6436" y="5288"/>
                </a:cubicBezTo>
                <a:cubicBezTo>
                  <a:pt x="6331" y="5289"/>
                  <a:pt x="6331" y="5289"/>
                  <a:pt x="6331" y="5289"/>
                </a:cubicBezTo>
                <a:cubicBezTo>
                  <a:pt x="6430" y="5626"/>
                  <a:pt x="6430" y="5626"/>
                  <a:pt x="6430" y="5626"/>
                </a:cubicBezTo>
                <a:cubicBezTo>
                  <a:pt x="6444" y="5681"/>
                  <a:pt x="6438" y="5740"/>
                  <a:pt x="6412" y="5791"/>
                </a:cubicBezTo>
                <a:cubicBezTo>
                  <a:pt x="6346" y="5923"/>
                  <a:pt x="6346" y="5923"/>
                  <a:pt x="6346" y="5923"/>
                </a:cubicBezTo>
                <a:moveTo>
                  <a:pt x="6560" y="4014"/>
                </a:moveTo>
                <a:cubicBezTo>
                  <a:pt x="6557" y="4019"/>
                  <a:pt x="6557" y="4019"/>
                  <a:pt x="6557" y="4019"/>
                </a:cubicBezTo>
                <a:cubicBezTo>
                  <a:pt x="6875" y="4972"/>
                  <a:pt x="6875" y="4972"/>
                  <a:pt x="6875" y="4972"/>
                </a:cubicBezTo>
                <a:cubicBezTo>
                  <a:pt x="6927" y="5128"/>
                  <a:pt x="6811" y="5288"/>
                  <a:pt x="6648" y="5288"/>
                </a:cubicBezTo>
                <a:cubicBezTo>
                  <a:pt x="6542" y="5289"/>
                  <a:pt x="6542" y="5289"/>
                  <a:pt x="6542" y="5289"/>
                </a:cubicBezTo>
                <a:cubicBezTo>
                  <a:pt x="6642" y="5626"/>
                  <a:pt x="6642" y="5626"/>
                  <a:pt x="6642" y="5626"/>
                </a:cubicBezTo>
                <a:cubicBezTo>
                  <a:pt x="6655" y="5681"/>
                  <a:pt x="6649" y="5740"/>
                  <a:pt x="6623" y="5791"/>
                </a:cubicBezTo>
                <a:cubicBezTo>
                  <a:pt x="6557" y="5923"/>
                  <a:pt x="6557" y="5923"/>
                  <a:pt x="6557" y="5923"/>
                </a:cubicBezTo>
                <a:moveTo>
                  <a:pt x="6771" y="4014"/>
                </a:moveTo>
                <a:cubicBezTo>
                  <a:pt x="6769" y="4019"/>
                  <a:pt x="6769" y="4019"/>
                  <a:pt x="6769" y="4019"/>
                </a:cubicBezTo>
                <a:cubicBezTo>
                  <a:pt x="7087" y="4972"/>
                  <a:pt x="7087" y="4972"/>
                  <a:pt x="7087" y="4972"/>
                </a:cubicBezTo>
                <a:cubicBezTo>
                  <a:pt x="7138" y="5128"/>
                  <a:pt x="7023" y="5288"/>
                  <a:pt x="6859" y="5288"/>
                </a:cubicBezTo>
                <a:cubicBezTo>
                  <a:pt x="6754" y="5289"/>
                  <a:pt x="6754" y="5289"/>
                  <a:pt x="6754" y="5289"/>
                </a:cubicBezTo>
                <a:cubicBezTo>
                  <a:pt x="6853" y="5626"/>
                  <a:pt x="6853" y="5626"/>
                  <a:pt x="6853" y="5626"/>
                </a:cubicBezTo>
                <a:cubicBezTo>
                  <a:pt x="6867" y="5681"/>
                  <a:pt x="6861" y="5740"/>
                  <a:pt x="6835" y="5791"/>
                </a:cubicBezTo>
                <a:cubicBezTo>
                  <a:pt x="6769" y="5923"/>
                  <a:pt x="6769" y="5923"/>
                  <a:pt x="6769" y="5923"/>
                </a:cubicBezTo>
                <a:moveTo>
                  <a:pt x="6983" y="4014"/>
                </a:moveTo>
                <a:cubicBezTo>
                  <a:pt x="6980" y="4019"/>
                  <a:pt x="6980" y="4019"/>
                  <a:pt x="6980" y="4019"/>
                </a:cubicBezTo>
                <a:cubicBezTo>
                  <a:pt x="7298" y="4972"/>
                  <a:pt x="7298" y="4972"/>
                  <a:pt x="7298" y="4972"/>
                </a:cubicBezTo>
                <a:cubicBezTo>
                  <a:pt x="7350" y="5128"/>
                  <a:pt x="7234" y="5288"/>
                  <a:pt x="7071" y="5288"/>
                </a:cubicBezTo>
                <a:cubicBezTo>
                  <a:pt x="6965" y="5289"/>
                  <a:pt x="6965" y="5289"/>
                  <a:pt x="6965" y="5289"/>
                </a:cubicBezTo>
                <a:cubicBezTo>
                  <a:pt x="7065" y="5626"/>
                  <a:pt x="7065" y="5626"/>
                  <a:pt x="7065" y="5626"/>
                </a:cubicBezTo>
                <a:cubicBezTo>
                  <a:pt x="7079" y="5681"/>
                  <a:pt x="7072" y="5740"/>
                  <a:pt x="7047" y="5791"/>
                </a:cubicBezTo>
                <a:cubicBezTo>
                  <a:pt x="6980" y="5923"/>
                  <a:pt x="6980" y="5923"/>
                  <a:pt x="6980" y="5923"/>
                </a:cubicBezTo>
                <a:moveTo>
                  <a:pt x="4217" y="7192"/>
                </a:moveTo>
                <a:cubicBezTo>
                  <a:pt x="4217" y="6959"/>
                  <a:pt x="4407" y="6769"/>
                  <a:pt x="4641" y="6769"/>
                </a:cubicBezTo>
                <a:moveTo>
                  <a:pt x="4429" y="7192"/>
                </a:moveTo>
                <a:cubicBezTo>
                  <a:pt x="4429" y="7076"/>
                  <a:pt x="4524" y="6981"/>
                  <a:pt x="4641" y="6981"/>
                </a:cubicBezTo>
                <a:moveTo>
                  <a:pt x="4006" y="7192"/>
                </a:moveTo>
                <a:cubicBezTo>
                  <a:pt x="4006" y="7543"/>
                  <a:pt x="4290" y="7827"/>
                  <a:pt x="4641" y="7827"/>
                </a:cubicBezTo>
                <a:moveTo>
                  <a:pt x="4641" y="7827"/>
                </a:moveTo>
                <a:cubicBezTo>
                  <a:pt x="5275" y="7827"/>
                  <a:pt x="5275" y="7827"/>
                  <a:pt x="5275" y="7827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404"/>
                </a:moveTo>
                <a:cubicBezTo>
                  <a:pt x="5275" y="7404"/>
                  <a:pt x="5275" y="7404"/>
                  <a:pt x="5275" y="7404"/>
                </a:cubicBezTo>
                <a:moveTo>
                  <a:pt x="4217" y="7192"/>
                </a:moveTo>
                <a:cubicBezTo>
                  <a:pt x="4217" y="7426"/>
                  <a:pt x="4407" y="7615"/>
                  <a:pt x="4641" y="7615"/>
                </a:cubicBezTo>
                <a:moveTo>
                  <a:pt x="4429" y="7192"/>
                </a:moveTo>
                <a:cubicBezTo>
                  <a:pt x="4429" y="7309"/>
                  <a:pt x="4524" y="7404"/>
                  <a:pt x="4641" y="7404"/>
                </a:cubicBezTo>
                <a:moveTo>
                  <a:pt x="5923" y="6135"/>
                </a:moveTo>
                <a:cubicBezTo>
                  <a:pt x="5923" y="6485"/>
                  <a:pt x="5633" y="6769"/>
                  <a:pt x="5275" y="6769"/>
                </a:cubicBezTo>
                <a:moveTo>
                  <a:pt x="6134" y="6135"/>
                </a:moveTo>
                <a:cubicBezTo>
                  <a:pt x="6134" y="6602"/>
                  <a:pt x="5750" y="6981"/>
                  <a:pt x="5275" y="6981"/>
                </a:cubicBezTo>
                <a:moveTo>
                  <a:pt x="6346" y="6135"/>
                </a:moveTo>
                <a:cubicBezTo>
                  <a:pt x="6346" y="6719"/>
                  <a:pt x="5866" y="7192"/>
                  <a:pt x="5275" y="7192"/>
                </a:cubicBezTo>
                <a:moveTo>
                  <a:pt x="6557" y="6135"/>
                </a:moveTo>
                <a:cubicBezTo>
                  <a:pt x="6557" y="6836"/>
                  <a:pt x="5983" y="7404"/>
                  <a:pt x="5275" y="7404"/>
                </a:cubicBezTo>
                <a:moveTo>
                  <a:pt x="6769" y="6135"/>
                </a:moveTo>
                <a:cubicBezTo>
                  <a:pt x="6769" y="6953"/>
                  <a:pt x="6100" y="7615"/>
                  <a:pt x="5275" y="7615"/>
                </a:cubicBezTo>
                <a:moveTo>
                  <a:pt x="6980" y="6135"/>
                </a:moveTo>
                <a:cubicBezTo>
                  <a:pt x="6980" y="7069"/>
                  <a:pt x="6217" y="7827"/>
                  <a:pt x="5275" y="7827"/>
                </a:cubicBezTo>
                <a:moveTo>
                  <a:pt x="5923" y="5923"/>
                </a:moveTo>
                <a:cubicBezTo>
                  <a:pt x="5923" y="6135"/>
                  <a:pt x="5923" y="6135"/>
                  <a:pt x="5923" y="6135"/>
                </a:cubicBezTo>
                <a:moveTo>
                  <a:pt x="6134" y="5923"/>
                </a:moveTo>
                <a:cubicBezTo>
                  <a:pt x="6134" y="6135"/>
                  <a:pt x="6134" y="6135"/>
                  <a:pt x="6134" y="6135"/>
                </a:cubicBezTo>
                <a:moveTo>
                  <a:pt x="6346" y="5923"/>
                </a:moveTo>
                <a:cubicBezTo>
                  <a:pt x="6346" y="6135"/>
                  <a:pt x="6346" y="6135"/>
                  <a:pt x="6346" y="6135"/>
                </a:cubicBezTo>
                <a:moveTo>
                  <a:pt x="6557" y="5923"/>
                </a:moveTo>
                <a:cubicBezTo>
                  <a:pt x="6557" y="6135"/>
                  <a:pt x="6557" y="6135"/>
                  <a:pt x="6557" y="6135"/>
                </a:cubicBezTo>
                <a:moveTo>
                  <a:pt x="6769" y="5923"/>
                </a:moveTo>
                <a:cubicBezTo>
                  <a:pt x="6769" y="6135"/>
                  <a:pt x="6769" y="6135"/>
                  <a:pt x="6769" y="6135"/>
                </a:cubicBezTo>
                <a:moveTo>
                  <a:pt x="6980" y="5923"/>
                </a:moveTo>
                <a:cubicBezTo>
                  <a:pt x="6980" y="6135"/>
                  <a:pt x="6980" y="6135"/>
                  <a:pt x="6980" y="6135"/>
                </a:cubicBezTo>
                <a:moveTo>
                  <a:pt x="1759" y="6437"/>
                </a:moveTo>
                <a:cubicBezTo>
                  <a:pt x="829" y="5834"/>
                  <a:pt x="212" y="4790"/>
                  <a:pt x="212" y="3600"/>
                </a:cubicBezTo>
                <a:cubicBezTo>
                  <a:pt x="212" y="1733"/>
                  <a:pt x="1727" y="212"/>
                  <a:pt x="3596" y="212"/>
                </a:cubicBezTo>
                <a:moveTo>
                  <a:pt x="3596" y="1"/>
                </a:moveTo>
                <a:cubicBezTo>
                  <a:pt x="1610" y="1"/>
                  <a:pt x="0" y="1616"/>
                  <a:pt x="0" y="3600"/>
                </a:cubicBezTo>
                <a:cubicBezTo>
                  <a:pt x="0" y="4902"/>
                  <a:pt x="696" y="6039"/>
                  <a:pt x="1734" y="6669"/>
                </a:cubicBezTo>
                <a:moveTo>
                  <a:pt x="1902" y="6524"/>
                </a:moveTo>
                <a:cubicBezTo>
                  <a:pt x="1854" y="6496"/>
                  <a:pt x="1806" y="6467"/>
                  <a:pt x="1759" y="6437"/>
                </a:cubicBezTo>
                <a:moveTo>
                  <a:pt x="1734" y="6669"/>
                </a:moveTo>
                <a:cubicBezTo>
                  <a:pt x="1767" y="6689"/>
                  <a:pt x="1800" y="6710"/>
                  <a:pt x="1834" y="6729"/>
                </a:cubicBezTo>
                <a:moveTo>
                  <a:pt x="1784" y="6199"/>
                </a:moveTo>
                <a:cubicBezTo>
                  <a:pt x="962" y="5626"/>
                  <a:pt x="423" y="4676"/>
                  <a:pt x="423" y="3599"/>
                </a:cubicBezTo>
                <a:cubicBezTo>
                  <a:pt x="423" y="1848"/>
                  <a:pt x="1829" y="424"/>
                  <a:pt x="3581" y="424"/>
                </a:cubicBezTo>
                <a:moveTo>
                  <a:pt x="3596" y="212"/>
                </a:moveTo>
                <a:cubicBezTo>
                  <a:pt x="1727" y="212"/>
                  <a:pt x="212" y="1733"/>
                  <a:pt x="212" y="3600"/>
                </a:cubicBezTo>
                <a:cubicBezTo>
                  <a:pt x="212" y="4790"/>
                  <a:pt x="829" y="5834"/>
                  <a:pt x="1759" y="6437"/>
                </a:cubicBezTo>
                <a:moveTo>
                  <a:pt x="2039" y="6112"/>
                </a:moveTo>
                <a:cubicBezTo>
                  <a:pt x="1960" y="6063"/>
                  <a:pt x="1884" y="6011"/>
                  <a:pt x="1810" y="5954"/>
                </a:cubicBezTo>
                <a:moveTo>
                  <a:pt x="1784" y="6199"/>
                </a:moveTo>
                <a:cubicBezTo>
                  <a:pt x="1844" y="6241"/>
                  <a:pt x="1907" y="6280"/>
                  <a:pt x="1971" y="6318"/>
                </a:cubicBezTo>
                <a:moveTo>
                  <a:pt x="1836" y="5708"/>
                </a:moveTo>
                <a:cubicBezTo>
                  <a:pt x="1231" y="5204"/>
                  <a:pt x="846" y="4445"/>
                  <a:pt x="846" y="3597"/>
                </a:cubicBezTo>
                <a:cubicBezTo>
                  <a:pt x="846" y="2078"/>
                  <a:pt x="2078" y="847"/>
                  <a:pt x="3596" y="847"/>
                </a:cubicBezTo>
                <a:moveTo>
                  <a:pt x="3596" y="637"/>
                </a:moveTo>
                <a:cubicBezTo>
                  <a:pt x="1961" y="637"/>
                  <a:pt x="635" y="1963"/>
                  <a:pt x="635" y="3598"/>
                </a:cubicBezTo>
                <a:cubicBezTo>
                  <a:pt x="635" y="4561"/>
                  <a:pt x="1097" y="5414"/>
                  <a:pt x="1810" y="5954"/>
                </a:cubicBezTo>
                <a:moveTo>
                  <a:pt x="1810" y="5954"/>
                </a:moveTo>
                <a:cubicBezTo>
                  <a:pt x="1884" y="6011"/>
                  <a:pt x="1960" y="6063"/>
                  <a:pt x="2039" y="6112"/>
                </a:cubicBezTo>
                <a:moveTo>
                  <a:pt x="2108" y="5907"/>
                </a:moveTo>
                <a:cubicBezTo>
                  <a:pt x="2013" y="5845"/>
                  <a:pt x="1922" y="5780"/>
                  <a:pt x="1836" y="5708"/>
                </a:cubicBezTo>
                <a:moveTo>
                  <a:pt x="1836" y="5708"/>
                </a:moveTo>
                <a:cubicBezTo>
                  <a:pt x="1922" y="5780"/>
                  <a:pt x="2013" y="5845"/>
                  <a:pt x="2108" y="5907"/>
                </a:cubicBezTo>
                <a:moveTo>
                  <a:pt x="2174" y="5699"/>
                </a:moveTo>
                <a:cubicBezTo>
                  <a:pt x="2063" y="5624"/>
                  <a:pt x="1960" y="5539"/>
                  <a:pt x="1863" y="5447"/>
                </a:cubicBezTo>
                <a:moveTo>
                  <a:pt x="3596" y="1058"/>
                </a:moveTo>
                <a:cubicBezTo>
                  <a:pt x="2194" y="1058"/>
                  <a:pt x="1058" y="2195"/>
                  <a:pt x="1058" y="3597"/>
                </a:cubicBezTo>
                <a:cubicBezTo>
                  <a:pt x="1058" y="4327"/>
                  <a:pt x="1369" y="4984"/>
                  <a:pt x="1863" y="5447"/>
                </a:cubicBezTo>
                <a:moveTo>
                  <a:pt x="2259" y="5501"/>
                </a:moveTo>
                <a:cubicBezTo>
                  <a:pt x="1660" y="5080"/>
                  <a:pt x="1269" y="4384"/>
                  <a:pt x="1269" y="3597"/>
                </a:cubicBezTo>
                <a:cubicBezTo>
                  <a:pt x="1269" y="2312"/>
                  <a:pt x="2311" y="1270"/>
                  <a:pt x="3596" y="1270"/>
                </a:cubicBezTo>
                <a:moveTo>
                  <a:pt x="1863" y="5447"/>
                </a:moveTo>
                <a:cubicBezTo>
                  <a:pt x="1960" y="5539"/>
                  <a:pt x="2063" y="5624"/>
                  <a:pt x="2174" y="5699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350AA4C0-39FC-4FA5-8794-9F701E9B9CA1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55399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1">
    <p:bg>
      <p:bgPr>
        <a:solidFill>
          <a:srgbClr val="ADD5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5"/>
          <p:cNvSpPr>
            <a:spLocks noEditPoints="1"/>
          </p:cNvSpPr>
          <p:nvPr/>
        </p:nvSpPr>
        <p:spPr bwMode="auto">
          <a:xfrm>
            <a:off x="4359276" y="-327025"/>
            <a:ext cx="4581526" cy="4872038"/>
          </a:xfrm>
          <a:custGeom>
            <a:avLst/>
            <a:gdLst>
              <a:gd name="T0" fmla="*/ 4641 w 7350"/>
              <a:gd name="T1" fmla="*/ 6558 h 7827"/>
              <a:gd name="T2" fmla="*/ 5275 w 7350"/>
              <a:gd name="T3" fmla="*/ 6769 h 7827"/>
              <a:gd name="T4" fmla="*/ 4641 w 7350"/>
              <a:gd name="T5" fmla="*/ 6981 h 7827"/>
              <a:gd name="T6" fmla="*/ 5275 w 7350"/>
              <a:gd name="T7" fmla="*/ 7192 h 7827"/>
              <a:gd name="T8" fmla="*/ 5698 w 7350"/>
              <a:gd name="T9" fmla="*/ 5923 h 7827"/>
              <a:gd name="T10" fmla="*/ 4995 w 7350"/>
              <a:gd name="T11" fmla="*/ 1746 h 7827"/>
              <a:gd name="T12" fmla="*/ 5698 w 7350"/>
              <a:gd name="T13" fmla="*/ 4019 h 7827"/>
              <a:gd name="T14" fmla="*/ 5698 w 7350"/>
              <a:gd name="T15" fmla="*/ 5288 h 7827"/>
              <a:gd name="T16" fmla="*/ 5698 w 7350"/>
              <a:gd name="T17" fmla="*/ 5923 h 7827"/>
              <a:gd name="T18" fmla="*/ 6022 w 7350"/>
              <a:gd name="T19" fmla="*/ 2924 h 7827"/>
              <a:gd name="T20" fmla="*/ 5291 w 7350"/>
              <a:gd name="T21" fmla="*/ 1416 h 7827"/>
              <a:gd name="T22" fmla="*/ 3596 w 7350"/>
              <a:gd name="T23" fmla="*/ 637 h 7827"/>
              <a:gd name="T24" fmla="*/ 6346 w 7350"/>
              <a:gd name="T25" fmla="*/ 4019 h 7827"/>
              <a:gd name="T26" fmla="*/ 6629 w 7350"/>
              <a:gd name="T27" fmla="*/ 2691 h 7827"/>
              <a:gd name="T28" fmla="*/ 5637 w 7350"/>
              <a:gd name="T29" fmla="*/ 898 h 7827"/>
              <a:gd name="T30" fmla="*/ 3596 w 7350"/>
              <a:gd name="T31" fmla="*/ 1 h 7827"/>
              <a:gd name="T32" fmla="*/ 6980 w 7350"/>
              <a:gd name="T33" fmla="*/ 4019 h 7827"/>
              <a:gd name="T34" fmla="*/ 6241 w 7350"/>
              <a:gd name="T35" fmla="*/ 4972 h 7827"/>
              <a:gd name="T36" fmla="*/ 6007 w 7350"/>
              <a:gd name="T37" fmla="*/ 5626 h 7827"/>
              <a:gd name="T38" fmla="*/ 6137 w 7350"/>
              <a:gd name="T39" fmla="*/ 4014 h 7827"/>
              <a:gd name="T40" fmla="*/ 6225 w 7350"/>
              <a:gd name="T41" fmla="*/ 5288 h 7827"/>
              <a:gd name="T42" fmla="*/ 6200 w 7350"/>
              <a:gd name="T43" fmla="*/ 5791 h 7827"/>
              <a:gd name="T44" fmla="*/ 6346 w 7350"/>
              <a:gd name="T45" fmla="*/ 4019 h 7827"/>
              <a:gd name="T46" fmla="*/ 6331 w 7350"/>
              <a:gd name="T47" fmla="*/ 5289 h 7827"/>
              <a:gd name="T48" fmla="*/ 6346 w 7350"/>
              <a:gd name="T49" fmla="*/ 5923 h 7827"/>
              <a:gd name="T50" fmla="*/ 6875 w 7350"/>
              <a:gd name="T51" fmla="*/ 4972 h 7827"/>
              <a:gd name="T52" fmla="*/ 6642 w 7350"/>
              <a:gd name="T53" fmla="*/ 5626 h 7827"/>
              <a:gd name="T54" fmla="*/ 6771 w 7350"/>
              <a:gd name="T55" fmla="*/ 4014 h 7827"/>
              <a:gd name="T56" fmla="*/ 6859 w 7350"/>
              <a:gd name="T57" fmla="*/ 5288 h 7827"/>
              <a:gd name="T58" fmla="*/ 6835 w 7350"/>
              <a:gd name="T59" fmla="*/ 5791 h 7827"/>
              <a:gd name="T60" fmla="*/ 6980 w 7350"/>
              <a:gd name="T61" fmla="*/ 4019 h 7827"/>
              <a:gd name="T62" fmla="*/ 6965 w 7350"/>
              <a:gd name="T63" fmla="*/ 5289 h 7827"/>
              <a:gd name="T64" fmla="*/ 6980 w 7350"/>
              <a:gd name="T65" fmla="*/ 5923 h 7827"/>
              <a:gd name="T66" fmla="*/ 4429 w 7350"/>
              <a:gd name="T67" fmla="*/ 7192 h 7827"/>
              <a:gd name="T68" fmla="*/ 4641 w 7350"/>
              <a:gd name="T69" fmla="*/ 7827 h 7827"/>
              <a:gd name="T70" fmla="*/ 4641 w 7350"/>
              <a:gd name="T71" fmla="*/ 7615 h 7827"/>
              <a:gd name="T72" fmla="*/ 5275 w 7350"/>
              <a:gd name="T73" fmla="*/ 7615 h 7827"/>
              <a:gd name="T74" fmla="*/ 4217 w 7350"/>
              <a:gd name="T75" fmla="*/ 7192 h 7827"/>
              <a:gd name="T76" fmla="*/ 4641 w 7350"/>
              <a:gd name="T77" fmla="*/ 7404 h 7827"/>
              <a:gd name="T78" fmla="*/ 6134 w 7350"/>
              <a:gd name="T79" fmla="*/ 6135 h 7827"/>
              <a:gd name="T80" fmla="*/ 5275 w 7350"/>
              <a:gd name="T81" fmla="*/ 7192 h 7827"/>
              <a:gd name="T82" fmla="*/ 6769 w 7350"/>
              <a:gd name="T83" fmla="*/ 6135 h 7827"/>
              <a:gd name="T84" fmla="*/ 5275 w 7350"/>
              <a:gd name="T85" fmla="*/ 7827 h 7827"/>
              <a:gd name="T86" fmla="*/ 6134 w 7350"/>
              <a:gd name="T87" fmla="*/ 5923 h 7827"/>
              <a:gd name="T88" fmla="*/ 6346 w 7350"/>
              <a:gd name="T89" fmla="*/ 6135 h 7827"/>
              <a:gd name="T90" fmla="*/ 6769 w 7350"/>
              <a:gd name="T91" fmla="*/ 5923 h 7827"/>
              <a:gd name="T92" fmla="*/ 6980 w 7350"/>
              <a:gd name="T93" fmla="*/ 6135 h 7827"/>
              <a:gd name="T94" fmla="*/ 3596 w 7350"/>
              <a:gd name="T95" fmla="*/ 212 h 7827"/>
              <a:gd name="T96" fmla="*/ 1734 w 7350"/>
              <a:gd name="T97" fmla="*/ 6669 h 7827"/>
              <a:gd name="T98" fmla="*/ 1734 w 7350"/>
              <a:gd name="T99" fmla="*/ 6669 h 7827"/>
              <a:gd name="T100" fmla="*/ 423 w 7350"/>
              <a:gd name="T101" fmla="*/ 3599 h 7827"/>
              <a:gd name="T102" fmla="*/ 212 w 7350"/>
              <a:gd name="T103" fmla="*/ 3600 h 7827"/>
              <a:gd name="T104" fmla="*/ 1810 w 7350"/>
              <a:gd name="T105" fmla="*/ 5954 h 7827"/>
              <a:gd name="T106" fmla="*/ 1836 w 7350"/>
              <a:gd name="T107" fmla="*/ 5708 h 7827"/>
              <a:gd name="T108" fmla="*/ 3596 w 7350"/>
              <a:gd name="T109" fmla="*/ 637 h 7827"/>
              <a:gd name="T110" fmla="*/ 1810 w 7350"/>
              <a:gd name="T111" fmla="*/ 5954 h 7827"/>
              <a:gd name="T112" fmla="*/ 1836 w 7350"/>
              <a:gd name="T113" fmla="*/ 5708 h 7827"/>
              <a:gd name="T114" fmla="*/ 2174 w 7350"/>
              <a:gd name="T115" fmla="*/ 5699 h 7827"/>
              <a:gd name="T116" fmla="*/ 1058 w 7350"/>
              <a:gd name="T117" fmla="*/ 3597 h 7827"/>
              <a:gd name="T118" fmla="*/ 1269 w 7350"/>
              <a:gd name="T119" fmla="*/ 3597 h 7827"/>
              <a:gd name="T120" fmla="*/ 2174 w 7350"/>
              <a:gd name="T121" fmla="*/ 5699 h 7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350" h="7827">
                <a:moveTo>
                  <a:pt x="4006" y="7192"/>
                </a:moveTo>
                <a:cubicBezTo>
                  <a:pt x="4006" y="6842"/>
                  <a:pt x="4290" y="6558"/>
                  <a:pt x="4641" y="6558"/>
                </a:cubicBezTo>
                <a:moveTo>
                  <a:pt x="4641" y="6558"/>
                </a:moveTo>
                <a:cubicBezTo>
                  <a:pt x="5275" y="6558"/>
                  <a:pt x="5275" y="6558"/>
                  <a:pt x="5275" y="6558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981"/>
                </a:moveTo>
                <a:cubicBezTo>
                  <a:pt x="5275" y="6981"/>
                  <a:pt x="5275" y="6981"/>
                  <a:pt x="5275" y="6981"/>
                </a:cubicBezTo>
                <a:moveTo>
                  <a:pt x="4641" y="7192"/>
                </a:moveTo>
                <a:cubicBezTo>
                  <a:pt x="5275" y="7192"/>
                  <a:pt x="5275" y="7192"/>
                  <a:pt x="5275" y="7192"/>
                </a:cubicBezTo>
                <a:moveTo>
                  <a:pt x="5698" y="6135"/>
                </a:moveTo>
                <a:cubicBezTo>
                  <a:pt x="5698" y="6368"/>
                  <a:pt x="5509" y="6558"/>
                  <a:pt x="5275" y="6558"/>
                </a:cubicBezTo>
                <a:moveTo>
                  <a:pt x="5698" y="5923"/>
                </a:moveTo>
                <a:cubicBezTo>
                  <a:pt x="5698" y="6135"/>
                  <a:pt x="5698" y="6135"/>
                  <a:pt x="5698" y="6135"/>
                </a:cubicBezTo>
                <a:moveTo>
                  <a:pt x="3583" y="1270"/>
                </a:moveTo>
                <a:cubicBezTo>
                  <a:pt x="4083" y="1270"/>
                  <a:pt x="4583" y="1428"/>
                  <a:pt x="4995" y="1746"/>
                </a:cubicBezTo>
                <a:cubicBezTo>
                  <a:pt x="5410" y="2066"/>
                  <a:pt x="5684" y="2488"/>
                  <a:pt x="5816" y="2942"/>
                </a:cubicBezTo>
                <a:cubicBezTo>
                  <a:pt x="5920" y="3298"/>
                  <a:pt x="5866" y="3682"/>
                  <a:pt x="5700" y="4014"/>
                </a:cubicBezTo>
                <a:cubicBezTo>
                  <a:pt x="5698" y="4019"/>
                  <a:pt x="5698" y="4019"/>
                  <a:pt x="5698" y="4019"/>
                </a:cubicBezTo>
                <a:cubicBezTo>
                  <a:pt x="6016" y="4972"/>
                  <a:pt x="6016" y="4972"/>
                  <a:pt x="6016" y="4972"/>
                </a:cubicBezTo>
                <a:cubicBezTo>
                  <a:pt x="6068" y="5128"/>
                  <a:pt x="5952" y="5288"/>
                  <a:pt x="5789" y="5288"/>
                </a:cubicBezTo>
                <a:cubicBezTo>
                  <a:pt x="5698" y="5288"/>
                  <a:pt x="5698" y="5288"/>
                  <a:pt x="5698" y="5288"/>
                </a:cubicBezTo>
                <a:cubicBezTo>
                  <a:pt x="5782" y="5626"/>
                  <a:pt x="5782" y="5626"/>
                  <a:pt x="5782" y="5626"/>
                </a:cubicBezTo>
                <a:cubicBezTo>
                  <a:pt x="5796" y="5681"/>
                  <a:pt x="5790" y="5740"/>
                  <a:pt x="5764" y="5791"/>
                </a:cubicBezTo>
                <a:cubicBezTo>
                  <a:pt x="5698" y="5923"/>
                  <a:pt x="5698" y="5923"/>
                  <a:pt x="5698" y="5923"/>
                </a:cubicBezTo>
                <a:moveTo>
                  <a:pt x="3531" y="1058"/>
                </a:moveTo>
                <a:cubicBezTo>
                  <a:pt x="4088" y="1058"/>
                  <a:pt x="4646" y="1235"/>
                  <a:pt x="5106" y="1589"/>
                </a:cubicBezTo>
                <a:cubicBezTo>
                  <a:pt x="5569" y="1947"/>
                  <a:pt x="5874" y="2417"/>
                  <a:pt x="6022" y="2924"/>
                </a:cubicBezTo>
                <a:cubicBezTo>
                  <a:pt x="6138" y="3321"/>
                  <a:pt x="6108" y="3648"/>
                  <a:pt x="5923" y="4019"/>
                </a:cubicBezTo>
                <a:moveTo>
                  <a:pt x="3596" y="847"/>
                </a:moveTo>
                <a:cubicBezTo>
                  <a:pt x="4194" y="847"/>
                  <a:pt x="4798" y="1036"/>
                  <a:pt x="5291" y="1416"/>
                </a:cubicBezTo>
                <a:cubicBezTo>
                  <a:pt x="5787" y="1799"/>
                  <a:pt x="6114" y="2303"/>
                  <a:pt x="6272" y="2846"/>
                </a:cubicBezTo>
                <a:cubicBezTo>
                  <a:pt x="6397" y="3272"/>
                  <a:pt x="6333" y="3622"/>
                  <a:pt x="6134" y="4019"/>
                </a:cubicBezTo>
                <a:moveTo>
                  <a:pt x="3596" y="637"/>
                </a:moveTo>
                <a:cubicBezTo>
                  <a:pt x="4234" y="637"/>
                  <a:pt x="4878" y="838"/>
                  <a:pt x="5404" y="1243"/>
                </a:cubicBezTo>
                <a:cubicBezTo>
                  <a:pt x="5933" y="1651"/>
                  <a:pt x="6282" y="2189"/>
                  <a:pt x="6451" y="2769"/>
                </a:cubicBezTo>
                <a:cubicBezTo>
                  <a:pt x="6583" y="3223"/>
                  <a:pt x="6557" y="3596"/>
                  <a:pt x="6346" y="4019"/>
                </a:cubicBezTo>
                <a:moveTo>
                  <a:pt x="3581" y="424"/>
                </a:moveTo>
                <a:cubicBezTo>
                  <a:pt x="4258" y="424"/>
                  <a:pt x="4959" y="640"/>
                  <a:pt x="5517" y="1071"/>
                </a:cubicBezTo>
                <a:cubicBezTo>
                  <a:pt x="6079" y="1504"/>
                  <a:pt x="6450" y="2076"/>
                  <a:pt x="6629" y="2691"/>
                </a:cubicBezTo>
                <a:cubicBezTo>
                  <a:pt x="6770" y="3174"/>
                  <a:pt x="6782" y="3569"/>
                  <a:pt x="6557" y="4019"/>
                </a:cubicBezTo>
                <a:moveTo>
                  <a:pt x="3596" y="212"/>
                </a:moveTo>
                <a:cubicBezTo>
                  <a:pt x="4313" y="212"/>
                  <a:pt x="5046" y="442"/>
                  <a:pt x="5637" y="898"/>
                </a:cubicBezTo>
                <a:cubicBezTo>
                  <a:pt x="6233" y="1357"/>
                  <a:pt x="6625" y="1962"/>
                  <a:pt x="6816" y="2614"/>
                </a:cubicBezTo>
                <a:cubicBezTo>
                  <a:pt x="6965" y="3125"/>
                  <a:pt x="7007" y="3544"/>
                  <a:pt x="6769" y="4020"/>
                </a:cubicBezTo>
                <a:moveTo>
                  <a:pt x="3596" y="1"/>
                </a:moveTo>
                <a:cubicBezTo>
                  <a:pt x="4353" y="0"/>
                  <a:pt x="5119" y="240"/>
                  <a:pt x="5743" y="722"/>
                </a:cubicBezTo>
                <a:cubicBezTo>
                  <a:pt x="6371" y="1206"/>
                  <a:pt x="6786" y="1845"/>
                  <a:pt x="6987" y="2533"/>
                </a:cubicBezTo>
                <a:cubicBezTo>
                  <a:pt x="7144" y="3073"/>
                  <a:pt x="7232" y="3516"/>
                  <a:pt x="6980" y="4019"/>
                </a:cubicBezTo>
                <a:moveTo>
                  <a:pt x="5925" y="4014"/>
                </a:moveTo>
                <a:cubicBezTo>
                  <a:pt x="5923" y="4019"/>
                  <a:pt x="5923" y="4019"/>
                  <a:pt x="5923" y="4019"/>
                </a:cubicBezTo>
                <a:cubicBezTo>
                  <a:pt x="6241" y="4972"/>
                  <a:pt x="6241" y="4972"/>
                  <a:pt x="6241" y="4972"/>
                </a:cubicBezTo>
                <a:cubicBezTo>
                  <a:pt x="6292" y="5128"/>
                  <a:pt x="6177" y="5288"/>
                  <a:pt x="6013" y="5288"/>
                </a:cubicBezTo>
                <a:cubicBezTo>
                  <a:pt x="5908" y="5289"/>
                  <a:pt x="5908" y="5289"/>
                  <a:pt x="5908" y="5289"/>
                </a:cubicBezTo>
                <a:cubicBezTo>
                  <a:pt x="6007" y="5626"/>
                  <a:pt x="6007" y="5626"/>
                  <a:pt x="6007" y="5626"/>
                </a:cubicBezTo>
                <a:cubicBezTo>
                  <a:pt x="6021" y="5681"/>
                  <a:pt x="6014" y="5740"/>
                  <a:pt x="5989" y="5791"/>
                </a:cubicBezTo>
                <a:cubicBezTo>
                  <a:pt x="5923" y="5923"/>
                  <a:pt x="5923" y="5923"/>
                  <a:pt x="5923" y="5923"/>
                </a:cubicBezTo>
                <a:moveTo>
                  <a:pt x="6137" y="4014"/>
                </a:moveTo>
                <a:cubicBezTo>
                  <a:pt x="6134" y="4019"/>
                  <a:pt x="6134" y="4019"/>
                  <a:pt x="6134" y="4019"/>
                </a:cubicBezTo>
                <a:cubicBezTo>
                  <a:pt x="6452" y="4972"/>
                  <a:pt x="6452" y="4972"/>
                  <a:pt x="6452" y="4972"/>
                </a:cubicBezTo>
                <a:cubicBezTo>
                  <a:pt x="6504" y="5128"/>
                  <a:pt x="6388" y="5288"/>
                  <a:pt x="6225" y="5288"/>
                </a:cubicBezTo>
                <a:cubicBezTo>
                  <a:pt x="6119" y="5289"/>
                  <a:pt x="6119" y="5289"/>
                  <a:pt x="6119" y="5289"/>
                </a:cubicBezTo>
                <a:cubicBezTo>
                  <a:pt x="6219" y="5626"/>
                  <a:pt x="6219" y="5626"/>
                  <a:pt x="6219" y="5626"/>
                </a:cubicBezTo>
                <a:cubicBezTo>
                  <a:pt x="6232" y="5681"/>
                  <a:pt x="6226" y="5740"/>
                  <a:pt x="6200" y="5791"/>
                </a:cubicBezTo>
                <a:cubicBezTo>
                  <a:pt x="6134" y="5923"/>
                  <a:pt x="6134" y="5923"/>
                  <a:pt x="6134" y="5923"/>
                </a:cubicBezTo>
                <a:moveTo>
                  <a:pt x="6348" y="4014"/>
                </a:moveTo>
                <a:cubicBezTo>
                  <a:pt x="6346" y="4019"/>
                  <a:pt x="6346" y="4019"/>
                  <a:pt x="6346" y="4019"/>
                </a:cubicBezTo>
                <a:cubicBezTo>
                  <a:pt x="6664" y="4972"/>
                  <a:pt x="6664" y="4972"/>
                  <a:pt x="6664" y="4972"/>
                </a:cubicBezTo>
                <a:cubicBezTo>
                  <a:pt x="6715" y="5128"/>
                  <a:pt x="6600" y="5288"/>
                  <a:pt x="6436" y="5288"/>
                </a:cubicBezTo>
                <a:cubicBezTo>
                  <a:pt x="6331" y="5289"/>
                  <a:pt x="6331" y="5289"/>
                  <a:pt x="6331" y="5289"/>
                </a:cubicBezTo>
                <a:cubicBezTo>
                  <a:pt x="6430" y="5626"/>
                  <a:pt x="6430" y="5626"/>
                  <a:pt x="6430" y="5626"/>
                </a:cubicBezTo>
                <a:cubicBezTo>
                  <a:pt x="6444" y="5681"/>
                  <a:pt x="6438" y="5740"/>
                  <a:pt x="6412" y="5791"/>
                </a:cubicBezTo>
                <a:cubicBezTo>
                  <a:pt x="6346" y="5923"/>
                  <a:pt x="6346" y="5923"/>
                  <a:pt x="6346" y="5923"/>
                </a:cubicBezTo>
                <a:moveTo>
                  <a:pt x="6560" y="4014"/>
                </a:moveTo>
                <a:cubicBezTo>
                  <a:pt x="6557" y="4019"/>
                  <a:pt x="6557" y="4019"/>
                  <a:pt x="6557" y="4019"/>
                </a:cubicBezTo>
                <a:cubicBezTo>
                  <a:pt x="6875" y="4972"/>
                  <a:pt x="6875" y="4972"/>
                  <a:pt x="6875" y="4972"/>
                </a:cubicBezTo>
                <a:cubicBezTo>
                  <a:pt x="6927" y="5128"/>
                  <a:pt x="6811" y="5288"/>
                  <a:pt x="6648" y="5288"/>
                </a:cubicBezTo>
                <a:cubicBezTo>
                  <a:pt x="6542" y="5289"/>
                  <a:pt x="6542" y="5289"/>
                  <a:pt x="6542" y="5289"/>
                </a:cubicBezTo>
                <a:cubicBezTo>
                  <a:pt x="6642" y="5626"/>
                  <a:pt x="6642" y="5626"/>
                  <a:pt x="6642" y="5626"/>
                </a:cubicBezTo>
                <a:cubicBezTo>
                  <a:pt x="6655" y="5681"/>
                  <a:pt x="6649" y="5740"/>
                  <a:pt x="6623" y="5791"/>
                </a:cubicBezTo>
                <a:cubicBezTo>
                  <a:pt x="6557" y="5923"/>
                  <a:pt x="6557" y="5923"/>
                  <a:pt x="6557" y="5923"/>
                </a:cubicBezTo>
                <a:moveTo>
                  <a:pt x="6771" y="4014"/>
                </a:moveTo>
                <a:cubicBezTo>
                  <a:pt x="6769" y="4019"/>
                  <a:pt x="6769" y="4019"/>
                  <a:pt x="6769" y="4019"/>
                </a:cubicBezTo>
                <a:cubicBezTo>
                  <a:pt x="7087" y="4972"/>
                  <a:pt x="7087" y="4972"/>
                  <a:pt x="7087" y="4972"/>
                </a:cubicBezTo>
                <a:cubicBezTo>
                  <a:pt x="7138" y="5128"/>
                  <a:pt x="7023" y="5288"/>
                  <a:pt x="6859" y="5288"/>
                </a:cubicBezTo>
                <a:cubicBezTo>
                  <a:pt x="6754" y="5289"/>
                  <a:pt x="6754" y="5289"/>
                  <a:pt x="6754" y="5289"/>
                </a:cubicBezTo>
                <a:cubicBezTo>
                  <a:pt x="6853" y="5626"/>
                  <a:pt x="6853" y="5626"/>
                  <a:pt x="6853" y="5626"/>
                </a:cubicBezTo>
                <a:cubicBezTo>
                  <a:pt x="6867" y="5681"/>
                  <a:pt x="6861" y="5740"/>
                  <a:pt x="6835" y="5791"/>
                </a:cubicBezTo>
                <a:cubicBezTo>
                  <a:pt x="6769" y="5923"/>
                  <a:pt x="6769" y="5923"/>
                  <a:pt x="6769" y="5923"/>
                </a:cubicBezTo>
                <a:moveTo>
                  <a:pt x="6983" y="4014"/>
                </a:moveTo>
                <a:cubicBezTo>
                  <a:pt x="6980" y="4019"/>
                  <a:pt x="6980" y="4019"/>
                  <a:pt x="6980" y="4019"/>
                </a:cubicBezTo>
                <a:cubicBezTo>
                  <a:pt x="7298" y="4972"/>
                  <a:pt x="7298" y="4972"/>
                  <a:pt x="7298" y="4972"/>
                </a:cubicBezTo>
                <a:cubicBezTo>
                  <a:pt x="7350" y="5128"/>
                  <a:pt x="7234" y="5288"/>
                  <a:pt x="7071" y="5288"/>
                </a:cubicBezTo>
                <a:cubicBezTo>
                  <a:pt x="6965" y="5289"/>
                  <a:pt x="6965" y="5289"/>
                  <a:pt x="6965" y="5289"/>
                </a:cubicBezTo>
                <a:cubicBezTo>
                  <a:pt x="7065" y="5626"/>
                  <a:pt x="7065" y="5626"/>
                  <a:pt x="7065" y="5626"/>
                </a:cubicBezTo>
                <a:cubicBezTo>
                  <a:pt x="7079" y="5681"/>
                  <a:pt x="7072" y="5740"/>
                  <a:pt x="7047" y="5791"/>
                </a:cubicBezTo>
                <a:cubicBezTo>
                  <a:pt x="6980" y="5923"/>
                  <a:pt x="6980" y="5923"/>
                  <a:pt x="6980" y="5923"/>
                </a:cubicBezTo>
                <a:moveTo>
                  <a:pt x="4217" y="7192"/>
                </a:moveTo>
                <a:cubicBezTo>
                  <a:pt x="4217" y="6959"/>
                  <a:pt x="4407" y="6769"/>
                  <a:pt x="4641" y="6769"/>
                </a:cubicBezTo>
                <a:moveTo>
                  <a:pt x="4429" y="7192"/>
                </a:moveTo>
                <a:cubicBezTo>
                  <a:pt x="4429" y="7076"/>
                  <a:pt x="4524" y="6981"/>
                  <a:pt x="4641" y="6981"/>
                </a:cubicBezTo>
                <a:moveTo>
                  <a:pt x="4006" y="7192"/>
                </a:moveTo>
                <a:cubicBezTo>
                  <a:pt x="4006" y="7543"/>
                  <a:pt x="4290" y="7827"/>
                  <a:pt x="4641" y="7827"/>
                </a:cubicBezTo>
                <a:moveTo>
                  <a:pt x="4641" y="7827"/>
                </a:moveTo>
                <a:cubicBezTo>
                  <a:pt x="5275" y="7827"/>
                  <a:pt x="5275" y="7827"/>
                  <a:pt x="5275" y="7827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404"/>
                </a:moveTo>
                <a:cubicBezTo>
                  <a:pt x="5275" y="7404"/>
                  <a:pt x="5275" y="7404"/>
                  <a:pt x="5275" y="7404"/>
                </a:cubicBezTo>
                <a:moveTo>
                  <a:pt x="4217" y="7192"/>
                </a:moveTo>
                <a:cubicBezTo>
                  <a:pt x="4217" y="7426"/>
                  <a:pt x="4407" y="7615"/>
                  <a:pt x="4641" y="7615"/>
                </a:cubicBezTo>
                <a:moveTo>
                  <a:pt x="4429" y="7192"/>
                </a:moveTo>
                <a:cubicBezTo>
                  <a:pt x="4429" y="7309"/>
                  <a:pt x="4524" y="7404"/>
                  <a:pt x="4641" y="7404"/>
                </a:cubicBezTo>
                <a:moveTo>
                  <a:pt x="5923" y="6135"/>
                </a:moveTo>
                <a:cubicBezTo>
                  <a:pt x="5923" y="6485"/>
                  <a:pt x="5633" y="6769"/>
                  <a:pt x="5275" y="6769"/>
                </a:cubicBezTo>
                <a:moveTo>
                  <a:pt x="6134" y="6135"/>
                </a:moveTo>
                <a:cubicBezTo>
                  <a:pt x="6134" y="6602"/>
                  <a:pt x="5750" y="6981"/>
                  <a:pt x="5275" y="6981"/>
                </a:cubicBezTo>
                <a:moveTo>
                  <a:pt x="6346" y="6135"/>
                </a:moveTo>
                <a:cubicBezTo>
                  <a:pt x="6346" y="6719"/>
                  <a:pt x="5866" y="7192"/>
                  <a:pt x="5275" y="7192"/>
                </a:cubicBezTo>
                <a:moveTo>
                  <a:pt x="6557" y="6135"/>
                </a:moveTo>
                <a:cubicBezTo>
                  <a:pt x="6557" y="6836"/>
                  <a:pt x="5983" y="7404"/>
                  <a:pt x="5275" y="7404"/>
                </a:cubicBezTo>
                <a:moveTo>
                  <a:pt x="6769" y="6135"/>
                </a:moveTo>
                <a:cubicBezTo>
                  <a:pt x="6769" y="6953"/>
                  <a:pt x="6100" y="7615"/>
                  <a:pt x="5275" y="7615"/>
                </a:cubicBezTo>
                <a:moveTo>
                  <a:pt x="6980" y="6135"/>
                </a:moveTo>
                <a:cubicBezTo>
                  <a:pt x="6980" y="7069"/>
                  <a:pt x="6217" y="7827"/>
                  <a:pt x="5275" y="7827"/>
                </a:cubicBezTo>
                <a:moveTo>
                  <a:pt x="5923" y="5923"/>
                </a:moveTo>
                <a:cubicBezTo>
                  <a:pt x="5923" y="6135"/>
                  <a:pt x="5923" y="6135"/>
                  <a:pt x="5923" y="6135"/>
                </a:cubicBezTo>
                <a:moveTo>
                  <a:pt x="6134" y="5923"/>
                </a:moveTo>
                <a:cubicBezTo>
                  <a:pt x="6134" y="6135"/>
                  <a:pt x="6134" y="6135"/>
                  <a:pt x="6134" y="6135"/>
                </a:cubicBezTo>
                <a:moveTo>
                  <a:pt x="6346" y="5923"/>
                </a:moveTo>
                <a:cubicBezTo>
                  <a:pt x="6346" y="6135"/>
                  <a:pt x="6346" y="6135"/>
                  <a:pt x="6346" y="6135"/>
                </a:cubicBezTo>
                <a:moveTo>
                  <a:pt x="6557" y="5923"/>
                </a:moveTo>
                <a:cubicBezTo>
                  <a:pt x="6557" y="6135"/>
                  <a:pt x="6557" y="6135"/>
                  <a:pt x="6557" y="6135"/>
                </a:cubicBezTo>
                <a:moveTo>
                  <a:pt x="6769" y="5923"/>
                </a:moveTo>
                <a:cubicBezTo>
                  <a:pt x="6769" y="6135"/>
                  <a:pt x="6769" y="6135"/>
                  <a:pt x="6769" y="6135"/>
                </a:cubicBezTo>
                <a:moveTo>
                  <a:pt x="6980" y="5923"/>
                </a:moveTo>
                <a:cubicBezTo>
                  <a:pt x="6980" y="6135"/>
                  <a:pt x="6980" y="6135"/>
                  <a:pt x="6980" y="6135"/>
                </a:cubicBezTo>
                <a:moveTo>
                  <a:pt x="1759" y="6437"/>
                </a:moveTo>
                <a:cubicBezTo>
                  <a:pt x="829" y="5834"/>
                  <a:pt x="212" y="4790"/>
                  <a:pt x="212" y="3600"/>
                </a:cubicBezTo>
                <a:cubicBezTo>
                  <a:pt x="212" y="1733"/>
                  <a:pt x="1727" y="212"/>
                  <a:pt x="3596" y="212"/>
                </a:cubicBezTo>
                <a:moveTo>
                  <a:pt x="3596" y="1"/>
                </a:moveTo>
                <a:cubicBezTo>
                  <a:pt x="1610" y="1"/>
                  <a:pt x="0" y="1616"/>
                  <a:pt x="0" y="3600"/>
                </a:cubicBezTo>
                <a:cubicBezTo>
                  <a:pt x="0" y="4902"/>
                  <a:pt x="696" y="6039"/>
                  <a:pt x="1734" y="6669"/>
                </a:cubicBezTo>
                <a:moveTo>
                  <a:pt x="1902" y="6524"/>
                </a:moveTo>
                <a:cubicBezTo>
                  <a:pt x="1854" y="6496"/>
                  <a:pt x="1806" y="6467"/>
                  <a:pt x="1759" y="6437"/>
                </a:cubicBezTo>
                <a:moveTo>
                  <a:pt x="1734" y="6669"/>
                </a:moveTo>
                <a:cubicBezTo>
                  <a:pt x="1767" y="6689"/>
                  <a:pt x="1800" y="6710"/>
                  <a:pt x="1834" y="6729"/>
                </a:cubicBezTo>
                <a:moveTo>
                  <a:pt x="1784" y="6199"/>
                </a:moveTo>
                <a:cubicBezTo>
                  <a:pt x="962" y="5626"/>
                  <a:pt x="423" y="4676"/>
                  <a:pt x="423" y="3599"/>
                </a:cubicBezTo>
                <a:cubicBezTo>
                  <a:pt x="423" y="1848"/>
                  <a:pt x="1829" y="424"/>
                  <a:pt x="3581" y="424"/>
                </a:cubicBezTo>
                <a:moveTo>
                  <a:pt x="3596" y="212"/>
                </a:moveTo>
                <a:cubicBezTo>
                  <a:pt x="1727" y="212"/>
                  <a:pt x="212" y="1733"/>
                  <a:pt x="212" y="3600"/>
                </a:cubicBezTo>
                <a:cubicBezTo>
                  <a:pt x="212" y="4790"/>
                  <a:pt x="829" y="5834"/>
                  <a:pt x="1759" y="6437"/>
                </a:cubicBezTo>
                <a:moveTo>
                  <a:pt x="2039" y="6112"/>
                </a:moveTo>
                <a:cubicBezTo>
                  <a:pt x="1960" y="6063"/>
                  <a:pt x="1884" y="6011"/>
                  <a:pt x="1810" y="5954"/>
                </a:cubicBezTo>
                <a:moveTo>
                  <a:pt x="1784" y="6199"/>
                </a:moveTo>
                <a:cubicBezTo>
                  <a:pt x="1844" y="6241"/>
                  <a:pt x="1907" y="6280"/>
                  <a:pt x="1971" y="6318"/>
                </a:cubicBezTo>
                <a:moveTo>
                  <a:pt x="1836" y="5708"/>
                </a:moveTo>
                <a:cubicBezTo>
                  <a:pt x="1231" y="5204"/>
                  <a:pt x="846" y="4445"/>
                  <a:pt x="846" y="3597"/>
                </a:cubicBezTo>
                <a:cubicBezTo>
                  <a:pt x="846" y="2078"/>
                  <a:pt x="2078" y="847"/>
                  <a:pt x="3596" y="847"/>
                </a:cubicBezTo>
                <a:moveTo>
                  <a:pt x="3596" y="637"/>
                </a:moveTo>
                <a:cubicBezTo>
                  <a:pt x="1961" y="637"/>
                  <a:pt x="635" y="1963"/>
                  <a:pt x="635" y="3598"/>
                </a:cubicBezTo>
                <a:cubicBezTo>
                  <a:pt x="635" y="4561"/>
                  <a:pt x="1097" y="5414"/>
                  <a:pt x="1810" y="5954"/>
                </a:cubicBezTo>
                <a:moveTo>
                  <a:pt x="1810" y="5954"/>
                </a:moveTo>
                <a:cubicBezTo>
                  <a:pt x="1884" y="6011"/>
                  <a:pt x="1960" y="6063"/>
                  <a:pt x="2039" y="6112"/>
                </a:cubicBezTo>
                <a:moveTo>
                  <a:pt x="2108" y="5907"/>
                </a:moveTo>
                <a:cubicBezTo>
                  <a:pt x="2013" y="5845"/>
                  <a:pt x="1922" y="5780"/>
                  <a:pt x="1836" y="5708"/>
                </a:cubicBezTo>
                <a:moveTo>
                  <a:pt x="1836" y="5708"/>
                </a:moveTo>
                <a:cubicBezTo>
                  <a:pt x="1922" y="5780"/>
                  <a:pt x="2013" y="5845"/>
                  <a:pt x="2108" y="5907"/>
                </a:cubicBezTo>
                <a:moveTo>
                  <a:pt x="2174" y="5699"/>
                </a:moveTo>
                <a:cubicBezTo>
                  <a:pt x="2063" y="5624"/>
                  <a:pt x="1960" y="5539"/>
                  <a:pt x="1863" y="5447"/>
                </a:cubicBezTo>
                <a:moveTo>
                  <a:pt x="3596" y="1058"/>
                </a:moveTo>
                <a:cubicBezTo>
                  <a:pt x="2194" y="1058"/>
                  <a:pt x="1058" y="2195"/>
                  <a:pt x="1058" y="3597"/>
                </a:cubicBezTo>
                <a:cubicBezTo>
                  <a:pt x="1058" y="4327"/>
                  <a:pt x="1369" y="4984"/>
                  <a:pt x="1863" y="5447"/>
                </a:cubicBezTo>
                <a:moveTo>
                  <a:pt x="2259" y="5501"/>
                </a:moveTo>
                <a:cubicBezTo>
                  <a:pt x="1660" y="5080"/>
                  <a:pt x="1269" y="4384"/>
                  <a:pt x="1269" y="3597"/>
                </a:cubicBezTo>
                <a:cubicBezTo>
                  <a:pt x="1269" y="2312"/>
                  <a:pt x="2311" y="1270"/>
                  <a:pt x="3596" y="1270"/>
                </a:cubicBezTo>
                <a:moveTo>
                  <a:pt x="1863" y="5447"/>
                </a:moveTo>
                <a:cubicBezTo>
                  <a:pt x="1960" y="5539"/>
                  <a:pt x="2063" y="5624"/>
                  <a:pt x="2174" y="5699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32" name="Group 31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33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38" name="Picture 3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993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re et 2 contenus su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E07BBD6-2F06-4979-8A29-9B0839E8505C}" type="datetime1">
              <a:rPr lang="en-GB" smtClean="0"/>
              <a:t>24/01/2018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368554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5"/>
          <p:cNvSpPr>
            <a:spLocks noEditPoints="1"/>
          </p:cNvSpPr>
          <p:nvPr/>
        </p:nvSpPr>
        <p:spPr bwMode="auto">
          <a:xfrm>
            <a:off x="4359276" y="-327025"/>
            <a:ext cx="4581526" cy="4872038"/>
          </a:xfrm>
          <a:custGeom>
            <a:avLst/>
            <a:gdLst>
              <a:gd name="T0" fmla="*/ 4641 w 7350"/>
              <a:gd name="T1" fmla="*/ 6558 h 7827"/>
              <a:gd name="T2" fmla="*/ 5275 w 7350"/>
              <a:gd name="T3" fmla="*/ 6769 h 7827"/>
              <a:gd name="T4" fmla="*/ 4641 w 7350"/>
              <a:gd name="T5" fmla="*/ 6981 h 7827"/>
              <a:gd name="T6" fmla="*/ 5275 w 7350"/>
              <a:gd name="T7" fmla="*/ 7192 h 7827"/>
              <a:gd name="T8" fmla="*/ 5698 w 7350"/>
              <a:gd name="T9" fmla="*/ 5923 h 7827"/>
              <a:gd name="T10" fmla="*/ 4995 w 7350"/>
              <a:gd name="T11" fmla="*/ 1746 h 7827"/>
              <a:gd name="T12" fmla="*/ 5698 w 7350"/>
              <a:gd name="T13" fmla="*/ 4019 h 7827"/>
              <a:gd name="T14" fmla="*/ 5698 w 7350"/>
              <a:gd name="T15" fmla="*/ 5288 h 7827"/>
              <a:gd name="T16" fmla="*/ 5698 w 7350"/>
              <a:gd name="T17" fmla="*/ 5923 h 7827"/>
              <a:gd name="T18" fmla="*/ 6022 w 7350"/>
              <a:gd name="T19" fmla="*/ 2924 h 7827"/>
              <a:gd name="T20" fmla="*/ 5291 w 7350"/>
              <a:gd name="T21" fmla="*/ 1416 h 7827"/>
              <a:gd name="T22" fmla="*/ 3596 w 7350"/>
              <a:gd name="T23" fmla="*/ 637 h 7827"/>
              <a:gd name="T24" fmla="*/ 6346 w 7350"/>
              <a:gd name="T25" fmla="*/ 4019 h 7827"/>
              <a:gd name="T26" fmla="*/ 6629 w 7350"/>
              <a:gd name="T27" fmla="*/ 2691 h 7827"/>
              <a:gd name="T28" fmla="*/ 5637 w 7350"/>
              <a:gd name="T29" fmla="*/ 898 h 7827"/>
              <a:gd name="T30" fmla="*/ 3596 w 7350"/>
              <a:gd name="T31" fmla="*/ 1 h 7827"/>
              <a:gd name="T32" fmla="*/ 6980 w 7350"/>
              <a:gd name="T33" fmla="*/ 4019 h 7827"/>
              <a:gd name="T34" fmla="*/ 6241 w 7350"/>
              <a:gd name="T35" fmla="*/ 4972 h 7827"/>
              <a:gd name="T36" fmla="*/ 6007 w 7350"/>
              <a:gd name="T37" fmla="*/ 5626 h 7827"/>
              <a:gd name="T38" fmla="*/ 6137 w 7350"/>
              <a:gd name="T39" fmla="*/ 4014 h 7827"/>
              <a:gd name="T40" fmla="*/ 6225 w 7350"/>
              <a:gd name="T41" fmla="*/ 5288 h 7827"/>
              <a:gd name="T42" fmla="*/ 6200 w 7350"/>
              <a:gd name="T43" fmla="*/ 5791 h 7827"/>
              <a:gd name="T44" fmla="*/ 6346 w 7350"/>
              <a:gd name="T45" fmla="*/ 4019 h 7827"/>
              <a:gd name="T46" fmla="*/ 6331 w 7350"/>
              <a:gd name="T47" fmla="*/ 5289 h 7827"/>
              <a:gd name="T48" fmla="*/ 6346 w 7350"/>
              <a:gd name="T49" fmla="*/ 5923 h 7827"/>
              <a:gd name="T50" fmla="*/ 6875 w 7350"/>
              <a:gd name="T51" fmla="*/ 4972 h 7827"/>
              <a:gd name="T52" fmla="*/ 6642 w 7350"/>
              <a:gd name="T53" fmla="*/ 5626 h 7827"/>
              <a:gd name="T54" fmla="*/ 6771 w 7350"/>
              <a:gd name="T55" fmla="*/ 4014 h 7827"/>
              <a:gd name="T56" fmla="*/ 6859 w 7350"/>
              <a:gd name="T57" fmla="*/ 5288 h 7827"/>
              <a:gd name="T58" fmla="*/ 6835 w 7350"/>
              <a:gd name="T59" fmla="*/ 5791 h 7827"/>
              <a:gd name="T60" fmla="*/ 6980 w 7350"/>
              <a:gd name="T61" fmla="*/ 4019 h 7827"/>
              <a:gd name="T62" fmla="*/ 6965 w 7350"/>
              <a:gd name="T63" fmla="*/ 5289 h 7827"/>
              <a:gd name="T64" fmla="*/ 6980 w 7350"/>
              <a:gd name="T65" fmla="*/ 5923 h 7827"/>
              <a:gd name="T66" fmla="*/ 4429 w 7350"/>
              <a:gd name="T67" fmla="*/ 7192 h 7827"/>
              <a:gd name="T68" fmla="*/ 4641 w 7350"/>
              <a:gd name="T69" fmla="*/ 7827 h 7827"/>
              <a:gd name="T70" fmla="*/ 4641 w 7350"/>
              <a:gd name="T71" fmla="*/ 7615 h 7827"/>
              <a:gd name="T72" fmla="*/ 5275 w 7350"/>
              <a:gd name="T73" fmla="*/ 7615 h 7827"/>
              <a:gd name="T74" fmla="*/ 4217 w 7350"/>
              <a:gd name="T75" fmla="*/ 7192 h 7827"/>
              <a:gd name="T76" fmla="*/ 4641 w 7350"/>
              <a:gd name="T77" fmla="*/ 7404 h 7827"/>
              <a:gd name="T78" fmla="*/ 6134 w 7350"/>
              <a:gd name="T79" fmla="*/ 6135 h 7827"/>
              <a:gd name="T80" fmla="*/ 5275 w 7350"/>
              <a:gd name="T81" fmla="*/ 7192 h 7827"/>
              <a:gd name="T82" fmla="*/ 6769 w 7350"/>
              <a:gd name="T83" fmla="*/ 6135 h 7827"/>
              <a:gd name="T84" fmla="*/ 5275 w 7350"/>
              <a:gd name="T85" fmla="*/ 7827 h 7827"/>
              <a:gd name="T86" fmla="*/ 6134 w 7350"/>
              <a:gd name="T87" fmla="*/ 5923 h 7827"/>
              <a:gd name="T88" fmla="*/ 6346 w 7350"/>
              <a:gd name="T89" fmla="*/ 6135 h 7827"/>
              <a:gd name="T90" fmla="*/ 6769 w 7350"/>
              <a:gd name="T91" fmla="*/ 5923 h 7827"/>
              <a:gd name="T92" fmla="*/ 6980 w 7350"/>
              <a:gd name="T93" fmla="*/ 6135 h 7827"/>
              <a:gd name="T94" fmla="*/ 3596 w 7350"/>
              <a:gd name="T95" fmla="*/ 212 h 7827"/>
              <a:gd name="T96" fmla="*/ 1734 w 7350"/>
              <a:gd name="T97" fmla="*/ 6669 h 7827"/>
              <a:gd name="T98" fmla="*/ 1734 w 7350"/>
              <a:gd name="T99" fmla="*/ 6669 h 7827"/>
              <a:gd name="T100" fmla="*/ 423 w 7350"/>
              <a:gd name="T101" fmla="*/ 3599 h 7827"/>
              <a:gd name="T102" fmla="*/ 212 w 7350"/>
              <a:gd name="T103" fmla="*/ 3600 h 7827"/>
              <a:gd name="T104" fmla="*/ 1810 w 7350"/>
              <a:gd name="T105" fmla="*/ 5954 h 7827"/>
              <a:gd name="T106" fmla="*/ 1836 w 7350"/>
              <a:gd name="T107" fmla="*/ 5708 h 7827"/>
              <a:gd name="T108" fmla="*/ 3596 w 7350"/>
              <a:gd name="T109" fmla="*/ 637 h 7827"/>
              <a:gd name="T110" fmla="*/ 1810 w 7350"/>
              <a:gd name="T111" fmla="*/ 5954 h 7827"/>
              <a:gd name="T112" fmla="*/ 1836 w 7350"/>
              <a:gd name="T113" fmla="*/ 5708 h 7827"/>
              <a:gd name="T114" fmla="*/ 2174 w 7350"/>
              <a:gd name="T115" fmla="*/ 5699 h 7827"/>
              <a:gd name="T116" fmla="*/ 1058 w 7350"/>
              <a:gd name="T117" fmla="*/ 3597 h 7827"/>
              <a:gd name="T118" fmla="*/ 1269 w 7350"/>
              <a:gd name="T119" fmla="*/ 3597 h 7827"/>
              <a:gd name="T120" fmla="*/ 2174 w 7350"/>
              <a:gd name="T121" fmla="*/ 5699 h 7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350" h="7827">
                <a:moveTo>
                  <a:pt x="4006" y="7192"/>
                </a:moveTo>
                <a:cubicBezTo>
                  <a:pt x="4006" y="6842"/>
                  <a:pt x="4290" y="6558"/>
                  <a:pt x="4641" y="6558"/>
                </a:cubicBezTo>
                <a:moveTo>
                  <a:pt x="4641" y="6558"/>
                </a:moveTo>
                <a:cubicBezTo>
                  <a:pt x="5275" y="6558"/>
                  <a:pt x="5275" y="6558"/>
                  <a:pt x="5275" y="6558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981"/>
                </a:moveTo>
                <a:cubicBezTo>
                  <a:pt x="5275" y="6981"/>
                  <a:pt x="5275" y="6981"/>
                  <a:pt x="5275" y="6981"/>
                </a:cubicBezTo>
                <a:moveTo>
                  <a:pt x="4641" y="7192"/>
                </a:moveTo>
                <a:cubicBezTo>
                  <a:pt x="5275" y="7192"/>
                  <a:pt x="5275" y="7192"/>
                  <a:pt x="5275" y="7192"/>
                </a:cubicBezTo>
                <a:moveTo>
                  <a:pt x="5698" y="6135"/>
                </a:moveTo>
                <a:cubicBezTo>
                  <a:pt x="5698" y="6368"/>
                  <a:pt x="5509" y="6558"/>
                  <a:pt x="5275" y="6558"/>
                </a:cubicBezTo>
                <a:moveTo>
                  <a:pt x="5698" y="5923"/>
                </a:moveTo>
                <a:cubicBezTo>
                  <a:pt x="5698" y="6135"/>
                  <a:pt x="5698" y="6135"/>
                  <a:pt x="5698" y="6135"/>
                </a:cubicBezTo>
                <a:moveTo>
                  <a:pt x="3583" y="1270"/>
                </a:moveTo>
                <a:cubicBezTo>
                  <a:pt x="4083" y="1270"/>
                  <a:pt x="4583" y="1428"/>
                  <a:pt x="4995" y="1746"/>
                </a:cubicBezTo>
                <a:cubicBezTo>
                  <a:pt x="5410" y="2066"/>
                  <a:pt x="5684" y="2488"/>
                  <a:pt x="5816" y="2942"/>
                </a:cubicBezTo>
                <a:cubicBezTo>
                  <a:pt x="5920" y="3298"/>
                  <a:pt x="5866" y="3682"/>
                  <a:pt x="5700" y="4014"/>
                </a:cubicBezTo>
                <a:cubicBezTo>
                  <a:pt x="5698" y="4019"/>
                  <a:pt x="5698" y="4019"/>
                  <a:pt x="5698" y="4019"/>
                </a:cubicBezTo>
                <a:cubicBezTo>
                  <a:pt x="6016" y="4972"/>
                  <a:pt x="6016" y="4972"/>
                  <a:pt x="6016" y="4972"/>
                </a:cubicBezTo>
                <a:cubicBezTo>
                  <a:pt x="6068" y="5128"/>
                  <a:pt x="5952" y="5288"/>
                  <a:pt x="5789" y="5288"/>
                </a:cubicBezTo>
                <a:cubicBezTo>
                  <a:pt x="5698" y="5288"/>
                  <a:pt x="5698" y="5288"/>
                  <a:pt x="5698" y="5288"/>
                </a:cubicBezTo>
                <a:cubicBezTo>
                  <a:pt x="5782" y="5626"/>
                  <a:pt x="5782" y="5626"/>
                  <a:pt x="5782" y="5626"/>
                </a:cubicBezTo>
                <a:cubicBezTo>
                  <a:pt x="5796" y="5681"/>
                  <a:pt x="5790" y="5740"/>
                  <a:pt x="5764" y="5791"/>
                </a:cubicBezTo>
                <a:cubicBezTo>
                  <a:pt x="5698" y="5923"/>
                  <a:pt x="5698" y="5923"/>
                  <a:pt x="5698" y="5923"/>
                </a:cubicBezTo>
                <a:moveTo>
                  <a:pt x="3531" y="1058"/>
                </a:moveTo>
                <a:cubicBezTo>
                  <a:pt x="4088" y="1058"/>
                  <a:pt x="4646" y="1235"/>
                  <a:pt x="5106" y="1589"/>
                </a:cubicBezTo>
                <a:cubicBezTo>
                  <a:pt x="5569" y="1947"/>
                  <a:pt x="5874" y="2417"/>
                  <a:pt x="6022" y="2924"/>
                </a:cubicBezTo>
                <a:cubicBezTo>
                  <a:pt x="6138" y="3321"/>
                  <a:pt x="6108" y="3648"/>
                  <a:pt x="5923" y="4019"/>
                </a:cubicBezTo>
                <a:moveTo>
                  <a:pt x="3596" y="847"/>
                </a:moveTo>
                <a:cubicBezTo>
                  <a:pt x="4194" y="847"/>
                  <a:pt x="4798" y="1036"/>
                  <a:pt x="5291" y="1416"/>
                </a:cubicBezTo>
                <a:cubicBezTo>
                  <a:pt x="5787" y="1799"/>
                  <a:pt x="6114" y="2303"/>
                  <a:pt x="6272" y="2846"/>
                </a:cubicBezTo>
                <a:cubicBezTo>
                  <a:pt x="6397" y="3272"/>
                  <a:pt x="6333" y="3622"/>
                  <a:pt x="6134" y="4019"/>
                </a:cubicBezTo>
                <a:moveTo>
                  <a:pt x="3596" y="637"/>
                </a:moveTo>
                <a:cubicBezTo>
                  <a:pt x="4234" y="637"/>
                  <a:pt x="4878" y="838"/>
                  <a:pt x="5404" y="1243"/>
                </a:cubicBezTo>
                <a:cubicBezTo>
                  <a:pt x="5933" y="1651"/>
                  <a:pt x="6282" y="2189"/>
                  <a:pt x="6451" y="2769"/>
                </a:cubicBezTo>
                <a:cubicBezTo>
                  <a:pt x="6583" y="3223"/>
                  <a:pt x="6557" y="3596"/>
                  <a:pt x="6346" y="4019"/>
                </a:cubicBezTo>
                <a:moveTo>
                  <a:pt x="3581" y="424"/>
                </a:moveTo>
                <a:cubicBezTo>
                  <a:pt x="4258" y="424"/>
                  <a:pt x="4959" y="640"/>
                  <a:pt x="5517" y="1071"/>
                </a:cubicBezTo>
                <a:cubicBezTo>
                  <a:pt x="6079" y="1504"/>
                  <a:pt x="6450" y="2076"/>
                  <a:pt x="6629" y="2691"/>
                </a:cubicBezTo>
                <a:cubicBezTo>
                  <a:pt x="6770" y="3174"/>
                  <a:pt x="6782" y="3569"/>
                  <a:pt x="6557" y="4019"/>
                </a:cubicBezTo>
                <a:moveTo>
                  <a:pt x="3596" y="212"/>
                </a:moveTo>
                <a:cubicBezTo>
                  <a:pt x="4313" y="212"/>
                  <a:pt x="5046" y="442"/>
                  <a:pt x="5637" y="898"/>
                </a:cubicBezTo>
                <a:cubicBezTo>
                  <a:pt x="6233" y="1357"/>
                  <a:pt x="6625" y="1962"/>
                  <a:pt x="6816" y="2614"/>
                </a:cubicBezTo>
                <a:cubicBezTo>
                  <a:pt x="6965" y="3125"/>
                  <a:pt x="7007" y="3544"/>
                  <a:pt x="6769" y="4020"/>
                </a:cubicBezTo>
                <a:moveTo>
                  <a:pt x="3596" y="1"/>
                </a:moveTo>
                <a:cubicBezTo>
                  <a:pt x="4353" y="0"/>
                  <a:pt x="5119" y="240"/>
                  <a:pt x="5743" y="722"/>
                </a:cubicBezTo>
                <a:cubicBezTo>
                  <a:pt x="6371" y="1206"/>
                  <a:pt x="6786" y="1845"/>
                  <a:pt x="6987" y="2533"/>
                </a:cubicBezTo>
                <a:cubicBezTo>
                  <a:pt x="7144" y="3073"/>
                  <a:pt x="7232" y="3516"/>
                  <a:pt x="6980" y="4019"/>
                </a:cubicBezTo>
                <a:moveTo>
                  <a:pt x="5925" y="4014"/>
                </a:moveTo>
                <a:cubicBezTo>
                  <a:pt x="5923" y="4019"/>
                  <a:pt x="5923" y="4019"/>
                  <a:pt x="5923" y="4019"/>
                </a:cubicBezTo>
                <a:cubicBezTo>
                  <a:pt x="6241" y="4972"/>
                  <a:pt x="6241" y="4972"/>
                  <a:pt x="6241" y="4972"/>
                </a:cubicBezTo>
                <a:cubicBezTo>
                  <a:pt x="6292" y="5128"/>
                  <a:pt x="6177" y="5288"/>
                  <a:pt x="6013" y="5288"/>
                </a:cubicBezTo>
                <a:cubicBezTo>
                  <a:pt x="5908" y="5289"/>
                  <a:pt x="5908" y="5289"/>
                  <a:pt x="5908" y="5289"/>
                </a:cubicBezTo>
                <a:cubicBezTo>
                  <a:pt x="6007" y="5626"/>
                  <a:pt x="6007" y="5626"/>
                  <a:pt x="6007" y="5626"/>
                </a:cubicBezTo>
                <a:cubicBezTo>
                  <a:pt x="6021" y="5681"/>
                  <a:pt x="6014" y="5740"/>
                  <a:pt x="5989" y="5791"/>
                </a:cubicBezTo>
                <a:cubicBezTo>
                  <a:pt x="5923" y="5923"/>
                  <a:pt x="5923" y="5923"/>
                  <a:pt x="5923" y="5923"/>
                </a:cubicBezTo>
                <a:moveTo>
                  <a:pt x="6137" y="4014"/>
                </a:moveTo>
                <a:cubicBezTo>
                  <a:pt x="6134" y="4019"/>
                  <a:pt x="6134" y="4019"/>
                  <a:pt x="6134" y="4019"/>
                </a:cubicBezTo>
                <a:cubicBezTo>
                  <a:pt x="6452" y="4972"/>
                  <a:pt x="6452" y="4972"/>
                  <a:pt x="6452" y="4972"/>
                </a:cubicBezTo>
                <a:cubicBezTo>
                  <a:pt x="6504" y="5128"/>
                  <a:pt x="6388" y="5288"/>
                  <a:pt x="6225" y="5288"/>
                </a:cubicBezTo>
                <a:cubicBezTo>
                  <a:pt x="6119" y="5289"/>
                  <a:pt x="6119" y="5289"/>
                  <a:pt x="6119" y="5289"/>
                </a:cubicBezTo>
                <a:cubicBezTo>
                  <a:pt x="6219" y="5626"/>
                  <a:pt x="6219" y="5626"/>
                  <a:pt x="6219" y="5626"/>
                </a:cubicBezTo>
                <a:cubicBezTo>
                  <a:pt x="6232" y="5681"/>
                  <a:pt x="6226" y="5740"/>
                  <a:pt x="6200" y="5791"/>
                </a:cubicBezTo>
                <a:cubicBezTo>
                  <a:pt x="6134" y="5923"/>
                  <a:pt x="6134" y="5923"/>
                  <a:pt x="6134" y="5923"/>
                </a:cubicBezTo>
                <a:moveTo>
                  <a:pt x="6348" y="4014"/>
                </a:moveTo>
                <a:cubicBezTo>
                  <a:pt x="6346" y="4019"/>
                  <a:pt x="6346" y="4019"/>
                  <a:pt x="6346" y="4019"/>
                </a:cubicBezTo>
                <a:cubicBezTo>
                  <a:pt x="6664" y="4972"/>
                  <a:pt x="6664" y="4972"/>
                  <a:pt x="6664" y="4972"/>
                </a:cubicBezTo>
                <a:cubicBezTo>
                  <a:pt x="6715" y="5128"/>
                  <a:pt x="6600" y="5288"/>
                  <a:pt x="6436" y="5288"/>
                </a:cubicBezTo>
                <a:cubicBezTo>
                  <a:pt x="6331" y="5289"/>
                  <a:pt x="6331" y="5289"/>
                  <a:pt x="6331" y="5289"/>
                </a:cubicBezTo>
                <a:cubicBezTo>
                  <a:pt x="6430" y="5626"/>
                  <a:pt x="6430" y="5626"/>
                  <a:pt x="6430" y="5626"/>
                </a:cubicBezTo>
                <a:cubicBezTo>
                  <a:pt x="6444" y="5681"/>
                  <a:pt x="6438" y="5740"/>
                  <a:pt x="6412" y="5791"/>
                </a:cubicBezTo>
                <a:cubicBezTo>
                  <a:pt x="6346" y="5923"/>
                  <a:pt x="6346" y="5923"/>
                  <a:pt x="6346" y="5923"/>
                </a:cubicBezTo>
                <a:moveTo>
                  <a:pt x="6560" y="4014"/>
                </a:moveTo>
                <a:cubicBezTo>
                  <a:pt x="6557" y="4019"/>
                  <a:pt x="6557" y="4019"/>
                  <a:pt x="6557" y="4019"/>
                </a:cubicBezTo>
                <a:cubicBezTo>
                  <a:pt x="6875" y="4972"/>
                  <a:pt x="6875" y="4972"/>
                  <a:pt x="6875" y="4972"/>
                </a:cubicBezTo>
                <a:cubicBezTo>
                  <a:pt x="6927" y="5128"/>
                  <a:pt x="6811" y="5288"/>
                  <a:pt x="6648" y="5288"/>
                </a:cubicBezTo>
                <a:cubicBezTo>
                  <a:pt x="6542" y="5289"/>
                  <a:pt x="6542" y="5289"/>
                  <a:pt x="6542" y="5289"/>
                </a:cubicBezTo>
                <a:cubicBezTo>
                  <a:pt x="6642" y="5626"/>
                  <a:pt x="6642" y="5626"/>
                  <a:pt x="6642" y="5626"/>
                </a:cubicBezTo>
                <a:cubicBezTo>
                  <a:pt x="6655" y="5681"/>
                  <a:pt x="6649" y="5740"/>
                  <a:pt x="6623" y="5791"/>
                </a:cubicBezTo>
                <a:cubicBezTo>
                  <a:pt x="6557" y="5923"/>
                  <a:pt x="6557" y="5923"/>
                  <a:pt x="6557" y="5923"/>
                </a:cubicBezTo>
                <a:moveTo>
                  <a:pt x="6771" y="4014"/>
                </a:moveTo>
                <a:cubicBezTo>
                  <a:pt x="6769" y="4019"/>
                  <a:pt x="6769" y="4019"/>
                  <a:pt x="6769" y="4019"/>
                </a:cubicBezTo>
                <a:cubicBezTo>
                  <a:pt x="7087" y="4972"/>
                  <a:pt x="7087" y="4972"/>
                  <a:pt x="7087" y="4972"/>
                </a:cubicBezTo>
                <a:cubicBezTo>
                  <a:pt x="7138" y="5128"/>
                  <a:pt x="7023" y="5288"/>
                  <a:pt x="6859" y="5288"/>
                </a:cubicBezTo>
                <a:cubicBezTo>
                  <a:pt x="6754" y="5289"/>
                  <a:pt x="6754" y="5289"/>
                  <a:pt x="6754" y="5289"/>
                </a:cubicBezTo>
                <a:cubicBezTo>
                  <a:pt x="6853" y="5626"/>
                  <a:pt x="6853" y="5626"/>
                  <a:pt x="6853" y="5626"/>
                </a:cubicBezTo>
                <a:cubicBezTo>
                  <a:pt x="6867" y="5681"/>
                  <a:pt x="6861" y="5740"/>
                  <a:pt x="6835" y="5791"/>
                </a:cubicBezTo>
                <a:cubicBezTo>
                  <a:pt x="6769" y="5923"/>
                  <a:pt x="6769" y="5923"/>
                  <a:pt x="6769" y="5923"/>
                </a:cubicBezTo>
                <a:moveTo>
                  <a:pt x="6983" y="4014"/>
                </a:moveTo>
                <a:cubicBezTo>
                  <a:pt x="6980" y="4019"/>
                  <a:pt x="6980" y="4019"/>
                  <a:pt x="6980" y="4019"/>
                </a:cubicBezTo>
                <a:cubicBezTo>
                  <a:pt x="7298" y="4972"/>
                  <a:pt x="7298" y="4972"/>
                  <a:pt x="7298" y="4972"/>
                </a:cubicBezTo>
                <a:cubicBezTo>
                  <a:pt x="7350" y="5128"/>
                  <a:pt x="7234" y="5288"/>
                  <a:pt x="7071" y="5288"/>
                </a:cubicBezTo>
                <a:cubicBezTo>
                  <a:pt x="6965" y="5289"/>
                  <a:pt x="6965" y="5289"/>
                  <a:pt x="6965" y="5289"/>
                </a:cubicBezTo>
                <a:cubicBezTo>
                  <a:pt x="7065" y="5626"/>
                  <a:pt x="7065" y="5626"/>
                  <a:pt x="7065" y="5626"/>
                </a:cubicBezTo>
                <a:cubicBezTo>
                  <a:pt x="7079" y="5681"/>
                  <a:pt x="7072" y="5740"/>
                  <a:pt x="7047" y="5791"/>
                </a:cubicBezTo>
                <a:cubicBezTo>
                  <a:pt x="6980" y="5923"/>
                  <a:pt x="6980" y="5923"/>
                  <a:pt x="6980" y="5923"/>
                </a:cubicBezTo>
                <a:moveTo>
                  <a:pt x="4217" y="7192"/>
                </a:moveTo>
                <a:cubicBezTo>
                  <a:pt x="4217" y="6959"/>
                  <a:pt x="4407" y="6769"/>
                  <a:pt x="4641" y="6769"/>
                </a:cubicBezTo>
                <a:moveTo>
                  <a:pt x="4429" y="7192"/>
                </a:moveTo>
                <a:cubicBezTo>
                  <a:pt x="4429" y="7076"/>
                  <a:pt x="4524" y="6981"/>
                  <a:pt x="4641" y="6981"/>
                </a:cubicBezTo>
                <a:moveTo>
                  <a:pt x="4006" y="7192"/>
                </a:moveTo>
                <a:cubicBezTo>
                  <a:pt x="4006" y="7543"/>
                  <a:pt x="4290" y="7827"/>
                  <a:pt x="4641" y="7827"/>
                </a:cubicBezTo>
                <a:moveTo>
                  <a:pt x="4641" y="7827"/>
                </a:moveTo>
                <a:cubicBezTo>
                  <a:pt x="5275" y="7827"/>
                  <a:pt x="5275" y="7827"/>
                  <a:pt x="5275" y="7827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404"/>
                </a:moveTo>
                <a:cubicBezTo>
                  <a:pt x="5275" y="7404"/>
                  <a:pt x="5275" y="7404"/>
                  <a:pt x="5275" y="7404"/>
                </a:cubicBezTo>
                <a:moveTo>
                  <a:pt x="4217" y="7192"/>
                </a:moveTo>
                <a:cubicBezTo>
                  <a:pt x="4217" y="7426"/>
                  <a:pt x="4407" y="7615"/>
                  <a:pt x="4641" y="7615"/>
                </a:cubicBezTo>
                <a:moveTo>
                  <a:pt x="4429" y="7192"/>
                </a:moveTo>
                <a:cubicBezTo>
                  <a:pt x="4429" y="7309"/>
                  <a:pt x="4524" y="7404"/>
                  <a:pt x="4641" y="7404"/>
                </a:cubicBezTo>
                <a:moveTo>
                  <a:pt x="5923" y="6135"/>
                </a:moveTo>
                <a:cubicBezTo>
                  <a:pt x="5923" y="6485"/>
                  <a:pt x="5633" y="6769"/>
                  <a:pt x="5275" y="6769"/>
                </a:cubicBezTo>
                <a:moveTo>
                  <a:pt x="6134" y="6135"/>
                </a:moveTo>
                <a:cubicBezTo>
                  <a:pt x="6134" y="6602"/>
                  <a:pt x="5750" y="6981"/>
                  <a:pt x="5275" y="6981"/>
                </a:cubicBezTo>
                <a:moveTo>
                  <a:pt x="6346" y="6135"/>
                </a:moveTo>
                <a:cubicBezTo>
                  <a:pt x="6346" y="6719"/>
                  <a:pt x="5866" y="7192"/>
                  <a:pt x="5275" y="7192"/>
                </a:cubicBezTo>
                <a:moveTo>
                  <a:pt x="6557" y="6135"/>
                </a:moveTo>
                <a:cubicBezTo>
                  <a:pt x="6557" y="6836"/>
                  <a:pt x="5983" y="7404"/>
                  <a:pt x="5275" y="7404"/>
                </a:cubicBezTo>
                <a:moveTo>
                  <a:pt x="6769" y="6135"/>
                </a:moveTo>
                <a:cubicBezTo>
                  <a:pt x="6769" y="6953"/>
                  <a:pt x="6100" y="7615"/>
                  <a:pt x="5275" y="7615"/>
                </a:cubicBezTo>
                <a:moveTo>
                  <a:pt x="6980" y="6135"/>
                </a:moveTo>
                <a:cubicBezTo>
                  <a:pt x="6980" y="7069"/>
                  <a:pt x="6217" y="7827"/>
                  <a:pt x="5275" y="7827"/>
                </a:cubicBezTo>
                <a:moveTo>
                  <a:pt x="5923" y="5923"/>
                </a:moveTo>
                <a:cubicBezTo>
                  <a:pt x="5923" y="6135"/>
                  <a:pt x="5923" y="6135"/>
                  <a:pt x="5923" y="6135"/>
                </a:cubicBezTo>
                <a:moveTo>
                  <a:pt x="6134" y="5923"/>
                </a:moveTo>
                <a:cubicBezTo>
                  <a:pt x="6134" y="6135"/>
                  <a:pt x="6134" y="6135"/>
                  <a:pt x="6134" y="6135"/>
                </a:cubicBezTo>
                <a:moveTo>
                  <a:pt x="6346" y="5923"/>
                </a:moveTo>
                <a:cubicBezTo>
                  <a:pt x="6346" y="6135"/>
                  <a:pt x="6346" y="6135"/>
                  <a:pt x="6346" y="6135"/>
                </a:cubicBezTo>
                <a:moveTo>
                  <a:pt x="6557" y="5923"/>
                </a:moveTo>
                <a:cubicBezTo>
                  <a:pt x="6557" y="6135"/>
                  <a:pt x="6557" y="6135"/>
                  <a:pt x="6557" y="6135"/>
                </a:cubicBezTo>
                <a:moveTo>
                  <a:pt x="6769" y="5923"/>
                </a:moveTo>
                <a:cubicBezTo>
                  <a:pt x="6769" y="6135"/>
                  <a:pt x="6769" y="6135"/>
                  <a:pt x="6769" y="6135"/>
                </a:cubicBezTo>
                <a:moveTo>
                  <a:pt x="6980" y="5923"/>
                </a:moveTo>
                <a:cubicBezTo>
                  <a:pt x="6980" y="6135"/>
                  <a:pt x="6980" y="6135"/>
                  <a:pt x="6980" y="6135"/>
                </a:cubicBezTo>
                <a:moveTo>
                  <a:pt x="1759" y="6437"/>
                </a:moveTo>
                <a:cubicBezTo>
                  <a:pt x="829" y="5834"/>
                  <a:pt x="212" y="4790"/>
                  <a:pt x="212" y="3600"/>
                </a:cubicBezTo>
                <a:cubicBezTo>
                  <a:pt x="212" y="1733"/>
                  <a:pt x="1727" y="212"/>
                  <a:pt x="3596" y="212"/>
                </a:cubicBezTo>
                <a:moveTo>
                  <a:pt x="3596" y="1"/>
                </a:moveTo>
                <a:cubicBezTo>
                  <a:pt x="1610" y="1"/>
                  <a:pt x="0" y="1616"/>
                  <a:pt x="0" y="3600"/>
                </a:cubicBezTo>
                <a:cubicBezTo>
                  <a:pt x="0" y="4902"/>
                  <a:pt x="696" y="6039"/>
                  <a:pt x="1734" y="6669"/>
                </a:cubicBezTo>
                <a:moveTo>
                  <a:pt x="1902" y="6524"/>
                </a:moveTo>
                <a:cubicBezTo>
                  <a:pt x="1854" y="6496"/>
                  <a:pt x="1806" y="6467"/>
                  <a:pt x="1759" y="6437"/>
                </a:cubicBezTo>
                <a:moveTo>
                  <a:pt x="1734" y="6669"/>
                </a:moveTo>
                <a:cubicBezTo>
                  <a:pt x="1767" y="6689"/>
                  <a:pt x="1800" y="6710"/>
                  <a:pt x="1834" y="6729"/>
                </a:cubicBezTo>
                <a:moveTo>
                  <a:pt x="1784" y="6199"/>
                </a:moveTo>
                <a:cubicBezTo>
                  <a:pt x="962" y="5626"/>
                  <a:pt x="423" y="4676"/>
                  <a:pt x="423" y="3599"/>
                </a:cubicBezTo>
                <a:cubicBezTo>
                  <a:pt x="423" y="1848"/>
                  <a:pt x="1829" y="424"/>
                  <a:pt x="3581" y="424"/>
                </a:cubicBezTo>
                <a:moveTo>
                  <a:pt x="3596" y="212"/>
                </a:moveTo>
                <a:cubicBezTo>
                  <a:pt x="1727" y="212"/>
                  <a:pt x="212" y="1733"/>
                  <a:pt x="212" y="3600"/>
                </a:cubicBezTo>
                <a:cubicBezTo>
                  <a:pt x="212" y="4790"/>
                  <a:pt x="829" y="5834"/>
                  <a:pt x="1759" y="6437"/>
                </a:cubicBezTo>
                <a:moveTo>
                  <a:pt x="2039" y="6112"/>
                </a:moveTo>
                <a:cubicBezTo>
                  <a:pt x="1960" y="6063"/>
                  <a:pt x="1884" y="6011"/>
                  <a:pt x="1810" y="5954"/>
                </a:cubicBezTo>
                <a:moveTo>
                  <a:pt x="1784" y="6199"/>
                </a:moveTo>
                <a:cubicBezTo>
                  <a:pt x="1844" y="6241"/>
                  <a:pt x="1907" y="6280"/>
                  <a:pt x="1971" y="6318"/>
                </a:cubicBezTo>
                <a:moveTo>
                  <a:pt x="1836" y="5708"/>
                </a:moveTo>
                <a:cubicBezTo>
                  <a:pt x="1231" y="5204"/>
                  <a:pt x="846" y="4445"/>
                  <a:pt x="846" y="3597"/>
                </a:cubicBezTo>
                <a:cubicBezTo>
                  <a:pt x="846" y="2078"/>
                  <a:pt x="2078" y="847"/>
                  <a:pt x="3596" y="847"/>
                </a:cubicBezTo>
                <a:moveTo>
                  <a:pt x="3596" y="637"/>
                </a:moveTo>
                <a:cubicBezTo>
                  <a:pt x="1961" y="637"/>
                  <a:pt x="635" y="1963"/>
                  <a:pt x="635" y="3598"/>
                </a:cubicBezTo>
                <a:cubicBezTo>
                  <a:pt x="635" y="4561"/>
                  <a:pt x="1097" y="5414"/>
                  <a:pt x="1810" y="5954"/>
                </a:cubicBezTo>
                <a:moveTo>
                  <a:pt x="1810" y="5954"/>
                </a:moveTo>
                <a:cubicBezTo>
                  <a:pt x="1884" y="6011"/>
                  <a:pt x="1960" y="6063"/>
                  <a:pt x="2039" y="6112"/>
                </a:cubicBezTo>
                <a:moveTo>
                  <a:pt x="2108" y="5907"/>
                </a:moveTo>
                <a:cubicBezTo>
                  <a:pt x="2013" y="5845"/>
                  <a:pt x="1922" y="5780"/>
                  <a:pt x="1836" y="5708"/>
                </a:cubicBezTo>
                <a:moveTo>
                  <a:pt x="1836" y="5708"/>
                </a:moveTo>
                <a:cubicBezTo>
                  <a:pt x="1922" y="5780"/>
                  <a:pt x="2013" y="5845"/>
                  <a:pt x="2108" y="5907"/>
                </a:cubicBezTo>
                <a:moveTo>
                  <a:pt x="2174" y="5699"/>
                </a:moveTo>
                <a:cubicBezTo>
                  <a:pt x="2063" y="5624"/>
                  <a:pt x="1960" y="5539"/>
                  <a:pt x="1863" y="5447"/>
                </a:cubicBezTo>
                <a:moveTo>
                  <a:pt x="3596" y="1058"/>
                </a:moveTo>
                <a:cubicBezTo>
                  <a:pt x="2194" y="1058"/>
                  <a:pt x="1058" y="2195"/>
                  <a:pt x="1058" y="3597"/>
                </a:cubicBezTo>
                <a:cubicBezTo>
                  <a:pt x="1058" y="4327"/>
                  <a:pt x="1369" y="4984"/>
                  <a:pt x="1863" y="5447"/>
                </a:cubicBezTo>
                <a:moveTo>
                  <a:pt x="2259" y="5501"/>
                </a:moveTo>
                <a:cubicBezTo>
                  <a:pt x="1660" y="5080"/>
                  <a:pt x="1269" y="4384"/>
                  <a:pt x="1269" y="3597"/>
                </a:cubicBezTo>
                <a:cubicBezTo>
                  <a:pt x="1269" y="2312"/>
                  <a:pt x="2311" y="1270"/>
                  <a:pt x="3596" y="1270"/>
                </a:cubicBezTo>
                <a:moveTo>
                  <a:pt x="1863" y="5447"/>
                </a:moveTo>
                <a:cubicBezTo>
                  <a:pt x="1960" y="5539"/>
                  <a:pt x="2063" y="5624"/>
                  <a:pt x="2174" y="5699"/>
                </a:cubicBezTo>
              </a:path>
            </a:pathLst>
          </a:custGeom>
          <a:noFill/>
          <a:ln w="12700" cap="flat">
            <a:solidFill>
              <a:srgbClr val="ADD5A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32" name="Group 31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33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38" name="Picture 3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147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for background picture">
    <p:bg>
      <p:bgPr>
        <a:solidFill>
          <a:srgbClr val="37B7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>
            <a:grpSpLocks noChangeAspect="1"/>
          </p:cNvGrpSpPr>
          <p:nvPr/>
        </p:nvGrpSpPr>
        <p:grpSpPr bwMode="auto">
          <a:xfrm>
            <a:off x="6594808" y="-310325"/>
            <a:ext cx="2806367" cy="4729923"/>
            <a:chOff x="6268" y="-441"/>
            <a:chExt cx="2381" cy="4013"/>
          </a:xfrm>
        </p:grpSpPr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7682" y="-441"/>
              <a:ext cx="819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466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76"/>
                    <a:pt x="570" y="587"/>
                    <a:pt x="0" y="46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7831" y="-441"/>
              <a:ext cx="818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333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42"/>
                    <a:pt x="579" y="517"/>
                    <a:pt x="0" y="33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7533" y="-441"/>
              <a:ext cx="819" cy="1361"/>
            </a:xfrm>
            <a:custGeom>
              <a:avLst/>
              <a:gdLst>
                <a:gd name="T0" fmla="*/ 998 w 998"/>
                <a:gd name="T1" fmla="*/ 1661 h 1661"/>
                <a:gd name="T2" fmla="*/ 0 w 998"/>
                <a:gd name="T3" fmla="*/ 617 h 1661"/>
                <a:gd name="T4" fmla="*/ 0 w 998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998" y="1661"/>
                  </a:moveTo>
                  <a:cubicBezTo>
                    <a:pt x="998" y="1112"/>
                    <a:pt x="559" y="661"/>
                    <a:pt x="0" y="6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715" y="348"/>
              <a:ext cx="1488" cy="2579"/>
            </a:xfrm>
            <a:custGeom>
              <a:avLst/>
              <a:gdLst>
                <a:gd name="T0" fmla="*/ 0 w 1813"/>
                <a:gd name="T1" fmla="*/ 2274 h 3148"/>
                <a:gd name="T2" fmla="*/ 907 w 1813"/>
                <a:gd name="T3" fmla="*/ 3148 h 3148"/>
                <a:gd name="T4" fmla="*/ 1813 w 1813"/>
                <a:gd name="T5" fmla="*/ 2274 h 3148"/>
                <a:gd name="T6" fmla="*/ 907 w 1813"/>
                <a:gd name="T7" fmla="*/ 1399 h 3148"/>
                <a:gd name="T8" fmla="*/ 181 w 1813"/>
                <a:gd name="T9" fmla="*/ 700 h 3148"/>
                <a:gd name="T10" fmla="*/ 907 w 1813"/>
                <a:gd name="T11" fmla="*/ 0 h 3148"/>
                <a:gd name="T12" fmla="*/ 1632 w 1813"/>
                <a:gd name="T13" fmla="*/ 700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0" y="2274"/>
                  </a:moveTo>
                  <a:cubicBezTo>
                    <a:pt x="0" y="2756"/>
                    <a:pt x="406" y="3148"/>
                    <a:pt x="907" y="3148"/>
                  </a:cubicBezTo>
                  <a:cubicBezTo>
                    <a:pt x="1407" y="3148"/>
                    <a:pt x="1813" y="2756"/>
                    <a:pt x="1813" y="2274"/>
                  </a:cubicBezTo>
                  <a:cubicBezTo>
                    <a:pt x="1813" y="1791"/>
                    <a:pt x="1407" y="1399"/>
                    <a:pt x="907" y="1399"/>
                  </a:cubicBezTo>
                  <a:cubicBezTo>
                    <a:pt x="506" y="1399"/>
                    <a:pt x="181" y="1086"/>
                    <a:pt x="181" y="700"/>
                  </a:cubicBezTo>
                  <a:cubicBezTo>
                    <a:pt x="181" y="313"/>
                    <a:pt x="506" y="0"/>
                    <a:pt x="907" y="0"/>
                  </a:cubicBezTo>
                  <a:cubicBezTo>
                    <a:pt x="1307" y="0"/>
                    <a:pt x="1632" y="313"/>
                    <a:pt x="1632" y="70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5" y="204"/>
              <a:ext cx="1488" cy="2580"/>
            </a:xfrm>
            <a:custGeom>
              <a:avLst/>
              <a:gdLst>
                <a:gd name="T0" fmla="*/ 181 w 1813"/>
                <a:gd name="T1" fmla="*/ 2449 h 3148"/>
                <a:gd name="T2" fmla="*/ 907 w 1813"/>
                <a:gd name="T3" fmla="*/ 3148 h 3148"/>
                <a:gd name="T4" fmla="*/ 1632 w 1813"/>
                <a:gd name="T5" fmla="*/ 2449 h 3148"/>
                <a:gd name="T6" fmla="*/ 907 w 1813"/>
                <a:gd name="T7" fmla="*/ 1749 h 3148"/>
                <a:gd name="T8" fmla="*/ 0 w 1813"/>
                <a:gd name="T9" fmla="*/ 875 h 3148"/>
                <a:gd name="T10" fmla="*/ 907 w 1813"/>
                <a:gd name="T11" fmla="*/ 0 h 3148"/>
                <a:gd name="T12" fmla="*/ 1813 w 1813"/>
                <a:gd name="T13" fmla="*/ 875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181" y="2449"/>
                  </a:moveTo>
                  <a:cubicBezTo>
                    <a:pt x="181" y="2835"/>
                    <a:pt x="506" y="3148"/>
                    <a:pt x="907" y="3148"/>
                  </a:cubicBezTo>
                  <a:cubicBezTo>
                    <a:pt x="1307" y="3148"/>
                    <a:pt x="1632" y="2835"/>
                    <a:pt x="1632" y="2449"/>
                  </a:cubicBezTo>
                  <a:cubicBezTo>
                    <a:pt x="1632" y="2062"/>
                    <a:pt x="1307" y="1749"/>
                    <a:pt x="907" y="1749"/>
                  </a:cubicBezTo>
                  <a:cubicBezTo>
                    <a:pt x="406" y="1749"/>
                    <a:pt x="0" y="1357"/>
                    <a:pt x="0" y="875"/>
                  </a:cubicBezTo>
                  <a:cubicBezTo>
                    <a:pt x="0" y="392"/>
                    <a:pt x="406" y="0"/>
                    <a:pt x="907" y="0"/>
                  </a:cubicBezTo>
                  <a:cubicBezTo>
                    <a:pt x="1407" y="0"/>
                    <a:pt x="1813" y="392"/>
                    <a:pt x="1813" y="87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566" y="-441"/>
              <a:ext cx="1340" cy="3081"/>
            </a:xfrm>
            <a:custGeom>
              <a:avLst/>
              <a:gdLst>
                <a:gd name="T0" fmla="*/ 997 w 1632"/>
                <a:gd name="T1" fmla="*/ 0 h 3760"/>
                <a:gd name="T2" fmla="*/ 997 w 1632"/>
                <a:gd name="T3" fmla="*/ 617 h 3760"/>
                <a:gd name="T4" fmla="*/ 0 w 1632"/>
                <a:gd name="T5" fmla="*/ 1661 h 3760"/>
                <a:gd name="T6" fmla="*/ 1088 w 1632"/>
                <a:gd name="T7" fmla="*/ 2711 h 3760"/>
                <a:gd name="T8" fmla="*/ 1632 w 1632"/>
                <a:gd name="T9" fmla="*/ 3236 h 3760"/>
                <a:gd name="T10" fmla="*/ 1088 w 1632"/>
                <a:gd name="T11" fmla="*/ 3760 h 3760"/>
                <a:gd name="T12" fmla="*/ 544 w 1632"/>
                <a:gd name="T13" fmla="*/ 3236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997" y="0"/>
                  </a:moveTo>
                  <a:cubicBezTo>
                    <a:pt x="997" y="617"/>
                    <a:pt x="997" y="617"/>
                    <a:pt x="997" y="617"/>
                  </a:cubicBezTo>
                  <a:cubicBezTo>
                    <a:pt x="439" y="661"/>
                    <a:pt x="0" y="1112"/>
                    <a:pt x="0" y="1661"/>
                  </a:cubicBezTo>
                  <a:cubicBezTo>
                    <a:pt x="0" y="2241"/>
                    <a:pt x="487" y="2711"/>
                    <a:pt x="1088" y="2711"/>
                  </a:cubicBezTo>
                  <a:cubicBezTo>
                    <a:pt x="1388" y="2711"/>
                    <a:pt x="1632" y="2946"/>
                    <a:pt x="1632" y="3236"/>
                  </a:cubicBezTo>
                  <a:cubicBezTo>
                    <a:pt x="1632" y="3525"/>
                    <a:pt x="1388" y="3760"/>
                    <a:pt x="1088" y="3760"/>
                  </a:cubicBezTo>
                  <a:cubicBezTo>
                    <a:pt x="787" y="3760"/>
                    <a:pt x="544" y="3525"/>
                    <a:pt x="544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6417" y="-441"/>
              <a:ext cx="1339" cy="2938"/>
            </a:xfrm>
            <a:custGeom>
              <a:avLst/>
              <a:gdLst>
                <a:gd name="T0" fmla="*/ 998 w 1632"/>
                <a:gd name="T1" fmla="*/ 0 h 3585"/>
                <a:gd name="T2" fmla="*/ 998 w 1632"/>
                <a:gd name="T3" fmla="*/ 466 h 3585"/>
                <a:gd name="T4" fmla="*/ 0 w 1632"/>
                <a:gd name="T5" fmla="*/ 1661 h 3585"/>
                <a:gd name="T6" fmla="*/ 1270 w 1632"/>
                <a:gd name="T7" fmla="*/ 2886 h 3585"/>
                <a:gd name="T8" fmla="*/ 1632 w 1632"/>
                <a:gd name="T9" fmla="*/ 3236 h 3585"/>
                <a:gd name="T10" fmla="*/ 1270 w 1632"/>
                <a:gd name="T11" fmla="*/ 3585 h 3585"/>
                <a:gd name="T12" fmla="*/ 907 w 1632"/>
                <a:gd name="T13" fmla="*/ 3236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998" y="0"/>
                  </a:moveTo>
                  <a:cubicBezTo>
                    <a:pt x="998" y="466"/>
                    <a:pt x="998" y="466"/>
                    <a:pt x="998" y="466"/>
                  </a:cubicBezTo>
                  <a:cubicBezTo>
                    <a:pt x="427" y="586"/>
                    <a:pt x="0" y="1076"/>
                    <a:pt x="0" y="1661"/>
                  </a:cubicBezTo>
                  <a:cubicBezTo>
                    <a:pt x="0" y="2338"/>
                    <a:pt x="569" y="2886"/>
                    <a:pt x="1270" y="2886"/>
                  </a:cubicBezTo>
                  <a:cubicBezTo>
                    <a:pt x="1470" y="2886"/>
                    <a:pt x="1632" y="3042"/>
                    <a:pt x="1632" y="3236"/>
                  </a:cubicBezTo>
                  <a:cubicBezTo>
                    <a:pt x="1632" y="3429"/>
                    <a:pt x="1470" y="3585"/>
                    <a:pt x="1270" y="3585"/>
                  </a:cubicBezTo>
                  <a:cubicBezTo>
                    <a:pt x="1069" y="3585"/>
                    <a:pt x="907" y="3429"/>
                    <a:pt x="907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5" name="Freeform 19"/>
            <p:cNvSpPr>
              <a:spLocks/>
            </p:cNvSpPr>
            <p:nvPr/>
          </p:nvSpPr>
          <p:spPr bwMode="auto">
            <a:xfrm>
              <a:off x="6268" y="-441"/>
              <a:ext cx="1340" cy="2795"/>
            </a:xfrm>
            <a:custGeom>
              <a:avLst/>
              <a:gdLst>
                <a:gd name="T0" fmla="*/ 997 w 1632"/>
                <a:gd name="T1" fmla="*/ 0 h 3410"/>
                <a:gd name="T2" fmla="*/ 997 w 1632"/>
                <a:gd name="T3" fmla="*/ 333 h 3410"/>
                <a:gd name="T4" fmla="*/ 997 w 1632"/>
                <a:gd name="T5" fmla="*/ 333 h 3410"/>
                <a:gd name="T6" fmla="*/ 0 w 1632"/>
                <a:gd name="T7" fmla="*/ 1661 h 3410"/>
                <a:gd name="T8" fmla="*/ 1451 w 1632"/>
                <a:gd name="T9" fmla="*/ 3061 h 3410"/>
                <a:gd name="T10" fmla="*/ 1632 w 1632"/>
                <a:gd name="T11" fmla="*/ 3236 h 3410"/>
                <a:gd name="T12" fmla="*/ 1451 w 1632"/>
                <a:gd name="T13" fmla="*/ 3410 h 3410"/>
                <a:gd name="T14" fmla="*/ 1269 w 1632"/>
                <a:gd name="T15" fmla="*/ 3236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2" h="3410">
                  <a:moveTo>
                    <a:pt x="997" y="0"/>
                  </a:moveTo>
                  <a:cubicBezTo>
                    <a:pt x="997" y="333"/>
                    <a:pt x="997" y="333"/>
                    <a:pt x="997" y="333"/>
                  </a:cubicBezTo>
                  <a:cubicBezTo>
                    <a:pt x="997" y="333"/>
                    <a:pt x="997" y="333"/>
                    <a:pt x="997" y="333"/>
                  </a:cubicBezTo>
                  <a:cubicBezTo>
                    <a:pt x="418" y="517"/>
                    <a:pt x="0" y="1042"/>
                    <a:pt x="0" y="1661"/>
                  </a:cubicBezTo>
                  <a:cubicBezTo>
                    <a:pt x="0" y="2434"/>
                    <a:pt x="649" y="3061"/>
                    <a:pt x="1451" y="3061"/>
                  </a:cubicBezTo>
                  <a:cubicBezTo>
                    <a:pt x="1551" y="3061"/>
                    <a:pt x="1632" y="3139"/>
                    <a:pt x="1632" y="3236"/>
                  </a:cubicBezTo>
                  <a:cubicBezTo>
                    <a:pt x="1632" y="3332"/>
                    <a:pt x="1551" y="3410"/>
                    <a:pt x="1451" y="3410"/>
                  </a:cubicBezTo>
                  <a:cubicBezTo>
                    <a:pt x="1350" y="3410"/>
                    <a:pt x="1269" y="3332"/>
                    <a:pt x="1269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7161" y="634"/>
              <a:ext cx="1340" cy="2938"/>
            </a:xfrm>
            <a:custGeom>
              <a:avLst/>
              <a:gdLst>
                <a:gd name="T0" fmla="*/ 635 w 1632"/>
                <a:gd name="T1" fmla="*/ 3585 h 3585"/>
                <a:gd name="T2" fmla="*/ 635 w 1632"/>
                <a:gd name="T3" fmla="*/ 3119 h 3585"/>
                <a:gd name="T4" fmla="*/ 1632 w 1632"/>
                <a:gd name="T5" fmla="*/ 1924 h 3585"/>
                <a:gd name="T6" fmla="*/ 363 w 1632"/>
                <a:gd name="T7" fmla="*/ 699 h 3585"/>
                <a:gd name="T8" fmla="*/ 0 w 1632"/>
                <a:gd name="T9" fmla="*/ 350 h 3585"/>
                <a:gd name="T10" fmla="*/ 363 w 1632"/>
                <a:gd name="T11" fmla="*/ 0 h 3585"/>
                <a:gd name="T12" fmla="*/ 725 w 1632"/>
                <a:gd name="T13" fmla="*/ 350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635" y="3585"/>
                  </a:moveTo>
                  <a:cubicBezTo>
                    <a:pt x="635" y="3119"/>
                    <a:pt x="635" y="3119"/>
                    <a:pt x="635" y="3119"/>
                  </a:cubicBezTo>
                  <a:cubicBezTo>
                    <a:pt x="1205" y="2999"/>
                    <a:pt x="1632" y="2510"/>
                    <a:pt x="1632" y="1924"/>
                  </a:cubicBezTo>
                  <a:cubicBezTo>
                    <a:pt x="1632" y="1248"/>
                    <a:pt x="1064" y="699"/>
                    <a:pt x="363" y="699"/>
                  </a:cubicBezTo>
                  <a:cubicBezTo>
                    <a:pt x="162" y="699"/>
                    <a:pt x="0" y="543"/>
                    <a:pt x="0" y="350"/>
                  </a:cubicBezTo>
                  <a:cubicBezTo>
                    <a:pt x="0" y="157"/>
                    <a:pt x="162" y="0"/>
                    <a:pt x="363" y="0"/>
                  </a:cubicBezTo>
                  <a:cubicBezTo>
                    <a:pt x="563" y="0"/>
                    <a:pt x="725" y="157"/>
                    <a:pt x="725" y="35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6417" y="2211"/>
              <a:ext cx="819" cy="1361"/>
            </a:xfrm>
            <a:custGeom>
              <a:avLst/>
              <a:gdLst>
                <a:gd name="T0" fmla="*/ 0 w 998"/>
                <a:gd name="T1" fmla="*/ 0 h 1661"/>
                <a:gd name="T2" fmla="*/ 998 w 998"/>
                <a:gd name="T3" fmla="*/ 1195 h 1661"/>
                <a:gd name="T4" fmla="*/ 998 w 998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0" y="0"/>
                  </a:moveTo>
                  <a:cubicBezTo>
                    <a:pt x="0" y="586"/>
                    <a:pt x="427" y="1075"/>
                    <a:pt x="998" y="1195"/>
                  </a:cubicBezTo>
                  <a:cubicBezTo>
                    <a:pt x="998" y="1661"/>
                    <a:pt x="998" y="1661"/>
                    <a:pt x="998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8" name="Freeform 22"/>
            <p:cNvSpPr>
              <a:spLocks/>
            </p:cNvSpPr>
            <p:nvPr/>
          </p:nvSpPr>
          <p:spPr bwMode="auto">
            <a:xfrm>
              <a:off x="7310" y="778"/>
              <a:ext cx="1339" cy="2794"/>
            </a:xfrm>
            <a:custGeom>
              <a:avLst/>
              <a:gdLst>
                <a:gd name="T0" fmla="*/ 635 w 1632"/>
                <a:gd name="T1" fmla="*/ 3410 h 3410"/>
                <a:gd name="T2" fmla="*/ 635 w 1632"/>
                <a:gd name="T3" fmla="*/ 3077 h 3410"/>
                <a:gd name="T4" fmla="*/ 1632 w 1632"/>
                <a:gd name="T5" fmla="*/ 1749 h 3410"/>
                <a:gd name="T6" fmla="*/ 182 w 1632"/>
                <a:gd name="T7" fmla="*/ 350 h 3410"/>
                <a:gd name="T8" fmla="*/ 0 w 1632"/>
                <a:gd name="T9" fmla="*/ 175 h 3410"/>
                <a:gd name="T10" fmla="*/ 182 w 1632"/>
                <a:gd name="T11" fmla="*/ 0 h 3410"/>
                <a:gd name="T12" fmla="*/ 363 w 1632"/>
                <a:gd name="T13" fmla="*/ 175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410">
                  <a:moveTo>
                    <a:pt x="635" y="3410"/>
                  </a:moveTo>
                  <a:cubicBezTo>
                    <a:pt x="635" y="3077"/>
                    <a:pt x="635" y="3077"/>
                    <a:pt x="635" y="3077"/>
                  </a:cubicBezTo>
                  <a:cubicBezTo>
                    <a:pt x="1214" y="2893"/>
                    <a:pt x="1632" y="2368"/>
                    <a:pt x="1632" y="1749"/>
                  </a:cubicBezTo>
                  <a:cubicBezTo>
                    <a:pt x="1632" y="976"/>
                    <a:pt x="983" y="350"/>
                    <a:pt x="182" y="350"/>
                  </a:cubicBezTo>
                  <a:cubicBezTo>
                    <a:pt x="81" y="350"/>
                    <a:pt x="0" y="271"/>
                    <a:pt x="0" y="175"/>
                  </a:cubicBezTo>
                  <a:cubicBezTo>
                    <a:pt x="0" y="78"/>
                    <a:pt x="81" y="0"/>
                    <a:pt x="182" y="0"/>
                  </a:cubicBezTo>
                  <a:cubicBezTo>
                    <a:pt x="282" y="0"/>
                    <a:pt x="363" y="78"/>
                    <a:pt x="363" y="17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6268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328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619"/>
                    <a:pt x="418" y="1144"/>
                    <a:pt x="997" y="1328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30" name="Freeform 24"/>
            <p:cNvSpPr>
              <a:spLocks/>
            </p:cNvSpPr>
            <p:nvPr/>
          </p:nvSpPr>
          <p:spPr bwMode="auto">
            <a:xfrm>
              <a:off x="7013" y="491"/>
              <a:ext cx="1339" cy="3081"/>
            </a:xfrm>
            <a:custGeom>
              <a:avLst/>
              <a:gdLst>
                <a:gd name="T0" fmla="*/ 634 w 1632"/>
                <a:gd name="T1" fmla="*/ 3760 h 3760"/>
                <a:gd name="T2" fmla="*/ 634 w 1632"/>
                <a:gd name="T3" fmla="*/ 3143 h 3760"/>
                <a:gd name="T4" fmla="*/ 1632 w 1632"/>
                <a:gd name="T5" fmla="*/ 2099 h 3760"/>
                <a:gd name="T6" fmla="*/ 544 w 1632"/>
                <a:gd name="T7" fmla="*/ 1049 h 3760"/>
                <a:gd name="T8" fmla="*/ 0 w 1632"/>
                <a:gd name="T9" fmla="*/ 525 h 3760"/>
                <a:gd name="T10" fmla="*/ 544 w 1632"/>
                <a:gd name="T11" fmla="*/ 0 h 3760"/>
                <a:gd name="T12" fmla="*/ 1088 w 1632"/>
                <a:gd name="T13" fmla="*/ 525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634" y="3760"/>
                  </a:moveTo>
                  <a:cubicBezTo>
                    <a:pt x="634" y="3143"/>
                    <a:pt x="634" y="3143"/>
                    <a:pt x="634" y="3143"/>
                  </a:cubicBezTo>
                  <a:cubicBezTo>
                    <a:pt x="1193" y="3099"/>
                    <a:pt x="1632" y="2649"/>
                    <a:pt x="1632" y="2099"/>
                  </a:cubicBezTo>
                  <a:cubicBezTo>
                    <a:pt x="1632" y="1519"/>
                    <a:pt x="1144" y="1049"/>
                    <a:pt x="544" y="1049"/>
                  </a:cubicBezTo>
                  <a:cubicBezTo>
                    <a:pt x="243" y="1049"/>
                    <a:pt x="0" y="814"/>
                    <a:pt x="0" y="525"/>
                  </a:cubicBezTo>
                  <a:cubicBezTo>
                    <a:pt x="0" y="235"/>
                    <a:pt x="243" y="0"/>
                    <a:pt x="544" y="0"/>
                  </a:cubicBezTo>
                  <a:cubicBezTo>
                    <a:pt x="844" y="0"/>
                    <a:pt x="1088" y="235"/>
                    <a:pt x="1088" y="52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6566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044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550"/>
                    <a:pt x="439" y="1000"/>
                    <a:pt x="997" y="1044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0239" y="1245428"/>
            <a:ext cx="7872484" cy="445241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dirty="0" smtClean="0"/>
              <a:t>Insert subtitle here. Right click on slide background to set picture.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B139C006-B1EF-4EAE-8E60-DC30EB9D3265}" type="datetime1">
              <a:rPr lang="en-GB" smtClean="0"/>
              <a:t>24/01/2018</a:t>
            </a:fld>
            <a:endParaRPr lang="en-GB"/>
          </a:p>
        </p:txBody>
      </p:sp>
      <p:cxnSp>
        <p:nvCxnSpPr>
          <p:cNvPr id="16" name="Straight Connector 15"/>
          <p:cNvCxnSpPr/>
          <p:nvPr/>
        </p:nvCxnSpPr>
        <p:spPr>
          <a:xfrm>
            <a:off x="646925" y="470735"/>
            <a:ext cx="7855798" cy="0"/>
          </a:xfrm>
          <a:prstGeom prst="line">
            <a:avLst/>
          </a:prstGeom>
          <a:ln w="381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239" y="470734"/>
            <a:ext cx="7872484" cy="698501"/>
          </a:xfrm>
        </p:spPr>
        <p:txBody>
          <a:bodyPr vert="horz" lIns="36000" tIns="0" rIns="36000" bIns="0" rtlCol="0" anchor="ctr">
            <a:normAutofit/>
          </a:bodyPr>
          <a:lstStyle>
            <a:lvl1pPr>
              <a:defRPr lang="en-US" sz="48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>
              <a:spcBef>
                <a:spcPts val="0"/>
              </a:spcBef>
              <a:buFont typeface="Arial" panose="020B0604020202020204" pitchFamily="34" charset="0"/>
            </a:pPr>
            <a:r>
              <a:rPr lang="en-US" dirty="0" smtClean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39572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B9A1737D-1CDB-4E5D-8F22-535A989A7D27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3019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37B7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>
            <a:grpSpLocks noChangeAspect="1"/>
          </p:cNvGrpSpPr>
          <p:nvPr/>
        </p:nvGrpSpPr>
        <p:grpSpPr bwMode="auto">
          <a:xfrm>
            <a:off x="6594808" y="-542096"/>
            <a:ext cx="2806367" cy="4729923"/>
            <a:chOff x="6268" y="-441"/>
            <a:chExt cx="2381" cy="4013"/>
          </a:xfrm>
        </p:grpSpPr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7682" y="-441"/>
              <a:ext cx="819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466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76"/>
                    <a:pt x="570" y="587"/>
                    <a:pt x="0" y="46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7831" y="-441"/>
              <a:ext cx="818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333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42"/>
                    <a:pt x="579" y="517"/>
                    <a:pt x="0" y="33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7533" y="-441"/>
              <a:ext cx="819" cy="1361"/>
            </a:xfrm>
            <a:custGeom>
              <a:avLst/>
              <a:gdLst>
                <a:gd name="T0" fmla="*/ 998 w 998"/>
                <a:gd name="T1" fmla="*/ 1661 h 1661"/>
                <a:gd name="T2" fmla="*/ 0 w 998"/>
                <a:gd name="T3" fmla="*/ 617 h 1661"/>
                <a:gd name="T4" fmla="*/ 0 w 998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998" y="1661"/>
                  </a:moveTo>
                  <a:cubicBezTo>
                    <a:pt x="998" y="1112"/>
                    <a:pt x="559" y="661"/>
                    <a:pt x="0" y="6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6715" y="348"/>
              <a:ext cx="1488" cy="2579"/>
            </a:xfrm>
            <a:custGeom>
              <a:avLst/>
              <a:gdLst>
                <a:gd name="T0" fmla="*/ 0 w 1813"/>
                <a:gd name="T1" fmla="*/ 2274 h 3148"/>
                <a:gd name="T2" fmla="*/ 907 w 1813"/>
                <a:gd name="T3" fmla="*/ 3148 h 3148"/>
                <a:gd name="T4" fmla="*/ 1813 w 1813"/>
                <a:gd name="T5" fmla="*/ 2274 h 3148"/>
                <a:gd name="T6" fmla="*/ 907 w 1813"/>
                <a:gd name="T7" fmla="*/ 1399 h 3148"/>
                <a:gd name="T8" fmla="*/ 181 w 1813"/>
                <a:gd name="T9" fmla="*/ 700 h 3148"/>
                <a:gd name="T10" fmla="*/ 907 w 1813"/>
                <a:gd name="T11" fmla="*/ 0 h 3148"/>
                <a:gd name="T12" fmla="*/ 1632 w 1813"/>
                <a:gd name="T13" fmla="*/ 700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0" y="2274"/>
                  </a:moveTo>
                  <a:cubicBezTo>
                    <a:pt x="0" y="2756"/>
                    <a:pt x="406" y="3148"/>
                    <a:pt x="907" y="3148"/>
                  </a:cubicBezTo>
                  <a:cubicBezTo>
                    <a:pt x="1407" y="3148"/>
                    <a:pt x="1813" y="2756"/>
                    <a:pt x="1813" y="2274"/>
                  </a:cubicBezTo>
                  <a:cubicBezTo>
                    <a:pt x="1813" y="1791"/>
                    <a:pt x="1407" y="1399"/>
                    <a:pt x="907" y="1399"/>
                  </a:cubicBezTo>
                  <a:cubicBezTo>
                    <a:pt x="506" y="1399"/>
                    <a:pt x="181" y="1086"/>
                    <a:pt x="181" y="700"/>
                  </a:cubicBezTo>
                  <a:cubicBezTo>
                    <a:pt x="181" y="313"/>
                    <a:pt x="506" y="0"/>
                    <a:pt x="907" y="0"/>
                  </a:cubicBezTo>
                  <a:cubicBezTo>
                    <a:pt x="1307" y="0"/>
                    <a:pt x="1632" y="313"/>
                    <a:pt x="1632" y="70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6715" y="204"/>
              <a:ext cx="1488" cy="2580"/>
            </a:xfrm>
            <a:custGeom>
              <a:avLst/>
              <a:gdLst>
                <a:gd name="T0" fmla="*/ 181 w 1813"/>
                <a:gd name="T1" fmla="*/ 2449 h 3148"/>
                <a:gd name="T2" fmla="*/ 907 w 1813"/>
                <a:gd name="T3" fmla="*/ 3148 h 3148"/>
                <a:gd name="T4" fmla="*/ 1632 w 1813"/>
                <a:gd name="T5" fmla="*/ 2449 h 3148"/>
                <a:gd name="T6" fmla="*/ 907 w 1813"/>
                <a:gd name="T7" fmla="*/ 1749 h 3148"/>
                <a:gd name="T8" fmla="*/ 0 w 1813"/>
                <a:gd name="T9" fmla="*/ 875 h 3148"/>
                <a:gd name="T10" fmla="*/ 907 w 1813"/>
                <a:gd name="T11" fmla="*/ 0 h 3148"/>
                <a:gd name="T12" fmla="*/ 1813 w 1813"/>
                <a:gd name="T13" fmla="*/ 875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181" y="2449"/>
                  </a:moveTo>
                  <a:cubicBezTo>
                    <a:pt x="181" y="2835"/>
                    <a:pt x="506" y="3148"/>
                    <a:pt x="907" y="3148"/>
                  </a:cubicBezTo>
                  <a:cubicBezTo>
                    <a:pt x="1307" y="3148"/>
                    <a:pt x="1632" y="2835"/>
                    <a:pt x="1632" y="2449"/>
                  </a:cubicBezTo>
                  <a:cubicBezTo>
                    <a:pt x="1632" y="2062"/>
                    <a:pt x="1307" y="1749"/>
                    <a:pt x="907" y="1749"/>
                  </a:cubicBezTo>
                  <a:cubicBezTo>
                    <a:pt x="406" y="1749"/>
                    <a:pt x="0" y="1357"/>
                    <a:pt x="0" y="875"/>
                  </a:cubicBezTo>
                  <a:cubicBezTo>
                    <a:pt x="0" y="392"/>
                    <a:pt x="406" y="0"/>
                    <a:pt x="907" y="0"/>
                  </a:cubicBezTo>
                  <a:cubicBezTo>
                    <a:pt x="1407" y="0"/>
                    <a:pt x="1813" y="392"/>
                    <a:pt x="1813" y="87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2" name="Freeform 17"/>
            <p:cNvSpPr>
              <a:spLocks/>
            </p:cNvSpPr>
            <p:nvPr/>
          </p:nvSpPr>
          <p:spPr bwMode="auto">
            <a:xfrm>
              <a:off x="6566" y="-441"/>
              <a:ext cx="1340" cy="3081"/>
            </a:xfrm>
            <a:custGeom>
              <a:avLst/>
              <a:gdLst>
                <a:gd name="T0" fmla="*/ 997 w 1632"/>
                <a:gd name="T1" fmla="*/ 0 h 3760"/>
                <a:gd name="T2" fmla="*/ 997 w 1632"/>
                <a:gd name="T3" fmla="*/ 617 h 3760"/>
                <a:gd name="T4" fmla="*/ 0 w 1632"/>
                <a:gd name="T5" fmla="*/ 1661 h 3760"/>
                <a:gd name="T6" fmla="*/ 1088 w 1632"/>
                <a:gd name="T7" fmla="*/ 2711 h 3760"/>
                <a:gd name="T8" fmla="*/ 1632 w 1632"/>
                <a:gd name="T9" fmla="*/ 3236 h 3760"/>
                <a:gd name="T10" fmla="*/ 1088 w 1632"/>
                <a:gd name="T11" fmla="*/ 3760 h 3760"/>
                <a:gd name="T12" fmla="*/ 544 w 1632"/>
                <a:gd name="T13" fmla="*/ 3236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997" y="0"/>
                  </a:moveTo>
                  <a:cubicBezTo>
                    <a:pt x="997" y="617"/>
                    <a:pt x="997" y="617"/>
                    <a:pt x="997" y="617"/>
                  </a:cubicBezTo>
                  <a:cubicBezTo>
                    <a:pt x="439" y="661"/>
                    <a:pt x="0" y="1112"/>
                    <a:pt x="0" y="1661"/>
                  </a:cubicBezTo>
                  <a:cubicBezTo>
                    <a:pt x="0" y="2241"/>
                    <a:pt x="487" y="2711"/>
                    <a:pt x="1088" y="2711"/>
                  </a:cubicBezTo>
                  <a:cubicBezTo>
                    <a:pt x="1388" y="2711"/>
                    <a:pt x="1632" y="2946"/>
                    <a:pt x="1632" y="3236"/>
                  </a:cubicBezTo>
                  <a:cubicBezTo>
                    <a:pt x="1632" y="3525"/>
                    <a:pt x="1388" y="3760"/>
                    <a:pt x="1088" y="3760"/>
                  </a:cubicBezTo>
                  <a:cubicBezTo>
                    <a:pt x="787" y="3760"/>
                    <a:pt x="544" y="3525"/>
                    <a:pt x="544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auto">
            <a:xfrm>
              <a:off x="6417" y="-441"/>
              <a:ext cx="1339" cy="2938"/>
            </a:xfrm>
            <a:custGeom>
              <a:avLst/>
              <a:gdLst>
                <a:gd name="T0" fmla="*/ 998 w 1632"/>
                <a:gd name="T1" fmla="*/ 0 h 3585"/>
                <a:gd name="T2" fmla="*/ 998 w 1632"/>
                <a:gd name="T3" fmla="*/ 466 h 3585"/>
                <a:gd name="T4" fmla="*/ 0 w 1632"/>
                <a:gd name="T5" fmla="*/ 1661 h 3585"/>
                <a:gd name="T6" fmla="*/ 1270 w 1632"/>
                <a:gd name="T7" fmla="*/ 2886 h 3585"/>
                <a:gd name="T8" fmla="*/ 1632 w 1632"/>
                <a:gd name="T9" fmla="*/ 3236 h 3585"/>
                <a:gd name="T10" fmla="*/ 1270 w 1632"/>
                <a:gd name="T11" fmla="*/ 3585 h 3585"/>
                <a:gd name="T12" fmla="*/ 907 w 1632"/>
                <a:gd name="T13" fmla="*/ 3236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998" y="0"/>
                  </a:moveTo>
                  <a:cubicBezTo>
                    <a:pt x="998" y="466"/>
                    <a:pt x="998" y="466"/>
                    <a:pt x="998" y="466"/>
                  </a:cubicBezTo>
                  <a:cubicBezTo>
                    <a:pt x="427" y="586"/>
                    <a:pt x="0" y="1076"/>
                    <a:pt x="0" y="1661"/>
                  </a:cubicBezTo>
                  <a:cubicBezTo>
                    <a:pt x="0" y="2338"/>
                    <a:pt x="569" y="2886"/>
                    <a:pt x="1270" y="2886"/>
                  </a:cubicBezTo>
                  <a:cubicBezTo>
                    <a:pt x="1470" y="2886"/>
                    <a:pt x="1632" y="3042"/>
                    <a:pt x="1632" y="3236"/>
                  </a:cubicBezTo>
                  <a:cubicBezTo>
                    <a:pt x="1632" y="3429"/>
                    <a:pt x="1470" y="3585"/>
                    <a:pt x="1270" y="3585"/>
                  </a:cubicBezTo>
                  <a:cubicBezTo>
                    <a:pt x="1069" y="3585"/>
                    <a:pt x="907" y="3429"/>
                    <a:pt x="907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6268" y="-441"/>
              <a:ext cx="1340" cy="2795"/>
            </a:xfrm>
            <a:custGeom>
              <a:avLst/>
              <a:gdLst>
                <a:gd name="T0" fmla="*/ 997 w 1632"/>
                <a:gd name="T1" fmla="*/ 0 h 3410"/>
                <a:gd name="T2" fmla="*/ 997 w 1632"/>
                <a:gd name="T3" fmla="*/ 333 h 3410"/>
                <a:gd name="T4" fmla="*/ 997 w 1632"/>
                <a:gd name="T5" fmla="*/ 333 h 3410"/>
                <a:gd name="T6" fmla="*/ 0 w 1632"/>
                <a:gd name="T7" fmla="*/ 1661 h 3410"/>
                <a:gd name="T8" fmla="*/ 1451 w 1632"/>
                <a:gd name="T9" fmla="*/ 3061 h 3410"/>
                <a:gd name="T10" fmla="*/ 1632 w 1632"/>
                <a:gd name="T11" fmla="*/ 3236 h 3410"/>
                <a:gd name="T12" fmla="*/ 1451 w 1632"/>
                <a:gd name="T13" fmla="*/ 3410 h 3410"/>
                <a:gd name="T14" fmla="*/ 1269 w 1632"/>
                <a:gd name="T15" fmla="*/ 3236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2" h="3410">
                  <a:moveTo>
                    <a:pt x="997" y="0"/>
                  </a:moveTo>
                  <a:cubicBezTo>
                    <a:pt x="997" y="333"/>
                    <a:pt x="997" y="333"/>
                    <a:pt x="997" y="333"/>
                  </a:cubicBezTo>
                  <a:cubicBezTo>
                    <a:pt x="997" y="333"/>
                    <a:pt x="997" y="333"/>
                    <a:pt x="997" y="333"/>
                  </a:cubicBezTo>
                  <a:cubicBezTo>
                    <a:pt x="418" y="517"/>
                    <a:pt x="0" y="1042"/>
                    <a:pt x="0" y="1661"/>
                  </a:cubicBezTo>
                  <a:cubicBezTo>
                    <a:pt x="0" y="2434"/>
                    <a:pt x="649" y="3061"/>
                    <a:pt x="1451" y="3061"/>
                  </a:cubicBezTo>
                  <a:cubicBezTo>
                    <a:pt x="1551" y="3061"/>
                    <a:pt x="1632" y="3139"/>
                    <a:pt x="1632" y="3236"/>
                  </a:cubicBezTo>
                  <a:cubicBezTo>
                    <a:pt x="1632" y="3332"/>
                    <a:pt x="1551" y="3410"/>
                    <a:pt x="1451" y="3410"/>
                  </a:cubicBezTo>
                  <a:cubicBezTo>
                    <a:pt x="1350" y="3410"/>
                    <a:pt x="1269" y="3332"/>
                    <a:pt x="1269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7161" y="634"/>
              <a:ext cx="1340" cy="2938"/>
            </a:xfrm>
            <a:custGeom>
              <a:avLst/>
              <a:gdLst>
                <a:gd name="T0" fmla="*/ 635 w 1632"/>
                <a:gd name="T1" fmla="*/ 3585 h 3585"/>
                <a:gd name="T2" fmla="*/ 635 w 1632"/>
                <a:gd name="T3" fmla="*/ 3119 h 3585"/>
                <a:gd name="T4" fmla="*/ 1632 w 1632"/>
                <a:gd name="T5" fmla="*/ 1924 h 3585"/>
                <a:gd name="T6" fmla="*/ 363 w 1632"/>
                <a:gd name="T7" fmla="*/ 699 h 3585"/>
                <a:gd name="T8" fmla="*/ 0 w 1632"/>
                <a:gd name="T9" fmla="*/ 350 h 3585"/>
                <a:gd name="T10" fmla="*/ 363 w 1632"/>
                <a:gd name="T11" fmla="*/ 0 h 3585"/>
                <a:gd name="T12" fmla="*/ 725 w 1632"/>
                <a:gd name="T13" fmla="*/ 350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635" y="3585"/>
                  </a:moveTo>
                  <a:cubicBezTo>
                    <a:pt x="635" y="3119"/>
                    <a:pt x="635" y="3119"/>
                    <a:pt x="635" y="3119"/>
                  </a:cubicBezTo>
                  <a:cubicBezTo>
                    <a:pt x="1205" y="2999"/>
                    <a:pt x="1632" y="2510"/>
                    <a:pt x="1632" y="1924"/>
                  </a:cubicBezTo>
                  <a:cubicBezTo>
                    <a:pt x="1632" y="1248"/>
                    <a:pt x="1064" y="699"/>
                    <a:pt x="363" y="699"/>
                  </a:cubicBezTo>
                  <a:cubicBezTo>
                    <a:pt x="162" y="699"/>
                    <a:pt x="0" y="543"/>
                    <a:pt x="0" y="350"/>
                  </a:cubicBezTo>
                  <a:cubicBezTo>
                    <a:pt x="0" y="157"/>
                    <a:pt x="162" y="0"/>
                    <a:pt x="363" y="0"/>
                  </a:cubicBezTo>
                  <a:cubicBezTo>
                    <a:pt x="563" y="0"/>
                    <a:pt x="725" y="157"/>
                    <a:pt x="725" y="35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auto">
            <a:xfrm>
              <a:off x="6417" y="2211"/>
              <a:ext cx="819" cy="1361"/>
            </a:xfrm>
            <a:custGeom>
              <a:avLst/>
              <a:gdLst>
                <a:gd name="T0" fmla="*/ 0 w 998"/>
                <a:gd name="T1" fmla="*/ 0 h 1661"/>
                <a:gd name="T2" fmla="*/ 998 w 998"/>
                <a:gd name="T3" fmla="*/ 1195 h 1661"/>
                <a:gd name="T4" fmla="*/ 998 w 998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0" y="0"/>
                  </a:moveTo>
                  <a:cubicBezTo>
                    <a:pt x="0" y="586"/>
                    <a:pt x="427" y="1075"/>
                    <a:pt x="998" y="1195"/>
                  </a:cubicBezTo>
                  <a:cubicBezTo>
                    <a:pt x="998" y="1661"/>
                    <a:pt x="998" y="1661"/>
                    <a:pt x="998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auto">
            <a:xfrm>
              <a:off x="7310" y="778"/>
              <a:ext cx="1339" cy="2794"/>
            </a:xfrm>
            <a:custGeom>
              <a:avLst/>
              <a:gdLst>
                <a:gd name="T0" fmla="*/ 635 w 1632"/>
                <a:gd name="T1" fmla="*/ 3410 h 3410"/>
                <a:gd name="T2" fmla="*/ 635 w 1632"/>
                <a:gd name="T3" fmla="*/ 3077 h 3410"/>
                <a:gd name="T4" fmla="*/ 1632 w 1632"/>
                <a:gd name="T5" fmla="*/ 1749 h 3410"/>
                <a:gd name="T6" fmla="*/ 182 w 1632"/>
                <a:gd name="T7" fmla="*/ 350 h 3410"/>
                <a:gd name="T8" fmla="*/ 0 w 1632"/>
                <a:gd name="T9" fmla="*/ 175 h 3410"/>
                <a:gd name="T10" fmla="*/ 182 w 1632"/>
                <a:gd name="T11" fmla="*/ 0 h 3410"/>
                <a:gd name="T12" fmla="*/ 363 w 1632"/>
                <a:gd name="T13" fmla="*/ 175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410">
                  <a:moveTo>
                    <a:pt x="635" y="3410"/>
                  </a:moveTo>
                  <a:cubicBezTo>
                    <a:pt x="635" y="3077"/>
                    <a:pt x="635" y="3077"/>
                    <a:pt x="635" y="3077"/>
                  </a:cubicBezTo>
                  <a:cubicBezTo>
                    <a:pt x="1214" y="2893"/>
                    <a:pt x="1632" y="2368"/>
                    <a:pt x="1632" y="1749"/>
                  </a:cubicBezTo>
                  <a:cubicBezTo>
                    <a:pt x="1632" y="976"/>
                    <a:pt x="983" y="350"/>
                    <a:pt x="182" y="350"/>
                  </a:cubicBezTo>
                  <a:cubicBezTo>
                    <a:pt x="81" y="350"/>
                    <a:pt x="0" y="271"/>
                    <a:pt x="0" y="175"/>
                  </a:cubicBezTo>
                  <a:cubicBezTo>
                    <a:pt x="0" y="78"/>
                    <a:pt x="81" y="0"/>
                    <a:pt x="182" y="0"/>
                  </a:cubicBezTo>
                  <a:cubicBezTo>
                    <a:pt x="282" y="0"/>
                    <a:pt x="363" y="78"/>
                    <a:pt x="363" y="17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6268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328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619"/>
                    <a:pt x="418" y="1144"/>
                    <a:pt x="997" y="1328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7013" y="491"/>
              <a:ext cx="1339" cy="3081"/>
            </a:xfrm>
            <a:custGeom>
              <a:avLst/>
              <a:gdLst>
                <a:gd name="T0" fmla="*/ 634 w 1632"/>
                <a:gd name="T1" fmla="*/ 3760 h 3760"/>
                <a:gd name="T2" fmla="*/ 634 w 1632"/>
                <a:gd name="T3" fmla="*/ 3143 h 3760"/>
                <a:gd name="T4" fmla="*/ 1632 w 1632"/>
                <a:gd name="T5" fmla="*/ 2099 h 3760"/>
                <a:gd name="T6" fmla="*/ 544 w 1632"/>
                <a:gd name="T7" fmla="*/ 1049 h 3760"/>
                <a:gd name="T8" fmla="*/ 0 w 1632"/>
                <a:gd name="T9" fmla="*/ 525 h 3760"/>
                <a:gd name="T10" fmla="*/ 544 w 1632"/>
                <a:gd name="T11" fmla="*/ 0 h 3760"/>
                <a:gd name="T12" fmla="*/ 1088 w 1632"/>
                <a:gd name="T13" fmla="*/ 525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634" y="3760"/>
                  </a:moveTo>
                  <a:cubicBezTo>
                    <a:pt x="634" y="3143"/>
                    <a:pt x="634" y="3143"/>
                    <a:pt x="634" y="3143"/>
                  </a:cubicBezTo>
                  <a:cubicBezTo>
                    <a:pt x="1193" y="3099"/>
                    <a:pt x="1632" y="2649"/>
                    <a:pt x="1632" y="2099"/>
                  </a:cubicBezTo>
                  <a:cubicBezTo>
                    <a:pt x="1632" y="1519"/>
                    <a:pt x="1144" y="1049"/>
                    <a:pt x="544" y="1049"/>
                  </a:cubicBezTo>
                  <a:cubicBezTo>
                    <a:pt x="243" y="1049"/>
                    <a:pt x="0" y="814"/>
                    <a:pt x="0" y="525"/>
                  </a:cubicBezTo>
                  <a:cubicBezTo>
                    <a:pt x="0" y="235"/>
                    <a:pt x="243" y="0"/>
                    <a:pt x="544" y="0"/>
                  </a:cubicBezTo>
                  <a:cubicBezTo>
                    <a:pt x="844" y="0"/>
                    <a:pt x="1088" y="235"/>
                    <a:pt x="1088" y="52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6566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044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550"/>
                    <a:pt x="439" y="1000"/>
                    <a:pt x="997" y="1044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Financial Institution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BF7439E5-E1D3-43DF-BDC1-BBE1E65C4253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6785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>
            <a:grpSpLocks noChangeAspect="1"/>
          </p:cNvGrpSpPr>
          <p:nvPr/>
        </p:nvGrpSpPr>
        <p:grpSpPr bwMode="auto">
          <a:xfrm>
            <a:off x="6594808" y="-310325"/>
            <a:ext cx="2806367" cy="4729923"/>
            <a:chOff x="6268" y="-441"/>
            <a:chExt cx="2381" cy="4013"/>
          </a:xfrm>
        </p:grpSpPr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7682" y="-441"/>
              <a:ext cx="819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466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76"/>
                    <a:pt x="570" y="587"/>
                    <a:pt x="0" y="46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7831" y="-441"/>
              <a:ext cx="818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333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42"/>
                    <a:pt x="579" y="517"/>
                    <a:pt x="0" y="33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7533" y="-441"/>
              <a:ext cx="819" cy="1361"/>
            </a:xfrm>
            <a:custGeom>
              <a:avLst/>
              <a:gdLst>
                <a:gd name="T0" fmla="*/ 998 w 998"/>
                <a:gd name="T1" fmla="*/ 1661 h 1661"/>
                <a:gd name="T2" fmla="*/ 0 w 998"/>
                <a:gd name="T3" fmla="*/ 617 h 1661"/>
                <a:gd name="T4" fmla="*/ 0 w 998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998" y="1661"/>
                  </a:moveTo>
                  <a:cubicBezTo>
                    <a:pt x="998" y="1112"/>
                    <a:pt x="559" y="661"/>
                    <a:pt x="0" y="6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6715" y="348"/>
              <a:ext cx="1488" cy="2579"/>
            </a:xfrm>
            <a:custGeom>
              <a:avLst/>
              <a:gdLst>
                <a:gd name="T0" fmla="*/ 0 w 1813"/>
                <a:gd name="T1" fmla="*/ 2274 h 3148"/>
                <a:gd name="T2" fmla="*/ 907 w 1813"/>
                <a:gd name="T3" fmla="*/ 3148 h 3148"/>
                <a:gd name="T4" fmla="*/ 1813 w 1813"/>
                <a:gd name="T5" fmla="*/ 2274 h 3148"/>
                <a:gd name="T6" fmla="*/ 907 w 1813"/>
                <a:gd name="T7" fmla="*/ 1399 h 3148"/>
                <a:gd name="T8" fmla="*/ 181 w 1813"/>
                <a:gd name="T9" fmla="*/ 700 h 3148"/>
                <a:gd name="T10" fmla="*/ 907 w 1813"/>
                <a:gd name="T11" fmla="*/ 0 h 3148"/>
                <a:gd name="T12" fmla="*/ 1632 w 1813"/>
                <a:gd name="T13" fmla="*/ 700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0" y="2274"/>
                  </a:moveTo>
                  <a:cubicBezTo>
                    <a:pt x="0" y="2756"/>
                    <a:pt x="406" y="3148"/>
                    <a:pt x="907" y="3148"/>
                  </a:cubicBezTo>
                  <a:cubicBezTo>
                    <a:pt x="1407" y="3148"/>
                    <a:pt x="1813" y="2756"/>
                    <a:pt x="1813" y="2274"/>
                  </a:cubicBezTo>
                  <a:cubicBezTo>
                    <a:pt x="1813" y="1791"/>
                    <a:pt x="1407" y="1399"/>
                    <a:pt x="907" y="1399"/>
                  </a:cubicBezTo>
                  <a:cubicBezTo>
                    <a:pt x="506" y="1399"/>
                    <a:pt x="181" y="1086"/>
                    <a:pt x="181" y="700"/>
                  </a:cubicBezTo>
                  <a:cubicBezTo>
                    <a:pt x="181" y="313"/>
                    <a:pt x="506" y="0"/>
                    <a:pt x="907" y="0"/>
                  </a:cubicBezTo>
                  <a:cubicBezTo>
                    <a:pt x="1307" y="0"/>
                    <a:pt x="1632" y="313"/>
                    <a:pt x="1632" y="70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6715" y="204"/>
              <a:ext cx="1488" cy="2580"/>
            </a:xfrm>
            <a:custGeom>
              <a:avLst/>
              <a:gdLst>
                <a:gd name="T0" fmla="*/ 181 w 1813"/>
                <a:gd name="T1" fmla="*/ 2449 h 3148"/>
                <a:gd name="T2" fmla="*/ 907 w 1813"/>
                <a:gd name="T3" fmla="*/ 3148 h 3148"/>
                <a:gd name="T4" fmla="*/ 1632 w 1813"/>
                <a:gd name="T5" fmla="*/ 2449 h 3148"/>
                <a:gd name="T6" fmla="*/ 907 w 1813"/>
                <a:gd name="T7" fmla="*/ 1749 h 3148"/>
                <a:gd name="T8" fmla="*/ 0 w 1813"/>
                <a:gd name="T9" fmla="*/ 875 h 3148"/>
                <a:gd name="T10" fmla="*/ 907 w 1813"/>
                <a:gd name="T11" fmla="*/ 0 h 3148"/>
                <a:gd name="T12" fmla="*/ 1813 w 1813"/>
                <a:gd name="T13" fmla="*/ 875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181" y="2449"/>
                  </a:moveTo>
                  <a:cubicBezTo>
                    <a:pt x="181" y="2835"/>
                    <a:pt x="506" y="3148"/>
                    <a:pt x="907" y="3148"/>
                  </a:cubicBezTo>
                  <a:cubicBezTo>
                    <a:pt x="1307" y="3148"/>
                    <a:pt x="1632" y="2835"/>
                    <a:pt x="1632" y="2449"/>
                  </a:cubicBezTo>
                  <a:cubicBezTo>
                    <a:pt x="1632" y="2062"/>
                    <a:pt x="1307" y="1749"/>
                    <a:pt x="907" y="1749"/>
                  </a:cubicBezTo>
                  <a:cubicBezTo>
                    <a:pt x="406" y="1749"/>
                    <a:pt x="0" y="1357"/>
                    <a:pt x="0" y="875"/>
                  </a:cubicBezTo>
                  <a:cubicBezTo>
                    <a:pt x="0" y="392"/>
                    <a:pt x="406" y="0"/>
                    <a:pt x="907" y="0"/>
                  </a:cubicBezTo>
                  <a:cubicBezTo>
                    <a:pt x="1407" y="0"/>
                    <a:pt x="1813" y="392"/>
                    <a:pt x="1813" y="875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2" name="Freeform 17"/>
            <p:cNvSpPr>
              <a:spLocks/>
            </p:cNvSpPr>
            <p:nvPr/>
          </p:nvSpPr>
          <p:spPr bwMode="auto">
            <a:xfrm>
              <a:off x="6566" y="-441"/>
              <a:ext cx="1340" cy="3081"/>
            </a:xfrm>
            <a:custGeom>
              <a:avLst/>
              <a:gdLst>
                <a:gd name="T0" fmla="*/ 997 w 1632"/>
                <a:gd name="T1" fmla="*/ 0 h 3760"/>
                <a:gd name="T2" fmla="*/ 997 w 1632"/>
                <a:gd name="T3" fmla="*/ 617 h 3760"/>
                <a:gd name="T4" fmla="*/ 0 w 1632"/>
                <a:gd name="T5" fmla="*/ 1661 h 3760"/>
                <a:gd name="T6" fmla="*/ 1088 w 1632"/>
                <a:gd name="T7" fmla="*/ 2711 h 3760"/>
                <a:gd name="T8" fmla="*/ 1632 w 1632"/>
                <a:gd name="T9" fmla="*/ 3236 h 3760"/>
                <a:gd name="T10" fmla="*/ 1088 w 1632"/>
                <a:gd name="T11" fmla="*/ 3760 h 3760"/>
                <a:gd name="T12" fmla="*/ 544 w 1632"/>
                <a:gd name="T13" fmla="*/ 3236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997" y="0"/>
                  </a:moveTo>
                  <a:cubicBezTo>
                    <a:pt x="997" y="617"/>
                    <a:pt x="997" y="617"/>
                    <a:pt x="997" y="617"/>
                  </a:cubicBezTo>
                  <a:cubicBezTo>
                    <a:pt x="439" y="661"/>
                    <a:pt x="0" y="1112"/>
                    <a:pt x="0" y="1661"/>
                  </a:cubicBezTo>
                  <a:cubicBezTo>
                    <a:pt x="0" y="2241"/>
                    <a:pt x="487" y="2711"/>
                    <a:pt x="1088" y="2711"/>
                  </a:cubicBezTo>
                  <a:cubicBezTo>
                    <a:pt x="1388" y="2711"/>
                    <a:pt x="1632" y="2946"/>
                    <a:pt x="1632" y="3236"/>
                  </a:cubicBezTo>
                  <a:cubicBezTo>
                    <a:pt x="1632" y="3525"/>
                    <a:pt x="1388" y="3760"/>
                    <a:pt x="1088" y="3760"/>
                  </a:cubicBezTo>
                  <a:cubicBezTo>
                    <a:pt x="787" y="3760"/>
                    <a:pt x="544" y="3525"/>
                    <a:pt x="544" y="3236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auto">
            <a:xfrm>
              <a:off x="6417" y="-441"/>
              <a:ext cx="1339" cy="2938"/>
            </a:xfrm>
            <a:custGeom>
              <a:avLst/>
              <a:gdLst>
                <a:gd name="T0" fmla="*/ 998 w 1632"/>
                <a:gd name="T1" fmla="*/ 0 h 3585"/>
                <a:gd name="T2" fmla="*/ 998 w 1632"/>
                <a:gd name="T3" fmla="*/ 466 h 3585"/>
                <a:gd name="T4" fmla="*/ 0 w 1632"/>
                <a:gd name="T5" fmla="*/ 1661 h 3585"/>
                <a:gd name="T6" fmla="*/ 1270 w 1632"/>
                <a:gd name="T7" fmla="*/ 2886 h 3585"/>
                <a:gd name="T8" fmla="*/ 1632 w 1632"/>
                <a:gd name="T9" fmla="*/ 3236 h 3585"/>
                <a:gd name="T10" fmla="*/ 1270 w 1632"/>
                <a:gd name="T11" fmla="*/ 3585 h 3585"/>
                <a:gd name="T12" fmla="*/ 907 w 1632"/>
                <a:gd name="T13" fmla="*/ 3236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998" y="0"/>
                  </a:moveTo>
                  <a:cubicBezTo>
                    <a:pt x="998" y="466"/>
                    <a:pt x="998" y="466"/>
                    <a:pt x="998" y="466"/>
                  </a:cubicBezTo>
                  <a:cubicBezTo>
                    <a:pt x="427" y="586"/>
                    <a:pt x="0" y="1076"/>
                    <a:pt x="0" y="1661"/>
                  </a:cubicBezTo>
                  <a:cubicBezTo>
                    <a:pt x="0" y="2338"/>
                    <a:pt x="569" y="2886"/>
                    <a:pt x="1270" y="2886"/>
                  </a:cubicBezTo>
                  <a:cubicBezTo>
                    <a:pt x="1470" y="2886"/>
                    <a:pt x="1632" y="3042"/>
                    <a:pt x="1632" y="3236"/>
                  </a:cubicBezTo>
                  <a:cubicBezTo>
                    <a:pt x="1632" y="3429"/>
                    <a:pt x="1470" y="3585"/>
                    <a:pt x="1270" y="3585"/>
                  </a:cubicBezTo>
                  <a:cubicBezTo>
                    <a:pt x="1069" y="3585"/>
                    <a:pt x="907" y="3429"/>
                    <a:pt x="907" y="3236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6268" y="-441"/>
              <a:ext cx="1340" cy="2795"/>
            </a:xfrm>
            <a:custGeom>
              <a:avLst/>
              <a:gdLst>
                <a:gd name="T0" fmla="*/ 997 w 1632"/>
                <a:gd name="T1" fmla="*/ 0 h 3410"/>
                <a:gd name="T2" fmla="*/ 997 w 1632"/>
                <a:gd name="T3" fmla="*/ 333 h 3410"/>
                <a:gd name="T4" fmla="*/ 997 w 1632"/>
                <a:gd name="T5" fmla="*/ 333 h 3410"/>
                <a:gd name="T6" fmla="*/ 0 w 1632"/>
                <a:gd name="T7" fmla="*/ 1661 h 3410"/>
                <a:gd name="T8" fmla="*/ 1451 w 1632"/>
                <a:gd name="T9" fmla="*/ 3061 h 3410"/>
                <a:gd name="T10" fmla="*/ 1632 w 1632"/>
                <a:gd name="T11" fmla="*/ 3236 h 3410"/>
                <a:gd name="T12" fmla="*/ 1451 w 1632"/>
                <a:gd name="T13" fmla="*/ 3410 h 3410"/>
                <a:gd name="T14" fmla="*/ 1269 w 1632"/>
                <a:gd name="T15" fmla="*/ 3236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2" h="3410">
                  <a:moveTo>
                    <a:pt x="997" y="0"/>
                  </a:moveTo>
                  <a:cubicBezTo>
                    <a:pt x="997" y="333"/>
                    <a:pt x="997" y="333"/>
                    <a:pt x="997" y="333"/>
                  </a:cubicBezTo>
                  <a:cubicBezTo>
                    <a:pt x="997" y="333"/>
                    <a:pt x="997" y="333"/>
                    <a:pt x="997" y="333"/>
                  </a:cubicBezTo>
                  <a:cubicBezTo>
                    <a:pt x="418" y="517"/>
                    <a:pt x="0" y="1042"/>
                    <a:pt x="0" y="1661"/>
                  </a:cubicBezTo>
                  <a:cubicBezTo>
                    <a:pt x="0" y="2434"/>
                    <a:pt x="649" y="3061"/>
                    <a:pt x="1451" y="3061"/>
                  </a:cubicBezTo>
                  <a:cubicBezTo>
                    <a:pt x="1551" y="3061"/>
                    <a:pt x="1632" y="3139"/>
                    <a:pt x="1632" y="3236"/>
                  </a:cubicBezTo>
                  <a:cubicBezTo>
                    <a:pt x="1632" y="3332"/>
                    <a:pt x="1551" y="3410"/>
                    <a:pt x="1451" y="3410"/>
                  </a:cubicBezTo>
                  <a:cubicBezTo>
                    <a:pt x="1350" y="3410"/>
                    <a:pt x="1269" y="3332"/>
                    <a:pt x="1269" y="3236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7161" y="634"/>
              <a:ext cx="1340" cy="2938"/>
            </a:xfrm>
            <a:custGeom>
              <a:avLst/>
              <a:gdLst>
                <a:gd name="T0" fmla="*/ 635 w 1632"/>
                <a:gd name="T1" fmla="*/ 3585 h 3585"/>
                <a:gd name="T2" fmla="*/ 635 w 1632"/>
                <a:gd name="T3" fmla="*/ 3119 h 3585"/>
                <a:gd name="T4" fmla="*/ 1632 w 1632"/>
                <a:gd name="T5" fmla="*/ 1924 h 3585"/>
                <a:gd name="T6" fmla="*/ 363 w 1632"/>
                <a:gd name="T7" fmla="*/ 699 h 3585"/>
                <a:gd name="T8" fmla="*/ 0 w 1632"/>
                <a:gd name="T9" fmla="*/ 350 h 3585"/>
                <a:gd name="T10" fmla="*/ 363 w 1632"/>
                <a:gd name="T11" fmla="*/ 0 h 3585"/>
                <a:gd name="T12" fmla="*/ 725 w 1632"/>
                <a:gd name="T13" fmla="*/ 350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635" y="3585"/>
                  </a:moveTo>
                  <a:cubicBezTo>
                    <a:pt x="635" y="3119"/>
                    <a:pt x="635" y="3119"/>
                    <a:pt x="635" y="3119"/>
                  </a:cubicBezTo>
                  <a:cubicBezTo>
                    <a:pt x="1205" y="2999"/>
                    <a:pt x="1632" y="2510"/>
                    <a:pt x="1632" y="1924"/>
                  </a:cubicBezTo>
                  <a:cubicBezTo>
                    <a:pt x="1632" y="1248"/>
                    <a:pt x="1064" y="699"/>
                    <a:pt x="363" y="699"/>
                  </a:cubicBezTo>
                  <a:cubicBezTo>
                    <a:pt x="162" y="699"/>
                    <a:pt x="0" y="543"/>
                    <a:pt x="0" y="350"/>
                  </a:cubicBezTo>
                  <a:cubicBezTo>
                    <a:pt x="0" y="157"/>
                    <a:pt x="162" y="0"/>
                    <a:pt x="363" y="0"/>
                  </a:cubicBezTo>
                  <a:cubicBezTo>
                    <a:pt x="563" y="0"/>
                    <a:pt x="725" y="157"/>
                    <a:pt x="725" y="35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auto">
            <a:xfrm>
              <a:off x="6417" y="2211"/>
              <a:ext cx="819" cy="1361"/>
            </a:xfrm>
            <a:custGeom>
              <a:avLst/>
              <a:gdLst>
                <a:gd name="T0" fmla="*/ 0 w 998"/>
                <a:gd name="T1" fmla="*/ 0 h 1661"/>
                <a:gd name="T2" fmla="*/ 998 w 998"/>
                <a:gd name="T3" fmla="*/ 1195 h 1661"/>
                <a:gd name="T4" fmla="*/ 998 w 998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0" y="0"/>
                  </a:moveTo>
                  <a:cubicBezTo>
                    <a:pt x="0" y="586"/>
                    <a:pt x="427" y="1075"/>
                    <a:pt x="998" y="1195"/>
                  </a:cubicBezTo>
                  <a:cubicBezTo>
                    <a:pt x="998" y="1661"/>
                    <a:pt x="998" y="1661"/>
                    <a:pt x="998" y="1661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auto">
            <a:xfrm>
              <a:off x="7310" y="778"/>
              <a:ext cx="1339" cy="2794"/>
            </a:xfrm>
            <a:custGeom>
              <a:avLst/>
              <a:gdLst>
                <a:gd name="T0" fmla="*/ 635 w 1632"/>
                <a:gd name="T1" fmla="*/ 3410 h 3410"/>
                <a:gd name="T2" fmla="*/ 635 w 1632"/>
                <a:gd name="T3" fmla="*/ 3077 h 3410"/>
                <a:gd name="T4" fmla="*/ 1632 w 1632"/>
                <a:gd name="T5" fmla="*/ 1749 h 3410"/>
                <a:gd name="T6" fmla="*/ 182 w 1632"/>
                <a:gd name="T7" fmla="*/ 350 h 3410"/>
                <a:gd name="T8" fmla="*/ 0 w 1632"/>
                <a:gd name="T9" fmla="*/ 175 h 3410"/>
                <a:gd name="T10" fmla="*/ 182 w 1632"/>
                <a:gd name="T11" fmla="*/ 0 h 3410"/>
                <a:gd name="T12" fmla="*/ 363 w 1632"/>
                <a:gd name="T13" fmla="*/ 175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410">
                  <a:moveTo>
                    <a:pt x="635" y="3410"/>
                  </a:moveTo>
                  <a:cubicBezTo>
                    <a:pt x="635" y="3077"/>
                    <a:pt x="635" y="3077"/>
                    <a:pt x="635" y="3077"/>
                  </a:cubicBezTo>
                  <a:cubicBezTo>
                    <a:pt x="1214" y="2893"/>
                    <a:pt x="1632" y="2368"/>
                    <a:pt x="1632" y="1749"/>
                  </a:cubicBezTo>
                  <a:cubicBezTo>
                    <a:pt x="1632" y="976"/>
                    <a:pt x="983" y="350"/>
                    <a:pt x="182" y="350"/>
                  </a:cubicBezTo>
                  <a:cubicBezTo>
                    <a:pt x="81" y="350"/>
                    <a:pt x="0" y="271"/>
                    <a:pt x="0" y="175"/>
                  </a:cubicBezTo>
                  <a:cubicBezTo>
                    <a:pt x="0" y="78"/>
                    <a:pt x="81" y="0"/>
                    <a:pt x="182" y="0"/>
                  </a:cubicBezTo>
                  <a:cubicBezTo>
                    <a:pt x="282" y="0"/>
                    <a:pt x="363" y="78"/>
                    <a:pt x="363" y="175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6268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328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619"/>
                    <a:pt x="418" y="1144"/>
                    <a:pt x="997" y="1328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7013" y="491"/>
              <a:ext cx="1339" cy="3081"/>
            </a:xfrm>
            <a:custGeom>
              <a:avLst/>
              <a:gdLst>
                <a:gd name="T0" fmla="*/ 634 w 1632"/>
                <a:gd name="T1" fmla="*/ 3760 h 3760"/>
                <a:gd name="T2" fmla="*/ 634 w 1632"/>
                <a:gd name="T3" fmla="*/ 3143 h 3760"/>
                <a:gd name="T4" fmla="*/ 1632 w 1632"/>
                <a:gd name="T5" fmla="*/ 2099 h 3760"/>
                <a:gd name="T6" fmla="*/ 544 w 1632"/>
                <a:gd name="T7" fmla="*/ 1049 h 3760"/>
                <a:gd name="T8" fmla="*/ 0 w 1632"/>
                <a:gd name="T9" fmla="*/ 525 h 3760"/>
                <a:gd name="T10" fmla="*/ 544 w 1632"/>
                <a:gd name="T11" fmla="*/ 0 h 3760"/>
                <a:gd name="T12" fmla="*/ 1088 w 1632"/>
                <a:gd name="T13" fmla="*/ 525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634" y="3760"/>
                  </a:moveTo>
                  <a:cubicBezTo>
                    <a:pt x="634" y="3143"/>
                    <a:pt x="634" y="3143"/>
                    <a:pt x="634" y="3143"/>
                  </a:cubicBezTo>
                  <a:cubicBezTo>
                    <a:pt x="1193" y="3099"/>
                    <a:pt x="1632" y="2649"/>
                    <a:pt x="1632" y="2099"/>
                  </a:cubicBezTo>
                  <a:cubicBezTo>
                    <a:pt x="1632" y="1519"/>
                    <a:pt x="1144" y="1049"/>
                    <a:pt x="544" y="1049"/>
                  </a:cubicBezTo>
                  <a:cubicBezTo>
                    <a:pt x="243" y="1049"/>
                    <a:pt x="0" y="814"/>
                    <a:pt x="0" y="525"/>
                  </a:cubicBezTo>
                  <a:cubicBezTo>
                    <a:pt x="0" y="235"/>
                    <a:pt x="243" y="0"/>
                    <a:pt x="544" y="0"/>
                  </a:cubicBezTo>
                  <a:cubicBezTo>
                    <a:pt x="844" y="0"/>
                    <a:pt x="1088" y="235"/>
                    <a:pt x="1088" y="525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6566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044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550"/>
                    <a:pt x="439" y="1000"/>
                    <a:pt x="997" y="1044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Financial Institution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chemeClr val="accent1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chemeClr val="accent1"/>
                </a:solidFill>
              </a:defRPr>
            </a:lvl1pPr>
          </a:lstStyle>
          <a:p>
            <a:pPr algn="r"/>
            <a:fld id="{824112EE-3289-4411-9154-F718BF795D1F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274835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solidFill>
          <a:srgbClr val="37B7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35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36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37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39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33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7" name="Group 11"/>
          <p:cNvGrpSpPr>
            <a:grpSpLocks noChangeAspect="1"/>
          </p:cNvGrpSpPr>
          <p:nvPr/>
        </p:nvGrpSpPr>
        <p:grpSpPr bwMode="auto">
          <a:xfrm>
            <a:off x="5279434" y="423101"/>
            <a:ext cx="2806367" cy="4729923"/>
            <a:chOff x="6268" y="-441"/>
            <a:chExt cx="2381" cy="4013"/>
          </a:xfrm>
        </p:grpSpPr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7682" y="-441"/>
              <a:ext cx="819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466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76"/>
                    <a:pt x="570" y="587"/>
                    <a:pt x="0" y="46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7831" y="-441"/>
              <a:ext cx="818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333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42"/>
                    <a:pt x="579" y="517"/>
                    <a:pt x="0" y="33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7533" y="-441"/>
              <a:ext cx="819" cy="1361"/>
            </a:xfrm>
            <a:custGeom>
              <a:avLst/>
              <a:gdLst>
                <a:gd name="T0" fmla="*/ 998 w 998"/>
                <a:gd name="T1" fmla="*/ 1661 h 1661"/>
                <a:gd name="T2" fmla="*/ 0 w 998"/>
                <a:gd name="T3" fmla="*/ 617 h 1661"/>
                <a:gd name="T4" fmla="*/ 0 w 998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998" y="1661"/>
                  </a:moveTo>
                  <a:cubicBezTo>
                    <a:pt x="998" y="1112"/>
                    <a:pt x="559" y="661"/>
                    <a:pt x="0" y="6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6715" y="348"/>
              <a:ext cx="1488" cy="2579"/>
            </a:xfrm>
            <a:custGeom>
              <a:avLst/>
              <a:gdLst>
                <a:gd name="T0" fmla="*/ 0 w 1813"/>
                <a:gd name="T1" fmla="*/ 2274 h 3148"/>
                <a:gd name="T2" fmla="*/ 907 w 1813"/>
                <a:gd name="T3" fmla="*/ 3148 h 3148"/>
                <a:gd name="T4" fmla="*/ 1813 w 1813"/>
                <a:gd name="T5" fmla="*/ 2274 h 3148"/>
                <a:gd name="T6" fmla="*/ 907 w 1813"/>
                <a:gd name="T7" fmla="*/ 1399 h 3148"/>
                <a:gd name="T8" fmla="*/ 181 w 1813"/>
                <a:gd name="T9" fmla="*/ 700 h 3148"/>
                <a:gd name="T10" fmla="*/ 907 w 1813"/>
                <a:gd name="T11" fmla="*/ 0 h 3148"/>
                <a:gd name="T12" fmla="*/ 1632 w 1813"/>
                <a:gd name="T13" fmla="*/ 700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0" y="2274"/>
                  </a:moveTo>
                  <a:cubicBezTo>
                    <a:pt x="0" y="2756"/>
                    <a:pt x="406" y="3148"/>
                    <a:pt x="907" y="3148"/>
                  </a:cubicBezTo>
                  <a:cubicBezTo>
                    <a:pt x="1407" y="3148"/>
                    <a:pt x="1813" y="2756"/>
                    <a:pt x="1813" y="2274"/>
                  </a:cubicBezTo>
                  <a:cubicBezTo>
                    <a:pt x="1813" y="1791"/>
                    <a:pt x="1407" y="1399"/>
                    <a:pt x="907" y="1399"/>
                  </a:cubicBezTo>
                  <a:cubicBezTo>
                    <a:pt x="506" y="1399"/>
                    <a:pt x="181" y="1086"/>
                    <a:pt x="181" y="700"/>
                  </a:cubicBezTo>
                  <a:cubicBezTo>
                    <a:pt x="181" y="313"/>
                    <a:pt x="506" y="0"/>
                    <a:pt x="907" y="0"/>
                  </a:cubicBezTo>
                  <a:cubicBezTo>
                    <a:pt x="1307" y="0"/>
                    <a:pt x="1632" y="313"/>
                    <a:pt x="1632" y="70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6715" y="204"/>
              <a:ext cx="1488" cy="2580"/>
            </a:xfrm>
            <a:custGeom>
              <a:avLst/>
              <a:gdLst>
                <a:gd name="T0" fmla="*/ 181 w 1813"/>
                <a:gd name="T1" fmla="*/ 2449 h 3148"/>
                <a:gd name="T2" fmla="*/ 907 w 1813"/>
                <a:gd name="T3" fmla="*/ 3148 h 3148"/>
                <a:gd name="T4" fmla="*/ 1632 w 1813"/>
                <a:gd name="T5" fmla="*/ 2449 h 3148"/>
                <a:gd name="T6" fmla="*/ 907 w 1813"/>
                <a:gd name="T7" fmla="*/ 1749 h 3148"/>
                <a:gd name="T8" fmla="*/ 0 w 1813"/>
                <a:gd name="T9" fmla="*/ 875 h 3148"/>
                <a:gd name="T10" fmla="*/ 907 w 1813"/>
                <a:gd name="T11" fmla="*/ 0 h 3148"/>
                <a:gd name="T12" fmla="*/ 1813 w 1813"/>
                <a:gd name="T13" fmla="*/ 875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181" y="2449"/>
                  </a:moveTo>
                  <a:cubicBezTo>
                    <a:pt x="181" y="2835"/>
                    <a:pt x="506" y="3148"/>
                    <a:pt x="907" y="3148"/>
                  </a:cubicBezTo>
                  <a:cubicBezTo>
                    <a:pt x="1307" y="3148"/>
                    <a:pt x="1632" y="2835"/>
                    <a:pt x="1632" y="2449"/>
                  </a:cubicBezTo>
                  <a:cubicBezTo>
                    <a:pt x="1632" y="2062"/>
                    <a:pt x="1307" y="1749"/>
                    <a:pt x="907" y="1749"/>
                  </a:cubicBezTo>
                  <a:cubicBezTo>
                    <a:pt x="406" y="1749"/>
                    <a:pt x="0" y="1357"/>
                    <a:pt x="0" y="875"/>
                  </a:cubicBezTo>
                  <a:cubicBezTo>
                    <a:pt x="0" y="392"/>
                    <a:pt x="406" y="0"/>
                    <a:pt x="907" y="0"/>
                  </a:cubicBezTo>
                  <a:cubicBezTo>
                    <a:pt x="1407" y="0"/>
                    <a:pt x="1813" y="392"/>
                    <a:pt x="1813" y="87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6566" y="-441"/>
              <a:ext cx="1340" cy="3081"/>
            </a:xfrm>
            <a:custGeom>
              <a:avLst/>
              <a:gdLst>
                <a:gd name="T0" fmla="*/ 997 w 1632"/>
                <a:gd name="T1" fmla="*/ 0 h 3760"/>
                <a:gd name="T2" fmla="*/ 997 w 1632"/>
                <a:gd name="T3" fmla="*/ 617 h 3760"/>
                <a:gd name="T4" fmla="*/ 0 w 1632"/>
                <a:gd name="T5" fmla="*/ 1661 h 3760"/>
                <a:gd name="T6" fmla="*/ 1088 w 1632"/>
                <a:gd name="T7" fmla="*/ 2711 h 3760"/>
                <a:gd name="T8" fmla="*/ 1632 w 1632"/>
                <a:gd name="T9" fmla="*/ 3236 h 3760"/>
                <a:gd name="T10" fmla="*/ 1088 w 1632"/>
                <a:gd name="T11" fmla="*/ 3760 h 3760"/>
                <a:gd name="T12" fmla="*/ 544 w 1632"/>
                <a:gd name="T13" fmla="*/ 3236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997" y="0"/>
                  </a:moveTo>
                  <a:cubicBezTo>
                    <a:pt x="997" y="617"/>
                    <a:pt x="997" y="617"/>
                    <a:pt x="997" y="617"/>
                  </a:cubicBezTo>
                  <a:cubicBezTo>
                    <a:pt x="439" y="661"/>
                    <a:pt x="0" y="1112"/>
                    <a:pt x="0" y="1661"/>
                  </a:cubicBezTo>
                  <a:cubicBezTo>
                    <a:pt x="0" y="2241"/>
                    <a:pt x="487" y="2711"/>
                    <a:pt x="1088" y="2711"/>
                  </a:cubicBezTo>
                  <a:cubicBezTo>
                    <a:pt x="1388" y="2711"/>
                    <a:pt x="1632" y="2946"/>
                    <a:pt x="1632" y="3236"/>
                  </a:cubicBezTo>
                  <a:cubicBezTo>
                    <a:pt x="1632" y="3525"/>
                    <a:pt x="1388" y="3760"/>
                    <a:pt x="1088" y="3760"/>
                  </a:cubicBezTo>
                  <a:cubicBezTo>
                    <a:pt x="787" y="3760"/>
                    <a:pt x="544" y="3525"/>
                    <a:pt x="544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6417" y="-441"/>
              <a:ext cx="1339" cy="2938"/>
            </a:xfrm>
            <a:custGeom>
              <a:avLst/>
              <a:gdLst>
                <a:gd name="T0" fmla="*/ 998 w 1632"/>
                <a:gd name="T1" fmla="*/ 0 h 3585"/>
                <a:gd name="T2" fmla="*/ 998 w 1632"/>
                <a:gd name="T3" fmla="*/ 466 h 3585"/>
                <a:gd name="T4" fmla="*/ 0 w 1632"/>
                <a:gd name="T5" fmla="*/ 1661 h 3585"/>
                <a:gd name="T6" fmla="*/ 1270 w 1632"/>
                <a:gd name="T7" fmla="*/ 2886 h 3585"/>
                <a:gd name="T8" fmla="*/ 1632 w 1632"/>
                <a:gd name="T9" fmla="*/ 3236 h 3585"/>
                <a:gd name="T10" fmla="*/ 1270 w 1632"/>
                <a:gd name="T11" fmla="*/ 3585 h 3585"/>
                <a:gd name="T12" fmla="*/ 907 w 1632"/>
                <a:gd name="T13" fmla="*/ 3236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998" y="0"/>
                  </a:moveTo>
                  <a:cubicBezTo>
                    <a:pt x="998" y="466"/>
                    <a:pt x="998" y="466"/>
                    <a:pt x="998" y="466"/>
                  </a:cubicBezTo>
                  <a:cubicBezTo>
                    <a:pt x="427" y="586"/>
                    <a:pt x="0" y="1076"/>
                    <a:pt x="0" y="1661"/>
                  </a:cubicBezTo>
                  <a:cubicBezTo>
                    <a:pt x="0" y="2338"/>
                    <a:pt x="569" y="2886"/>
                    <a:pt x="1270" y="2886"/>
                  </a:cubicBezTo>
                  <a:cubicBezTo>
                    <a:pt x="1470" y="2886"/>
                    <a:pt x="1632" y="3042"/>
                    <a:pt x="1632" y="3236"/>
                  </a:cubicBezTo>
                  <a:cubicBezTo>
                    <a:pt x="1632" y="3429"/>
                    <a:pt x="1470" y="3585"/>
                    <a:pt x="1270" y="3585"/>
                  </a:cubicBezTo>
                  <a:cubicBezTo>
                    <a:pt x="1069" y="3585"/>
                    <a:pt x="907" y="3429"/>
                    <a:pt x="907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auto">
            <a:xfrm>
              <a:off x="6268" y="-441"/>
              <a:ext cx="1340" cy="2795"/>
            </a:xfrm>
            <a:custGeom>
              <a:avLst/>
              <a:gdLst>
                <a:gd name="T0" fmla="*/ 997 w 1632"/>
                <a:gd name="T1" fmla="*/ 0 h 3410"/>
                <a:gd name="T2" fmla="*/ 997 w 1632"/>
                <a:gd name="T3" fmla="*/ 333 h 3410"/>
                <a:gd name="T4" fmla="*/ 997 w 1632"/>
                <a:gd name="T5" fmla="*/ 333 h 3410"/>
                <a:gd name="T6" fmla="*/ 0 w 1632"/>
                <a:gd name="T7" fmla="*/ 1661 h 3410"/>
                <a:gd name="T8" fmla="*/ 1451 w 1632"/>
                <a:gd name="T9" fmla="*/ 3061 h 3410"/>
                <a:gd name="T10" fmla="*/ 1632 w 1632"/>
                <a:gd name="T11" fmla="*/ 3236 h 3410"/>
                <a:gd name="T12" fmla="*/ 1451 w 1632"/>
                <a:gd name="T13" fmla="*/ 3410 h 3410"/>
                <a:gd name="T14" fmla="*/ 1269 w 1632"/>
                <a:gd name="T15" fmla="*/ 3236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2" h="3410">
                  <a:moveTo>
                    <a:pt x="997" y="0"/>
                  </a:moveTo>
                  <a:cubicBezTo>
                    <a:pt x="997" y="333"/>
                    <a:pt x="997" y="333"/>
                    <a:pt x="997" y="333"/>
                  </a:cubicBezTo>
                  <a:cubicBezTo>
                    <a:pt x="997" y="333"/>
                    <a:pt x="997" y="333"/>
                    <a:pt x="997" y="333"/>
                  </a:cubicBezTo>
                  <a:cubicBezTo>
                    <a:pt x="418" y="517"/>
                    <a:pt x="0" y="1042"/>
                    <a:pt x="0" y="1661"/>
                  </a:cubicBezTo>
                  <a:cubicBezTo>
                    <a:pt x="0" y="2434"/>
                    <a:pt x="649" y="3061"/>
                    <a:pt x="1451" y="3061"/>
                  </a:cubicBezTo>
                  <a:cubicBezTo>
                    <a:pt x="1551" y="3061"/>
                    <a:pt x="1632" y="3139"/>
                    <a:pt x="1632" y="3236"/>
                  </a:cubicBezTo>
                  <a:cubicBezTo>
                    <a:pt x="1632" y="3332"/>
                    <a:pt x="1551" y="3410"/>
                    <a:pt x="1451" y="3410"/>
                  </a:cubicBezTo>
                  <a:cubicBezTo>
                    <a:pt x="1350" y="3410"/>
                    <a:pt x="1269" y="3332"/>
                    <a:pt x="1269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7" name="Freeform 20"/>
            <p:cNvSpPr>
              <a:spLocks/>
            </p:cNvSpPr>
            <p:nvPr/>
          </p:nvSpPr>
          <p:spPr bwMode="auto">
            <a:xfrm>
              <a:off x="7161" y="634"/>
              <a:ext cx="1340" cy="2938"/>
            </a:xfrm>
            <a:custGeom>
              <a:avLst/>
              <a:gdLst>
                <a:gd name="T0" fmla="*/ 635 w 1632"/>
                <a:gd name="T1" fmla="*/ 3585 h 3585"/>
                <a:gd name="T2" fmla="*/ 635 w 1632"/>
                <a:gd name="T3" fmla="*/ 3119 h 3585"/>
                <a:gd name="T4" fmla="*/ 1632 w 1632"/>
                <a:gd name="T5" fmla="*/ 1924 h 3585"/>
                <a:gd name="T6" fmla="*/ 363 w 1632"/>
                <a:gd name="T7" fmla="*/ 699 h 3585"/>
                <a:gd name="T8" fmla="*/ 0 w 1632"/>
                <a:gd name="T9" fmla="*/ 350 h 3585"/>
                <a:gd name="T10" fmla="*/ 363 w 1632"/>
                <a:gd name="T11" fmla="*/ 0 h 3585"/>
                <a:gd name="T12" fmla="*/ 725 w 1632"/>
                <a:gd name="T13" fmla="*/ 350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635" y="3585"/>
                  </a:moveTo>
                  <a:cubicBezTo>
                    <a:pt x="635" y="3119"/>
                    <a:pt x="635" y="3119"/>
                    <a:pt x="635" y="3119"/>
                  </a:cubicBezTo>
                  <a:cubicBezTo>
                    <a:pt x="1205" y="2999"/>
                    <a:pt x="1632" y="2510"/>
                    <a:pt x="1632" y="1924"/>
                  </a:cubicBezTo>
                  <a:cubicBezTo>
                    <a:pt x="1632" y="1248"/>
                    <a:pt x="1064" y="699"/>
                    <a:pt x="363" y="699"/>
                  </a:cubicBezTo>
                  <a:cubicBezTo>
                    <a:pt x="162" y="699"/>
                    <a:pt x="0" y="543"/>
                    <a:pt x="0" y="350"/>
                  </a:cubicBezTo>
                  <a:cubicBezTo>
                    <a:pt x="0" y="157"/>
                    <a:pt x="162" y="0"/>
                    <a:pt x="363" y="0"/>
                  </a:cubicBezTo>
                  <a:cubicBezTo>
                    <a:pt x="563" y="0"/>
                    <a:pt x="725" y="157"/>
                    <a:pt x="725" y="35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auto">
            <a:xfrm>
              <a:off x="6417" y="2211"/>
              <a:ext cx="819" cy="1361"/>
            </a:xfrm>
            <a:custGeom>
              <a:avLst/>
              <a:gdLst>
                <a:gd name="T0" fmla="*/ 0 w 998"/>
                <a:gd name="T1" fmla="*/ 0 h 1661"/>
                <a:gd name="T2" fmla="*/ 998 w 998"/>
                <a:gd name="T3" fmla="*/ 1195 h 1661"/>
                <a:gd name="T4" fmla="*/ 998 w 998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0" y="0"/>
                  </a:moveTo>
                  <a:cubicBezTo>
                    <a:pt x="0" y="586"/>
                    <a:pt x="427" y="1075"/>
                    <a:pt x="998" y="1195"/>
                  </a:cubicBezTo>
                  <a:cubicBezTo>
                    <a:pt x="998" y="1661"/>
                    <a:pt x="998" y="1661"/>
                    <a:pt x="998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9" name="Freeform 22"/>
            <p:cNvSpPr>
              <a:spLocks/>
            </p:cNvSpPr>
            <p:nvPr/>
          </p:nvSpPr>
          <p:spPr bwMode="auto">
            <a:xfrm>
              <a:off x="7310" y="778"/>
              <a:ext cx="1339" cy="2794"/>
            </a:xfrm>
            <a:custGeom>
              <a:avLst/>
              <a:gdLst>
                <a:gd name="T0" fmla="*/ 635 w 1632"/>
                <a:gd name="T1" fmla="*/ 3410 h 3410"/>
                <a:gd name="T2" fmla="*/ 635 w 1632"/>
                <a:gd name="T3" fmla="*/ 3077 h 3410"/>
                <a:gd name="T4" fmla="*/ 1632 w 1632"/>
                <a:gd name="T5" fmla="*/ 1749 h 3410"/>
                <a:gd name="T6" fmla="*/ 182 w 1632"/>
                <a:gd name="T7" fmla="*/ 350 h 3410"/>
                <a:gd name="T8" fmla="*/ 0 w 1632"/>
                <a:gd name="T9" fmla="*/ 175 h 3410"/>
                <a:gd name="T10" fmla="*/ 182 w 1632"/>
                <a:gd name="T11" fmla="*/ 0 h 3410"/>
                <a:gd name="T12" fmla="*/ 363 w 1632"/>
                <a:gd name="T13" fmla="*/ 175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410">
                  <a:moveTo>
                    <a:pt x="635" y="3410"/>
                  </a:moveTo>
                  <a:cubicBezTo>
                    <a:pt x="635" y="3077"/>
                    <a:pt x="635" y="3077"/>
                    <a:pt x="635" y="3077"/>
                  </a:cubicBezTo>
                  <a:cubicBezTo>
                    <a:pt x="1214" y="2893"/>
                    <a:pt x="1632" y="2368"/>
                    <a:pt x="1632" y="1749"/>
                  </a:cubicBezTo>
                  <a:cubicBezTo>
                    <a:pt x="1632" y="976"/>
                    <a:pt x="983" y="350"/>
                    <a:pt x="182" y="350"/>
                  </a:cubicBezTo>
                  <a:cubicBezTo>
                    <a:pt x="81" y="350"/>
                    <a:pt x="0" y="271"/>
                    <a:pt x="0" y="175"/>
                  </a:cubicBezTo>
                  <a:cubicBezTo>
                    <a:pt x="0" y="78"/>
                    <a:pt x="81" y="0"/>
                    <a:pt x="182" y="0"/>
                  </a:cubicBezTo>
                  <a:cubicBezTo>
                    <a:pt x="282" y="0"/>
                    <a:pt x="363" y="78"/>
                    <a:pt x="363" y="17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auto">
            <a:xfrm>
              <a:off x="6268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328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619"/>
                    <a:pt x="418" y="1144"/>
                    <a:pt x="997" y="1328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auto">
            <a:xfrm>
              <a:off x="7013" y="491"/>
              <a:ext cx="1339" cy="3081"/>
            </a:xfrm>
            <a:custGeom>
              <a:avLst/>
              <a:gdLst>
                <a:gd name="T0" fmla="*/ 634 w 1632"/>
                <a:gd name="T1" fmla="*/ 3760 h 3760"/>
                <a:gd name="T2" fmla="*/ 634 w 1632"/>
                <a:gd name="T3" fmla="*/ 3143 h 3760"/>
                <a:gd name="T4" fmla="*/ 1632 w 1632"/>
                <a:gd name="T5" fmla="*/ 2099 h 3760"/>
                <a:gd name="T6" fmla="*/ 544 w 1632"/>
                <a:gd name="T7" fmla="*/ 1049 h 3760"/>
                <a:gd name="T8" fmla="*/ 0 w 1632"/>
                <a:gd name="T9" fmla="*/ 525 h 3760"/>
                <a:gd name="T10" fmla="*/ 544 w 1632"/>
                <a:gd name="T11" fmla="*/ 0 h 3760"/>
                <a:gd name="T12" fmla="*/ 1088 w 1632"/>
                <a:gd name="T13" fmla="*/ 525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634" y="3760"/>
                  </a:moveTo>
                  <a:cubicBezTo>
                    <a:pt x="634" y="3143"/>
                    <a:pt x="634" y="3143"/>
                    <a:pt x="634" y="3143"/>
                  </a:cubicBezTo>
                  <a:cubicBezTo>
                    <a:pt x="1193" y="3099"/>
                    <a:pt x="1632" y="2649"/>
                    <a:pt x="1632" y="2099"/>
                  </a:cubicBezTo>
                  <a:cubicBezTo>
                    <a:pt x="1632" y="1519"/>
                    <a:pt x="1144" y="1049"/>
                    <a:pt x="544" y="1049"/>
                  </a:cubicBezTo>
                  <a:cubicBezTo>
                    <a:pt x="243" y="1049"/>
                    <a:pt x="0" y="814"/>
                    <a:pt x="0" y="525"/>
                  </a:cubicBezTo>
                  <a:cubicBezTo>
                    <a:pt x="0" y="235"/>
                    <a:pt x="243" y="0"/>
                    <a:pt x="544" y="0"/>
                  </a:cubicBezTo>
                  <a:cubicBezTo>
                    <a:pt x="844" y="0"/>
                    <a:pt x="1088" y="235"/>
                    <a:pt x="1088" y="52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32" name="Freeform 25"/>
            <p:cNvSpPr>
              <a:spLocks/>
            </p:cNvSpPr>
            <p:nvPr/>
          </p:nvSpPr>
          <p:spPr bwMode="auto">
            <a:xfrm>
              <a:off x="6566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044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550"/>
                    <a:pt x="439" y="1000"/>
                    <a:pt x="997" y="1044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5922B81A-36E2-4A78-98CE-EBCC827B8C79}" type="datetime1">
              <a:rPr lang="en-GB" smtClean="0"/>
              <a:t>24/01/2018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384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11"/>
          <p:cNvGrpSpPr>
            <a:grpSpLocks noChangeAspect="1"/>
          </p:cNvGrpSpPr>
          <p:nvPr/>
        </p:nvGrpSpPr>
        <p:grpSpPr bwMode="auto">
          <a:xfrm>
            <a:off x="5279434" y="423101"/>
            <a:ext cx="2806367" cy="4729923"/>
            <a:chOff x="6268" y="-441"/>
            <a:chExt cx="2381" cy="4013"/>
          </a:xfrm>
        </p:grpSpPr>
        <p:sp>
          <p:nvSpPr>
            <p:cNvPr id="11" name="Freeform 12"/>
            <p:cNvSpPr>
              <a:spLocks/>
            </p:cNvSpPr>
            <p:nvPr/>
          </p:nvSpPr>
          <p:spPr bwMode="auto">
            <a:xfrm>
              <a:off x="7682" y="-441"/>
              <a:ext cx="819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466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76"/>
                    <a:pt x="570" y="587"/>
                    <a:pt x="0" y="46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2" name="Freeform 13"/>
            <p:cNvSpPr>
              <a:spLocks/>
            </p:cNvSpPr>
            <p:nvPr/>
          </p:nvSpPr>
          <p:spPr bwMode="auto">
            <a:xfrm>
              <a:off x="7831" y="-441"/>
              <a:ext cx="818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333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42"/>
                    <a:pt x="579" y="517"/>
                    <a:pt x="0" y="33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3" name="Freeform 14"/>
            <p:cNvSpPr>
              <a:spLocks/>
            </p:cNvSpPr>
            <p:nvPr/>
          </p:nvSpPr>
          <p:spPr bwMode="auto">
            <a:xfrm>
              <a:off x="7533" y="-441"/>
              <a:ext cx="819" cy="1361"/>
            </a:xfrm>
            <a:custGeom>
              <a:avLst/>
              <a:gdLst>
                <a:gd name="T0" fmla="*/ 998 w 998"/>
                <a:gd name="T1" fmla="*/ 1661 h 1661"/>
                <a:gd name="T2" fmla="*/ 0 w 998"/>
                <a:gd name="T3" fmla="*/ 617 h 1661"/>
                <a:gd name="T4" fmla="*/ 0 w 998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998" y="1661"/>
                  </a:moveTo>
                  <a:cubicBezTo>
                    <a:pt x="998" y="1112"/>
                    <a:pt x="559" y="661"/>
                    <a:pt x="0" y="6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6715" y="348"/>
              <a:ext cx="1488" cy="2579"/>
            </a:xfrm>
            <a:custGeom>
              <a:avLst/>
              <a:gdLst>
                <a:gd name="T0" fmla="*/ 0 w 1813"/>
                <a:gd name="T1" fmla="*/ 2274 h 3148"/>
                <a:gd name="T2" fmla="*/ 907 w 1813"/>
                <a:gd name="T3" fmla="*/ 3148 h 3148"/>
                <a:gd name="T4" fmla="*/ 1813 w 1813"/>
                <a:gd name="T5" fmla="*/ 2274 h 3148"/>
                <a:gd name="T6" fmla="*/ 907 w 1813"/>
                <a:gd name="T7" fmla="*/ 1399 h 3148"/>
                <a:gd name="T8" fmla="*/ 181 w 1813"/>
                <a:gd name="T9" fmla="*/ 700 h 3148"/>
                <a:gd name="T10" fmla="*/ 907 w 1813"/>
                <a:gd name="T11" fmla="*/ 0 h 3148"/>
                <a:gd name="T12" fmla="*/ 1632 w 1813"/>
                <a:gd name="T13" fmla="*/ 700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0" y="2274"/>
                  </a:moveTo>
                  <a:cubicBezTo>
                    <a:pt x="0" y="2756"/>
                    <a:pt x="406" y="3148"/>
                    <a:pt x="907" y="3148"/>
                  </a:cubicBezTo>
                  <a:cubicBezTo>
                    <a:pt x="1407" y="3148"/>
                    <a:pt x="1813" y="2756"/>
                    <a:pt x="1813" y="2274"/>
                  </a:cubicBezTo>
                  <a:cubicBezTo>
                    <a:pt x="1813" y="1791"/>
                    <a:pt x="1407" y="1399"/>
                    <a:pt x="907" y="1399"/>
                  </a:cubicBezTo>
                  <a:cubicBezTo>
                    <a:pt x="506" y="1399"/>
                    <a:pt x="181" y="1086"/>
                    <a:pt x="181" y="700"/>
                  </a:cubicBezTo>
                  <a:cubicBezTo>
                    <a:pt x="181" y="313"/>
                    <a:pt x="506" y="0"/>
                    <a:pt x="907" y="0"/>
                  </a:cubicBezTo>
                  <a:cubicBezTo>
                    <a:pt x="1307" y="0"/>
                    <a:pt x="1632" y="313"/>
                    <a:pt x="1632" y="70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6715" y="204"/>
              <a:ext cx="1488" cy="2580"/>
            </a:xfrm>
            <a:custGeom>
              <a:avLst/>
              <a:gdLst>
                <a:gd name="T0" fmla="*/ 181 w 1813"/>
                <a:gd name="T1" fmla="*/ 2449 h 3148"/>
                <a:gd name="T2" fmla="*/ 907 w 1813"/>
                <a:gd name="T3" fmla="*/ 3148 h 3148"/>
                <a:gd name="T4" fmla="*/ 1632 w 1813"/>
                <a:gd name="T5" fmla="*/ 2449 h 3148"/>
                <a:gd name="T6" fmla="*/ 907 w 1813"/>
                <a:gd name="T7" fmla="*/ 1749 h 3148"/>
                <a:gd name="T8" fmla="*/ 0 w 1813"/>
                <a:gd name="T9" fmla="*/ 875 h 3148"/>
                <a:gd name="T10" fmla="*/ 907 w 1813"/>
                <a:gd name="T11" fmla="*/ 0 h 3148"/>
                <a:gd name="T12" fmla="*/ 1813 w 1813"/>
                <a:gd name="T13" fmla="*/ 875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181" y="2449"/>
                  </a:moveTo>
                  <a:cubicBezTo>
                    <a:pt x="181" y="2835"/>
                    <a:pt x="506" y="3148"/>
                    <a:pt x="907" y="3148"/>
                  </a:cubicBezTo>
                  <a:cubicBezTo>
                    <a:pt x="1307" y="3148"/>
                    <a:pt x="1632" y="2835"/>
                    <a:pt x="1632" y="2449"/>
                  </a:cubicBezTo>
                  <a:cubicBezTo>
                    <a:pt x="1632" y="2062"/>
                    <a:pt x="1307" y="1749"/>
                    <a:pt x="907" y="1749"/>
                  </a:cubicBezTo>
                  <a:cubicBezTo>
                    <a:pt x="406" y="1749"/>
                    <a:pt x="0" y="1357"/>
                    <a:pt x="0" y="875"/>
                  </a:cubicBezTo>
                  <a:cubicBezTo>
                    <a:pt x="0" y="392"/>
                    <a:pt x="406" y="0"/>
                    <a:pt x="907" y="0"/>
                  </a:cubicBezTo>
                  <a:cubicBezTo>
                    <a:pt x="1407" y="0"/>
                    <a:pt x="1813" y="392"/>
                    <a:pt x="1813" y="875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6566" y="-441"/>
              <a:ext cx="1340" cy="3081"/>
            </a:xfrm>
            <a:custGeom>
              <a:avLst/>
              <a:gdLst>
                <a:gd name="T0" fmla="*/ 997 w 1632"/>
                <a:gd name="T1" fmla="*/ 0 h 3760"/>
                <a:gd name="T2" fmla="*/ 997 w 1632"/>
                <a:gd name="T3" fmla="*/ 617 h 3760"/>
                <a:gd name="T4" fmla="*/ 0 w 1632"/>
                <a:gd name="T5" fmla="*/ 1661 h 3760"/>
                <a:gd name="T6" fmla="*/ 1088 w 1632"/>
                <a:gd name="T7" fmla="*/ 2711 h 3760"/>
                <a:gd name="T8" fmla="*/ 1632 w 1632"/>
                <a:gd name="T9" fmla="*/ 3236 h 3760"/>
                <a:gd name="T10" fmla="*/ 1088 w 1632"/>
                <a:gd name="T11" fmla="*/ 3760 h 3760"/>
                <a:gd name="T12" fmla="*/ 544 w 1632"/>
                <a:gd name="T13" fmla="*/ 3236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997" y="0"/>
                  </a:moveTo>
                  <a:cubicBezTo>
                    <a:pt x="997" y="617"/>
                    <a:pt x="997" y="617"/>
                    <a:pt x="997" y="617"/>
                  </a:cubicBezTo>
                  <a:cubicBezTo>
                    <a:pt x="439" y="661"/>
                    <a:pt x="0" y="1112"/>
                    <a:pt x="0" y="1661"/>
                  </a:cubicBezTo>
                  <a:cubicBezTo>
                    <a:pt x="0" y="2241"/>
                    <a:pt x="487" y="2711"/>
                    <a:pt x="1088" y="2711"/>
                  </a:cubicBezTo>
                  <a:cubicBezTo>
                    <a:pt x="1388" y="2711"/>
                    <a:pt x="1632" y="2946"/>
                    <a:pt x="1632" y="3236"/>
                  </a:cubicBezTo>
                  <a:cubicBezTo>
                    <a:pt x="1632" y="3525"/>
                    <a:pt x="1388" y="3760"/>
                    <a:pt x="1088" y="3760"/>
                  </a:cubicBezTo>
                  <a:cubicBezTo>
                    <a:pt x="787" y="3760"/>
                    <a:pt x="544" y="3525"/>
                    <a:pt x="544" y="3236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6417" y="-441"/>
              <a:ext cx="1339" cy="2938"/>
            </a:xfrm>
            <a:custGeom>
              <a:avLst/>
              <a:gdLst>
                <a:gd name="T0" fmla="*/ 998 w 1632"/>
                <a:gd name="T1" fmla="*/ 0 h 3585"/>
                <a:gd name="T2" fmla="*/ 998 w 1632"/>
                <a:gd name="T3" fmla="*/ 466 h 3585"/>
                <a:gd name="T4" fmla="*/ 0 w 1632"/>
                <a:gd name="T5" fmla="*/ 1661 h 3585"/>
                <a:gd name="T6" fmla="*/ 1270 w 1632"/>
                <a:gd name="T7" fmla="*/ 2886 h 3585"/>
                <a:gd name="T8" fmla="*/ 1632 w 1632"/>
                <a:gd name="T9" fmla="*/ 3236 h 3585"/>
                <a:gd name="T10" fmla="*/ 1270 w 1632"/>
                <a:gd name="T11" fmla="*/ 3585 h 3585"/>
                <a:gd name="T12" fmla="*/ 907 w 1632"/>
                <a:gd name="T13" fmla="*/ 3236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998" y="0"/>
                  </a:moveTo>
                  <a:cubicBezTo>
                    <a:pt x="998" y="466"/>
                    <a:pt x="998" y="466"/>
                    <a:pt x="998" y="466"/>
                  </a:cubicBezTo>
                  <a:cubicBezTo>
                    <a:pt x="427" y="586"/>
                    <a:pt x="0" y="1076"/>
                    <a:pt x="0" y="1661"/>
                  </a:cubicBezTo>
                  <a:cubicBezTo>
                    <a:pt x="0" y="2338"/>
                    <a:pt x="569" y="2886"/>
                    <a:pt x="1270" y="2886"/>
                  </a:cubicBezTo>
                  <a:cubicBezTo>
                    <a:pt x="1470" y="2886"/>
                    <a:pt x="1632" y="3042"/>
                    <a:pt x="1632" y="3236"/>
                  </a:cubicBezTo>
                  <a:cubicBezTo>
                    <a:pt x="1632" y="3429"/>
                    <a:pt x="1470" y="3585"/>
                    <a:pt x="1270" y="3585"/>
                  </a:cubicBezTo>
                  <a:cubicBezTo>
                    <a:pt x="1069" y="3585"/>
                    <a:pt x="907" y="3429"/>
                    <a:pt x="907" y="3236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6268" y="-441"/>
              <a:ext cx="1340" cy="2795"/>
            </a:xfrm>
            <a:custGeom>
              <a:avLst/>
              <a:gdLst>
                <a:gd name="T0" fmla="*/ 997 w 1632"/>
                <a:gd name="T1" fmla="*/ 0 h 3410"/>
                <a:gd name="T2" fmla="*/ 997 w 1632"/>
                <a:gd name="T3" fmla="*/ 333 h 3410"/>
                <a:gd name="T4" fmla="*/ 997 w 1632"/>
                <a:gd name="T5" fmla="*/ 333 h 3410"/>
                <a:gd name="T6" fmla="*/ 0 w 1632"/>
                <a:gd name="T7" fmla="*/ 1661 h 3410"/>
                <a:gd name="T8" fmla="*/ 1451 w 1632"/>
                <a:gd name="T9" fmla="*/ 3061 h 3410"/>
                <a:gd name="T10" fmla="*/ 1632 w 1632"/>
                <a:gd name="T11" fmla="*/ 3236 h 3410"/>
                <a:gd name="T12" fmla="*/ 1451 w 1632"/>
                <a:gd name="T13" fmla="*/ 3410 h 3410"/>
                <a:gd name="T14" fmla="*/ 1269 w 1632"/>
                <a:gd name="T15" fmla="*/ 3236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2" h="3410">
                  <a:moveTo>
                    <a:pt x="997" y="0"/>
                  </a:moveTo>
                  <a:cubicBezTo>
                    <a:pt x="997" y="333"/>
                    <a:pt x="997" y="333"/>
                    <a:pt x="997" y="333"/>
                  </a:cubicBezTo>
                  <a:cubicBezTo>
                    <a:pt x="997" y="333"/>
                    <a:pt x="997" y="333"/>
                    <a:pt x="997" y="333"/>
                  </a:cubicBezTo>
                  <a:cubicBezTo>
                    <a:pt x="418" y="517"/>
                    <a:pt x="0" y="1042"/>
                    <a:pt x="0" y="1661"/>
                  </a:cubicBezTo>
                  <a:cubicBezTo>
                    <a:pt x="0" y="2434"/>
                    <a:pt x="649" y="3061"/>
                    <a:pt x="1451" y="3061"/>
                  </a:cubicBezTo>
                  <a:cubicBezTo>
                    <a:pt x="1551" y="3061"/>
                    <a:pt x="1632" y="3139"/>
                    <a:pt x="1632" y="3236"/>
                  </a:cubicBezTo>
                  <a:cubicBezTo>
                    <a:pt x="1632" y="3332"/>
                    <a:pt x="1551" y="3410"/>
                    <a:pt x="1451" y="3410"/>
                  </a:cubicBezTo>
                  <a:cubicBezTo>
                    <a:pt x="1350" y="3410"/>
                    <a:pt x="1269" y="3332"/>
                    <a:pt x="1269" y="3236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7161" y="634"/>
              <a:ext cx="1340" cy="2938"/>
            </a:xfrm>
            <a:custGeom>
              <a:avLst/>
              <a:gdLst>
                <a:gd name="T0" fmla="*/ 635 w 1632"/>
                <a:gd name="T1" fmla="*/ 3585 h 3585"/>
                <a:gd name="T2" fmla="*/ 635 w 1632"/>
                <a:gd name="T3" fmla="*/ 3119 h 3585"/>
                <a:gd name="T4" fmla="*/ 1632 w 1632"/>
                <a:gd name="T5" fmla="*/ 1924 h 3585"/>
                <a:gd name="T6" fmla="*/ 363 w 1632"/>
                <a:gd name="T7" fmla="*/ 699 h 3585"/>
                <a:gd name="T8" fmla="*/ 0 w 1632"/>
                <a:gd name="T9" fmla="*/ 350 h 3585"/>
                <a:gd name="T10" fmla="*/ 363 w 1632"/>
                <a:gd name="T11" fmla="*/ 0 h 3585"/>
                <a:gd name="T12" fmla="*/ 725 w 1632"/>
                <a:gd name="T13" fmla="*/ 350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635" y="3585"/>
                  </a:moveTo>
                  <a:cubicBezTo>
                    <a:pt x="635" y="3119"/>
                    <a:pt x="635" y="3119"/>
                    <a:pt x="635" y="3119"/>
                  </a:cubicBezTo>
                  <a:cubicBezTo>
                    <a:pt x="1205" y="2999"/>
                    <a:pt x="1632" y="2510"/>
                    <a:pt x="1632" y="1924"/>
                  </a:cubicBezTo>
                  <a:cubicBezTo>
                    <a:pt x="1632" y="1248"/>
                    <a:pt x="1064" y="699"/>
                    <a:pt x="363" y="699"/>
                  </a:cubicBezTo>
                  <a:cubicBezTo>
                    <a:pt x="162" y="699"/>
                    <a:pt x="0" y="543"/>
                    <a:pt x="0" y="350"/>
                  </a:cubicBezTo>
                  <a:cubicBezTo>
                    <a:pt x="0" y="157"/>
                    <a:pt x="162" y="0"/>
                    <a:pt x="363" y="0"/>
                  </a:cubicBezTo>
                  <a:cubicBezTo>
                    <a:pt x="563" y="0"/>
                    <a:pt x="725" y="157"/>
                    <a:pt x="725" y="35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0" name="Freeform 21"/>
            <p:cNvSpPr>
              <a:spLocks/>
            </p:cNvSpPr>
            <p:nvPr/>
          </p:nvSpPr>
          <p:spPr bwMode="auto">
            <a:xfrm>
              <a:off x="6417" y="2211"/>
              <a:ext cx="819" cy="1361"/>
            </a:xfrm>
            <a:custGeom>
              <a:avLst/>
              <a:gdLst>
                <a:gd name="T0" fmla="*/ 0 w 998"/>
                <a:gd name="T1" fmla="*/ 0 h 1661"/>
                <a:gd name="T2" fmla="*/ 998 w 998"/>
                <a:gd name="T3" fmla="*/ 1195 h 1661"/>
                <a:gd name="T4" fmla="*/ 998 w 998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0" y="0"/>
                  </a:moveTo>
                  <a:cubicBezTo>
                    <a:pt x="0" y="586"/>
                    <a:pt x="427" y="1075"/>
                    <a:pt x="998" y="1195"/>
                  </a:cubicBezTo>
                  <a:cubicBezTo>
                    <a:pt x="998" y="1661"/>
                    <a:pt x="998" y="1661"/>
                    <a:pt x="998" y="1661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1" name="Freeform 22"/>
            <p:cNvSpPr>
              <a:spLocks/>
            </p:cNvSpPr>
            <p:nvPr/>
          </p:nvSpPr>
          <p:spPr bwMode="auto">
            <a:xfrm>
              <a:off x="7310" y="778"/>
              <a:ext cx="1339" cy="2794"/>
            </a:xfrm>
            <a:custGeom>
              <a:avLst/>
              <a:gdLst>
                <a:gd name="T0" fmla="*/ 635 w 1632"/>
                <a:gd name="T1" fmla="*/ 3410 h 3410"/>
                <a:gd name="T2" fmla="*/ 635 w 1632"/>
                <a:gd name="T3" fmla="*/ 3077 h 3410"/>
                <a:gd name="T4" fmla="*/ 1632 w 1632"/>
                <a:gd name="T5" fmla="*/ 1749 h 3410"/>
                <a:gd name="T6" fmla="*/ 182 w 1632"/>
                <a:gd name="T7" fmla="*/ 350 h 3410"/>
                <a:gd name="T8" fmla="*/ 0 w 1632"/>
                <a:gd name="T9" fmla="*/ 175 h 3410"/>
                <a:gd name="T10" fmla="*/ 182 w 1632"/>
                <a:gd name="T11" fmla="*/ 0 h 3410"/>
                <a:gd name="T12" fmla="*/ 363 w 1632"/>
                <a:gd name="T13" fmla="*/ 175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410">
                  <a:moveTo>
                    <a:pt x="635" y="3410"/>
                  </a:moveTo>
                  <a:cubicBezTo>
                    <a:pt x="635" y="3077"/>
                    <a:pt x="635" y="3077"/>
                    <a:pt x="635" y="3077"/>
                  </a:cubicBezTo>
                  <a:cubicBezTo>
                    <a:pt x="1214" y="2893"/>
                    <a:pt x="1632" y="2368"/>
                    <a:pt x="1632" y="1749"/>
                  </a:cubicBezTo>
                  <a:cubicBezTo>
                    <a:pt x="1632" y="976"/>
                    <a:pt x="983" y="350"/>
                    <a:pt x="182" y="350"/>
                  </a:cubicBezTo>
                  <a:cubicBezTo>
                    <a:pt x="81" y="350"/>
                    <a:pt x="0" y="271"/>
                    <a:pt x="0" y="175"/>
                  </a:cubicBezTo>
                  <a:cubicBezTo>
                    <a:pt x="0" y="78"/>
                    <a:pt x="81" y="0"/>
                    <a:pt x="182" y="0"/>
                  </a:cubicBezTo>
                  <a:cubicBezTo>
                    <a:pt x="282" y="0"/>
                    <a:pt x="363" y="78"/>
                    <a:pt x="363" y="175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6268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328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619"/>
                    <a:pt x="418" y="1144"/>
                    <a:pt x="997" y="1328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3" name="Freeform 24"/>
            <p:cNvSpPr>
              <a:spLocks/>
            </p:cNvSpPr>
            <p:nvPr/>
          </p:nvSpPr>
          <p:spPr bwMode="auto">
            <a:xfrm>
              <a:off x="7013" y="491"/>
              <a:ext cx="1339" cy="3081"/>
            </a:xfrm>
            <a:custGeom>
              <a:avLst/>
              <a:gdLst>
                <a:gd name="T0" fmla="*/ 634 w 1632"/>
                <a:gd name="T1" fmla="*/ 3760 h 3760"/>
                <a:gd name="T2" fmla="*/ 634 w 1632"/>
                <a:gd name="T3" fmla="*/ 3143 h 3760"/>
                <a:gd name="T4" fmla="*/ 1632 w 1632"/>
                <a:gd name="T5" fmla="*/ 2099 h 3760"/>
                <a:gd name="T6" fmla="*/ 544 w 1632"/>
                <a:gd name="T7" fmla="*/ 1049 h 3760"/>
                <a:gd name="T8" fmla="*/ 0 w 1632"/>
                <a:gd name="T9" fmla="*/ 525 h 3760"/>
                <a:gd name="T10" fmla="*/ 544 w 1632"/>
                <a:gd name="T11" fmla="*/ 0 h 3760"/>
                <a:gd name="T12" fmla="*/ 1088 w 1632"/>
                <a:gd name="T13" fmla="*/ 525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634" y="3760"/>
                  </a:moveTo>
                  <a:cubicBezTo>
                    <a:pt x="634" y="3143"/>
                    <a:pt x="634" y="3143"/>
                    <a:pt x="634" y="3143"/>
                  </a:cubicBezTo>
                  <a:cubicBezTo>
                    <a:pt x="1193" y="3099"/>
                    <a:pt x="1632" y="2649"/>
                    <a:pt x="1632" y="2099"/>
                  </a:cubicBezTo>
                  <a:cubicBezTo>
                    <a:pt x="1632" y="1519"/>
                    <a:pt x="1144" y="1049"/>
                    <a:pt x="544" y="1049"/>
                  </a:cubicBezTo>
                  <a:cubicBezTo>
                    <a:pt x="243" y="1049"/>
                    <a:pt x="0" y="814"/>
                    <a:pt x="0" y="525"/>
                  </a:cubicBezTo>
                  <a:cubicBezTo>
                    <a:pt x="0" y="235"/>
                    <a:pt x="243" y="0"/>
                    <a:pt x="544" y="0"/>
                  </a:cubicBezTo>
                  <a:cubicBezTo>
                    <a:pt x="844" y="0"/>
                    <a:pt x="1088" y="235"/>
                    <a:pt x="1088" y="525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6566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044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550"/>
                    <a:pt x="439" y="1000"/>
                    <a:pt x="997" y="1044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773C1831-422C-4D5C-A05F-5AB68F708B89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25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26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27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11870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84B59AFC-F593-4F25-B372-F4B72831BA15}" type="datetime1">
              <a:rPr lang="en-GB" smtClean="0"/>
              <a:t>24/01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640789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0DE600C-34C5-4D31-98F6-B5253BADF73F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5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332919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8CEDC636-C11C-44BF-A425-927258169040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32250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re et 4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1B9C3CCD-582A-41B6-96EC-6D58B37932AF}" type="datetime1">
              <a:rPr lang="en-GB" smtClean="0"/>
              <a:t>24/01/2018</a:t>
            </a:fld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693146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199E288A-E0BA-4592-B91D-A3710A86DFCE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507217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A36199FE-B1A4-4A33-8119-A698EC1773DC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446519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B3912DD2-B667-4B2F-BE0B-1F313622EA78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882550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F47AA9BA-1877-44FA-995B-1317F0EB5648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710347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866E978C-DCF4-42C5-B7E7-83FCACB19912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520556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88A34723-9AC2-4240-B410-9B7792434171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31476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399" y="985500"/>
            <a:ext cx="39258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400" y="1571400"/>
            <a:ext cx="39258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78800" y="985500"/>
            <a:ext cx="39501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78800" y="1571400"/>
            <a:ext cx="39501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5FD6B6CA-DB6D-4C12-8930-C3F039DBD029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73205" y="1088122"/>
            <a:ext cx="0" cy="3637087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60037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2-Spli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re 1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72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52"/>
          </p:nvPr>
        </p:nvSpPr>
        <p:spPr bwMode="auto">
          <a:xfrm>
            <a:off x="4992683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55"/>
          </p:nvPr>
        </p:nvSpPr>
        <p:spPr/>
        <p:txBody>
          <a:bodyPr/>
          <a:lstStyle/>
          <a:p>
            <a:pPr algn="ctr"/>
            <a:fld id="{767A08A9-7E9D-4436-83F8-7D15C0CC4B7C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58"/>
          </p:nvPr>
        </p:nvSpPr>
        <p:spPr>
          <a:xfrm>
            <a:off x="842401" y="1373981"/>
            <a:ext cx="3912956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9"/>
          </p:nvPr>
        </p:nvSpPr>
        <p:spPr>
          <a:xfrm>
            <a:off x="4992683" y="1373981"/>
            <a:ext cx="3913200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60"/>
          </p:nvPr>
        </p:nvSpPr>
        <p:spPr>
          <a:xfrm>
            <a:off x="4992684" y="3137608"/>
            <a:ext cx="3913192" cy="1587983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61"/>
          </p:nvPr>
        </p:nvSpPr>
        <p:spPr>
          <a:xfrm>
            <a:off x="842963" y="3137298"/>
            <a:ext cx="3912394" cy="158829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527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2" y="935715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38"/>
          </p:nvPr>
        </p:nvSpPr>
        <p:spPr bwMode="auto">
          <a:xfrm>
            <a:off x="842459" y="2866853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3"/>
          </p:nvPr>
        </p:nvSpPr>
        <p:spPr bwMode="auto">
          <a:xfrm>
            <a:off x="4992673" y="923759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40"/>
          </p:nvPr>
        </p:nvSpPr>
        <p:spPr bwMode="auto">
          <a:xfrm>
            <a:off x="4992670" y="2873531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pPr algn="ctr"/>
            <a:fld id="{48D11C36-1529-4EA7-8CB3-F6AF78D35A17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4"/>
          </p:nvPr>
        </p:nvSpPr>
        <p:spPr>
          <a:xfrm>
            <a:off x="842401" y="1374031"/>
            <a:ext cx="3913259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5"/>
          </p:nvPr>
        </p:nvSpPr>
        <p:spPr>
          <a:xfrm>
            <a:off x="4992670" y="1374031"/>
            <a:ext cx="3913200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56"/>
          </p:nvPr>
        </p:nvSpPr>
        <p:spPr>
          <a:xfrm>
            <a:off x="4992291" y="3305175"/>
            <a:ext cx="3913584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57"/>
          </p:nvPr>
        </p:nvSpPr>
        <p:spPr>
          <a:xfrm>
            <a:off x="842401" y="3305175"/>
            <a:ext cx="3912956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76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34"/>
          </p:nvPr>
        </p:nvSpPr>
        <p:spPr bwMode="auto">
          <a:xfrm>
            <a:off x="3573370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32"/>
          </p:nvPr>
        </p:nvSpPr>
        <p:spPr bwMode="auto">
          <a:xfrm>
            <a:off x="630907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pPr algn="ctr"/>
            <a:fld id="{DBC2DE1C-BAA8-4EFB-91D9-491D9E2B7826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8"/>
          </p:nvPr>
        </p:nvSpPr>
        <p:spPr>
          <a:xfrm>
            <a:off x="840338" y="1376208"/>
            <a:ext cx="2589326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9"/>
          </p:nvPr>
        </p:nvSpPr>
        <p:spPr>
          <a:xfrm>
            <a:off x="3573370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50"/>
          </p:nvPr>
        </p:nvSpPr>
        <p:spPr>
          <a:xfrm>
            <a:off x="6309075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04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5812CB93-A28D-4EEF-B619-B52D9CB0039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389551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485654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0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83957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1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83957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2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83957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3</a:t>
            </a:r>
          </a:p>
        </p:txBody>
      </p:sp>
      <p:sp>
        <p:nvSpPr>
          <p:cNvPr id="24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452324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4</a:t>
            </a:r>
          </a:p>
        </p:txBody>
      </p:sp>
      <p:sp>
        <p:nvSpPr>
          <p:cNvPr id="25" name="Text Placeholder 31"/>
          <p:cNvSpPr>
            <a:spLocks noGrp="1"/>
          </p:cNvSpPr>
          <p:nvPr>
            <p:ph type="body" sz="quarter" idx="20" hasCustomPrompt="1"/>
          </p:nvPr>
        </p:nvSpPr>
        <p:spPr>
          <a:xfrm>
            <a:off x="452324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5</a:t>
            </a:r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452324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6</a:t>
            </a:r>
          </a:p>
        </p:txBody>
      </p:sp>
      <p:sp>
        <p:nvSpPr>
          <p:cNvPr id="27" name="Text Placeholder 3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654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1485654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9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5169823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0" name="Text Placeholder 31"/>
          <p:cNvSpPr>
            <a:spLocks noGrp="1"/>
          </p:cNvSpPr>
          <p:nvPr>
            <p:ph type="body" sz="quarter" idx="26" hasCustomPrompt="1"/>
          </p:nvPr>
        </p:nvSpPr>
        <p:spPr>
          <a:xfrm>
            <a:off x="5169823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1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5169823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Summary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algn="ctr"/>
            <a:fld id="{E282D2F3-DA95-4F30-8312-F98A12E84388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3340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08006" y="226219"/>
            <a:ext cx="2020491" cy="449937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42963" y="226219"/>
            <a:ext cx="5950744" cy="4499372"/>
          </a:xfrm>
        </p:spPr>
        <p:txBody>
          <a:bodyPr vert="vert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50EFD1-4F52-4BA3-B99E-52C5704A76B6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347602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rgbClr val="37B7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32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33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/>
        </p:nvGrpSpPr>
        <p:grpSpPr bwMode="auto">
          <a:xfrm>
            <a:off x="5279434" y="423101"/>
            <a:ext cx="2806367" cy="4729923"/>
            <a:chOff x="6268" y="-441"/>
            <a:chExt cx="2381" cy="4013"/>
          </a:xfrm>
        </p:grpSpPr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7682" y="-441"/>
              <a:ext cx="819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466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76"/>
                    <a:pt x="570" y="587"/>
                    <a:pt x="0" y="46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7831" y="-441"/>
              <a:ext cx="818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333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42"/>
                    <a:pt x="579" y="517"/>
                    <a:pt x="0" y="33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7533" y="-441"/>
              <a:ext cx="819" cy="1361"/>
            </a:xfrm>
            <a:custGeom>
              <a:avLst/>
              <a:gdLst>
                <a:gd name="T0" fmla="*/ 998 w 998"/>
                <a:gd name="T1" fmla="*/ 1661 h 1661"/>
                <a:gd name="T2" fmla="*/ 0 w 998"/>
                <a:gd name="T3" fmla="*/ 617 h 1661"/>
                <a:gd name="T4" fmla="*/ 0 w 998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998" y="1661"/>
                  </a:moveTo>
                  <a:cubicBezTo>
                    <a:pt x="998" y="1112"/>
                    <a:pt x="559" y="661"/>
                    <a:pt x="0" y="6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6715" y="348"/>
              <a:ext cx="1488" cy="2579"/>
            </a:xfrm>
            <a:custGeom>
              <a:avLst/>
              <a:gdLst>
                <a:gd name="T0" fmla="*/ 0 w 1813"/>
                <a:gd name="T1" fmla="*/ 2274 h 3148"/>
                <a:gd name="T2" fmla="*/ 907 w 1813"/>
                <a:gd name="T3" fmla="*/ 3148 h 3148"/>
                <a:gd name="T4" fmla="*/ 1813 w 1813"/>
                <a:gd name="T5" fmla="*/ 2274 h 3148"/>
                <a:gd name="T6" fmla="*/ 907 w 1813"/>
                <a:gd name="T7" fmla="*/ 1399 h 3148"/>
                <a:gd name="T8" fmla="*/ 181 w 1813"/>
                <a:gd name="T9" fmla="*/ 700 h 3148"/>
                <a:gd name="T10" fmla="*/ 907 w 1813"/>
                <a:gd name="T11" fmla="*/ 0 h 3148"/>
                <a:gd name="T12" fmla="*/ 1632 w 1813"/>
                <a:gd name="T13" fmla="*/ 700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0" y="2274"/>
                  </a:moveTo>
                  <a:cubicBezTo>
                    <a:pt x="0" y="2756"/>
                    <a:pt x="406" y="3148"/>
                    <a:pt x="907" y="3148"/>
                  </a:cubicBezTo>
                  <a:cubicBezTo>
                    <a:pt x="1407" y="3148"/>
                    <a:pt x="1813" y="2756"/>
                    <a:pt x="1813" y="2274"/>
                  </a:cubicBezTo>
                  <a:cubicBezTo>
                    <a:pt x="1813" y="1791"/>
                    <a:pt x="1407" y="1399"/>
                    <a:pt x="907" y="1399"/>
                  </a:cubicBezTo>
                  <a:cubicBezTo>
                    <a:pt x="506" y="1399"/>
                    <a:pt x="181" y="1086"/>
                    <a:pt x="181" y="700"/>
                  </a:cubicBezTo>
                  <a:cubicBezTo>
                    <a:pt x="181" y="313"/>
                    <a:pt x="506" y="0"/>
                    <a:pt x="907" y="0"/>
                  </a:cubicBezTo>
                  <a:cubicBezTo>
                    <a:pt x="1307" y="0"/>
                    <a:pt x="1632" y="313"/>
                    <a:pt x="1632" y="70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715" y="204"/>
              <a:ext cx="1488" cy="2580"/>
            </a:xfrm>
            <a:custGeom>
              <a:avLst/>
              <a:gdLst>
                <a:gd name="T0" fmla="*/ 181 w 1813"/>
                <a:gd name="T1" fmla="*/ 2449 h 3148"/>
                <a:gd name="T2" fmla="*/ 907 w 1813"/>
                <a:gd name="T3" fmla="*/ 3148 h 3148"/>
                <a:gd name="T4" fmla="*/ 1632 w 1813"/>
                <a:gd name="T5" fmla="*/ 2449 h 3148"/>
                <a:gd name="T6" fmla="*/ 907 w 1813"/>
                <a:gd name="T7" fmla="*/ 1749 h 3148"/>
                <a:gd name="T8" fmla="*/ 0 w 1813"/>
                <a:gd name="T9" fmla="*/ 875 h 3148"/>
                <a:gd name="T10" fmla="*/ 907 w 1813"/>
                <a:gd name="T11" fmla="*/ 0 h 3148"/>
                <a:gd name="T12" fmla="*/ 1813 w 1813"/>
                <a:gd name="T13" fmla="*/ 875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181" y="2449"/>
                  </a:moveTo>
                  <a:cubicBezTo>
                    <a:pt x="181" y="2835"/>
                    <a:pt x="506" y="3148"/>
                    <a:pt x="907" y="3148"/>
                  </a:cubicBezTo>
                  <a:cubicBezTo>
                    <a:pt x="1307" y="3148"/>
                    <a:pt x="1632" y="2835"/>
                    <a:pt x="1632" y="2449"/>
                  </a:cubicBezTo>
                  <a:cubicBezTo>
                    <a:pt x="1632" y="2062"/>
                    <a:pt x="1307" y="1749"/>
                    <a:pt x="907" y="1749"/>
                  </a:cubicBezTo>
                  <a:cubicBezTo>
                    <a:pt x="406" y="1749"/>
                    <a:pt x="0" y="1357"/>
                    <a:pt x="0" y="875"/>
                  </a:cubicBezTo>
                  <a:cubicBezTo>
                    <a:pt x="0" y="392"/>
                    <a:pt x="406" y="0"/>
                    <a:pt x="907" y="0"/>
                  </a:cubicBezTo>
                  <a:cubicBezTo>
                    <a:pt x="1407" y="0"/>
                    <a:pt x="1813" y="392"/>
                    <a:pt x="1813" y="87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6566" y="-441"/>
              <a:ext cx="1340" cy="3081"/>
            </a:xfrm>
            <a:custGeom>
              <a:avLst/>
              <a:gdLst>
                <a:gd name="T0" fmla="*/ 997 w 1632"/>
                <a:gd name="T1" fmla="*/ 0 h 3760"/>
                <a:gd name="T2" fmla="*/ 997 w 1632"/>
                <a:gd name="T3" fmla="*/ 617 h 3760"/>
                <a:gd name="T4" fmla="*/ 0 w 1632"/>
                <a:gd name="T5" fmla="*/ 1661 h 3760"/>
                <a:gd name="T6" fmla="*/ 1088 w 1632"/>
                <a:gd name="T7" fmla="*/ 2711 h 3760"/>
                <a:gd name="T8" fmla="*/ 1632 w 1632"/>
                <a:gd name="T9" fmla="*/ 3236 h 3760"/>
                <a:gd name="T10" fmla="*/ 1088 w 1632"/>
                <a:gd name="T11" fmla="*/ 3760 h 3760"/>
                <a:gd name="T12" fmla="*/ 544 w 1632"/>
                <a:gd name="T13" fmla="*/ 3236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997" y="0"/>
                  </a:moveTo>
                  <a:cubicBezTo>
                    <a:pt x="997" y="617"/>
                    <a:pt x="997" y="617"/>
                    <a:pt x="997" y="617"/>
                  </a:cubicBezTo>
                  <a:cubicBezTo>
                    <a:pt x="439" y="661"/>
                    <a:pt x="0" y="1112"/>
                    <a:pt x="0" y="1661"/>
                  </a:cubicBezTo>
                  <a:cubicBezTo>
                    <a:pt x="0" y="2241"/>
                    <a:pt x="487" y="2711"/>
                    <a:pt x="1088" y="2711"/>
                  </a:cubicBezTo>
                  <a:cubicBezTo>
                    <a:pt x="1388" y="2711"/>
                    <a:pt x="1632" y="2946"/>
                    <a:pt x="1632" y="3236"/>
                  </a:cubicBezTo>
                  <a:cubicBezTo>
                    <a:pt x="1632" y="3525"/>
                    <a:pt x="1388" y="3760"/>
                    <a:pt x="1088" y="3760"/>
                  </a:cubicBezTo>
                  <a:cubicBezTo>
                    <a:pt x="787" y="3760"/>
                    <a:pt x="544" y="3525"/>
                    <a:pt x="544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6417" y="-441"/>
              <a:ext cx="1339" cy="2938"/>
            </a:xfrm>
            <a:custGeom>
              <a:avLst/>
              <a:gdLst>
                <a:gd name="T0" fmla="*/ 998 w 1632"/>
                <a:gd name="T1" fmla="*/ 0 h 3585"/>
                <a:gd name="T2" fmla="*/ 998 w 1632"/>
                <a:gd name="T3" fmla="*/ 466 h 3585"/>
                <a:gd name="T4" fmla="*/ 0 w 1632"/>
                <a:gd name="T5" fmla="*/ 1661 h 3585"/>
                <a:gd name="T6" fmla="*/ 1270 w 1632"/>
                <a:gd name="T7" fmla="*/ 2886 h 3585"/>
                <a:gd name="T8" fmla="*/ 1632 w 1632"/>
                <a:gd name="T9" fmla="*/ 3236 h 3585"/>
                <a:gd name="T10" fmla="*/ 1270 w 1632"/>
                <a:gd name="T11" fmla="*/ 3585 h 3585"/>
                <a:gd name="T12" fmla="*/ 907 w 1632"/>
                <a:gd name="T13" fmla="*/ 3236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998" y="0"/>
                  </a:moveTo>
                  <a:cubicBezTo>
                    <a:pt x="998" y="466"/>
                    <a:pt x="998" y="466"/>
                    <a:pt x="998" y="466"/>
                  </a:cubicBezTo>
                  <a:cubicBezTo>
                    <a:pt x="427" y="586"/>
                    <a:pt x="0" y="1076"/>
                    <a:pt x="0" y="1661"/>
                  </a:cubicBezTo>
                  <a:cubicBezTo>
                    <a:pt x="0" y="2338"/>
                    <a:pt x="569" y="2886"/>
                    <a:pt x="1270" y="2886"/>
                  </a:cubicBezTo>
                  <a:cubicBezTo>
                    <a:pt x="1470" y="2886"/>
                    <a:pt x="1632" y="3042"/>
                    <a:pt x="1632" y="3236"/>
                  </a:cubicBezTo>
                  <a:cubicBezTo>
                    <a:pt x="1632" y="3429"/>
                    <a:pt x="1470" y="3585"/>
                    <a:pt x="1270" y="3585"/>
                  </a:cubicBezTo>
                  <a:cubicBezTo>
                    <a:pt x="1069" y="3585"/>
                    <a:pt x="907" y="3429"/>
                    <a:pt x="907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268" y="-441"/>
              <a:ext cx="1340" cy="2795"/>
            </a:xfrm>
            <a:custGeom>
              <a:avLst/>
              <a:gdLst>
                <a:gd name="T0" fmla="*/ 997 w 1632"/>
                <a:gd name="T1" fmla="*/ 0 h 3410"/>
                <a:gd name="T2" fmla="*/ 997 w 1632"/>
                <a:gd name="T3" fmla="*/ 333 h 3410"/>
                <a:gd name="T4" fmla="*/ 997 w 1632"/>
                <a:gd name="T5" fmla="*/ 333 h 3410"/>
                <a:gd name="T6" fmla="*/ 0 w 1632"/>
                <a:gd name="T7" fmla="*/ 1661 h 3410"/>
                <a:gd name="T8" fmla="*/ 1451 w 1632"/>
                <a:gd name="T9" fmla="*/ 3061 h 3410"/>
                <a:gd name="T10" fmla="*/ 1632 w 1632"/>
                <a:gd name="T11" fmla="*/ 3236 h 3410"/>
                <a:gd name="T12" fmla="*/ 1451 w 1632"/>
                <a:gd name="T13" fmla="*/ 3410 h 3410"/>
                <a:gd name="T14" fmla="*/ 1269 w 1632"/>
                <a:gd name="T15" fmla="*/ 3236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2" h="3410">
                  <a:moveTo>
                    <a:pt x="997" y="0"/>
                  </a:moveTo>
                  <a:cubicBezTo>
                    <a:pt x="997" y="333"/>
                    <a:pt x="997" y="333"/>
                    <a:pt x="997" y="333"/>
                  </a:cubicBezTo>
                  <a:cubicBezTo>
                    <a:pt x="997" y="333"/>
                    <a:pt x="997" y="333"/>
                    <a:pt x="997" y="333"/>
                  </a:cubicBezTo>
                  <a:cubicBezTo>
                    <a:pt x="418" y="517"/>
                    <a:pt x="0" y="1042"/>
                    <a:pt x="0" y="1661"/>
                  </a:cubicBezTo>
                  <a:cubicBezTo>
                    <a:pt x="0" y="2434"/>
                    <a:pt x="649" y="3061"/>
                    <a:pt x="1451" y="3061"/>
                  </a:cubicBezTo>
                  <a:cubicBezTo>
                    <a:pt x="1551" y="3061"/>
                    <a:pt x="1632" y="3139"/>
                    <a:pt x="1632" y="3236"/>
                  </a:cubicBezTo>
                  <a:cubicBezTo>
                    <a:pt x="1632" y="3332"/>
                    <a:pt x="1551" y="3410"/>
                    <a:pt x="1451" y="3410"/>
                  </a:cubicBezTo>
                  <a:cubicBezTo>
                    <a:pt x="1350" y="3410"/>
                    <a:pt x="1269" y="3332"/>
                    <a:pt x="1269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7161" y="634"/>
              <a:ext cx="1340" cy="2938"/>
            </a:xfrm>
            <a:custGeom>
              <a:avLst/>
              <a:gdLst>
                <a:gd name="T0" fmla="*/ 635 w 1632"/>
                <a:gd name="T1" fmla="*/ 3585 h 3585"/>
                <a:gd name="T2" fmla="*/ 635 w 1632"/>
                <a:gd name="T3" fmla="*/ 3119 h 3585"/>
                <a:gd name="T4" fmla="*/ 1632 w 1632"/>
                <a:gd name="T5" fmla="*/ 1924 h 3585"/>
                <a:gd name="T6" fmla="*/ 363 w 1632"/>
                <a:gd name="T7" fmla="*/ 699 h 3585"/>
                <a:gd name="T8" fmla="*/ 0 w 1632"/>
                <a:gd name="T9" fmla="*/ 350 h 3585"/>
                <a:gd name="T10" fmla="*/ 363 w 1632"/>
                <a:gd name="T11" fmla="*/ 0 h 3585"/>
                <a:gd name="T12" fmla="*/ 725 w 1632"/>
                <a:gd name="T13" fmla="*/ 350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635" y="3585"/>
                  </a:moveTo>
                  <a:cubicBezTo>
                    <a:pt x="635" y="3119"/>
                    <a:pt x="635" y="3119"/>
                    <a:pt x="635" y="3119"/>
                  </a:cubicBezTo>
                  <a:cubicBezTo>
                    <a:pt x="1205" y="2999"/>
                    <a:pt x="1632" y="2510"/>
                    <a:pt x="1632" y="1924"/>
                  </a:cubicBezTo>
                  <a:cubicBezTo>
                    <a:pt x="1632" y="1248"/>
                    <a:pt x="1064" y="699"/>
                    <a:pt x="363" y="699"/>
                  </a:cubicBezTo>
                  <a:cubicBezTo>
                    <a:pt x="162" y="699"/>
                    <a:pt x="0" y="543"/>
                    <a:pt x="0" y="350"/>
                  </a:cubicBezTo>
                  <a:cubicBezTo>
                    <a:pt x="0" y="157"/>
                    <a:pt x="162" y="0"/>
                    <a:pt x="363" y="0"/>
                  </a:cubicBezTo>
                  <a:cubicBezTo>
                    <a:pt x="563" y="0"/>
                    <a:pt x="725" y="157"/>
                    <a:pt x="725" y="35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6417" y="2211"/>
              <a:ext cx="819" cy="1361"/>
            </a:xfrm>
            <a:custGeom>
              <a:avLst/>
              <a:gdLst>
                <a:gd name="T0" fmla="*/ 0 w 998"/>
                <a:gd name="T1" fmla="*/ 0 h 1661"/>
                <a:gd name="T2" fmla="*/ 998 w 998"/>
                <a:gd name="T3" fmla="*/ 1195 h 1661"/>
                <a:gd name="T4" fmla="*/ 998 w 998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0" y="0"/>
                  </a:moveTo>
                  <a:cubicBezTo>
                    <a:pt x="0" y="586"/>
                    <a:pt x="427" y="1075"/>
                    <a:pt x="998" y="1195"/>
                  </a:cubicBezTo>
                  <a:cubicBezTo>
                    <a:pt x="998" y="1661"/>
                    <a:pt x="998" y="1661"/>
                    <a:pt x="998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7310" y="778"/>
              <a:ext cx="1339" cy="2794"/>
            </a:xfrm>
            <a:custGeom>
              <a:avLst/>
              <a:gdLst>
                <a:gd name="T0" fmla="*/ 635 w 1632"/>
                <a:gd name="T1" fmla="*/ 3410 h 3410"/>
                <a:gd name="T2" fmla="*/ 635 w 1632"/>
                <a:gd name="T3" fmla="*/ 3077 h 3410"/>
                <a:gd name="T4" fmla="*/ 1632 w 1632"/>
                <a:gd name="T5" fmla="*/ 1749 h 3410"/>
                <a:gd name="T6" fmla="*/ 182 w 1632"/>
                <a:gd name="T7" fmla="*/ 350 h 3410"/>
                <a:gd name="T8" fmla="*/ 0 w 1632"/>
                <a:gd name="T9" fmla="*/ 175 h 3410"/>
                <a:gd name="T10" fmla="*/ 182 w 1632"/>
                <a:gd name="T11" fmla="*/ 0 h 3410"/>
                <a:gd name="T12" fmla="*/ 363 w 1632"/>
                <a:gd name="T13" fmla="*/ 175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410">
                  <a:moveTo>
                    <a:pt x="635" y="3410"/>
                  </a:moveTo>
                  <a:cubicBezTo>
                    <a:pt x="635" y="3077"/>
                    <a:pt x="635" y="3077"/>
                    <a:pt x="635" y="3077"/>
                  </a:cubicBezTo>
                  <a:cubicBezTo>
                    <a:pt x="1214" y="2893"/>
                    <a:pt x="1632" y="2368"/>
                    <a:pt x="1632" y="1749"/>
                  </a:cubicBezTo>
                  <a:cubicBezTo>
                    <a:pt x="1632" y="976"/>
                    <a:pt x="983" y="350"/>
                    <a:pt x="182" y="350"/>
                  </a:cubicBezTo>
                  <a:cubicBezTo>
                    <a:pt x="81" y="350"/>
                    <a:pt x="0" y="271"/>
                    <a:pt x="0" y="175"/>
                  </a:cubicBezTo>
                  <a:cubicBezTo>
                    <a:pt x="0" y="78"/>
                    <a:pt x="81" y="0"/>
                    <a:pt x="182" y="0"/>
                  </a:cubicBezTo>
                  <a:cubicBezTo>
                    <a:pt x="282" y="0"/>
                    <a:pt x="363" y="78"/>
                    <a:pt x="363" y="17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6268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328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619"/>
                    <a:pt x="418" y="1144"/>
                    <a:pt x="997" y="1328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auto">
            <a:xfrm>
              <a:off x="7013" y="491"/>
              <a:ext cx="1339" cy="3081"/>
            </a:xfrm>
            <a:custGeom>
              <a:avLst/>
              <a:gdLst>
                <a:gd name="T0" fmla="*/ 634 w 1632"/>
                <a:gd name="T1" fmla="*/ 3760 h 3760"/>
                <a:gd name="T2" fmla="*/ 634 w 1632"/>
                <a:gd name="T3" fmla="*/ 3143 h 3760"/>
                <a:gd name="T4" fmla="*/ 1632 w 1632"/>
                <a:gd name="T5" fmla="*/ 2099 h 3760"/>
                <a:gd name="T6" fmla="*/ 544 w 1632"/>
                <a:gd name="T7" fmla="*/ 1049 h 3760"/>
                <a:gd name="T8" fmla="*/ 0 w 1632"/>
                <a:gd name="T9" fmla="*/ 525 h 3760"/>
                <a:gd name="T10" fmla="*/ 544 w 1632"/>
                <a:gd name="T11" fmla="*/ 0 h 3760"/>
                <a:gd name="T12" fmla="*/ 1088 w 1632"/>
                <a:gd name="T13" fmla="*/ 525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634" y="3760"/>
                  </a:moveTo>
                  <a:cubicBezTo>
                    <a:pt x="634" y="3143"/>
                    <a:pt x="634" y="3143"/>
                    <a:pt x="634" y="3143"/>
                  </a:cubicBezTo>
                  <a:cubicBezTo>
                    <a:pt x="1193" y="3099"/>
                    <a:pt x="1632" y="2649"/>
                    <a:pt x="1632" y="2099"/>
                  </a:cubicBezTo>
                  <a:cubicBezTo>
                    <a:pt x="1632" y="1519"/>
                    <a:pt x="1144" y="1049"/>
                    <a:pt x="544" y="1049"/>
                  </a:cubicBezTo>
                  <a:cubicBezTo>
                    <a:pt x="243" y="1049"/>
                    <a:pt x="0" y="814"/>
                    <a:pt x="0" y="525"/>
                  </a:cubicBezTo>
                  <a:cubicBezTo>
                    <a:pt x="0" y="235"/>
                    <a:pt x="243" y="0"/>
                    <a:pt x="544" y="0"/>
                  </a:cubicBezTo>
                  <a:cubicBezTo>
                    <a:pt x="844" y="0"/>
                    <a:pt x="1088" y="235"/>
                    <a:pt x="1088" y="52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auto">
            <a:xfrm>
              <a:off x="6566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044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550"/>
                    <a:pt x="439" y="1000"/>
                    <a:pt x="997" y="1044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B30C81E5-E4B6-4A0F-B558-F42C15930EC1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30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39797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1">
    <p:bg>
      <p:bgPr>
        <a:solidFill>
          <a:srgbClr val="37B7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11"/>
          <p:cNvGrpSpPr>
            <a:grpSpLocks noChangeAspect="1"/>
          </p:cNvGrpSpPr>
          <p:nvPr/>
        </p:nvGrpSpPr>
        <p:grpSpPr bwMode="auto">
          <a:xfrm>
            <a:off x="6594808" y="-310325"/>
            <a:ext cx="2806367" cy="4729923"/>
            <a:chOff x="6268" y="-441"/>
            <a:chExt cx="2381" cy="4013"/>
          </a:xfrm>
        </p:grpSpPr>
        <p:sp>
          <p:nvSpPr>
            <p:cNvPr id="48" name="Freeform 12"/>
            <p:cNvSpPr>
              <a:spLocks/>
            </p:cNvSpPr>
            <p:nvPr/>
          </p:nvSpPr>
          <p:spPr bwMode="auto">
            <a:xfrm>
              <a:off x="7682" y="-441"/>
              <a:ext cx="819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466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76"/>
                    <a:pt x="570" y="587"/>
                    <a:pt x="0" y="46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49" name="Freeform 13"/>
            <p:cNvSpPr>
              <a:spLocks/>
            </p:cNvSpPr>
            <p:nvPr/>
          </p:nvSpPr>
          <p:spPr bwMode="auto">
            <a:xfrm>
              <a:off x="7831" y="-441"/>
              <a:ext cx="818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333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42"/>
                    <a:pt x="579" y="517"/>
                    <a:pt x="0" y="33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50" name="Freeform 14"/>
            <p:cNvSpPr>
              <a:spLocks/>
            </p:cNvSpPr>
            <p:nvPr/>
          </p:nvSpPr>
          <p:spPr bwMode="auto">
            <a:xfrm>
              <a:off x="7533" y="-441"/>
              <a:ext cx="819" cy="1361"/>
            </a:xfrm>
            <a:custGeom>
              <a:avLst/>
              <a:gdLst>
                <a:gd name="T0" fmla="*/ 998 w 998"/>
                <a:gd name="T1" fmla="*/ 1661 h 1661"/>
                <a:gd name="T2" fmla="*/ 0 w 998"/>
                <a:gd name="T3" fmla="*/ 617 h 1661"/>
                <a:gd name="T4" fmla="*/ 0 w 998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998" y="1661"/>
                  </a:moveTo>
                  <a:cubicBezTo>
                    <a:pt x="998" y="1112"/>
                    <a:pt x="559" y="661"/>
                    <a:pt x="0" y="6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0" name="Freeform 15"/>
            <p:cNvSpPr>
              <a:spLocks/>
            </p:cNvSpPr>
            <p:nvPr/>
          </p:nvSpPr>
          <p:spPr bwMode="auto">
            <a:xfrm>
              <a:off x="6715" y="348"/>
              <a:ext cx="1488" cy="2579"/>
            </a:xfrm>
            <a:custGeom>
              <a:avLst/>
              <a:gdLst>
                <a:gd name="T0" fmla="*/ 0 w 1813"/>
                <a:gd name="T1" fmla="*/ 2274 h 3148"/>
                <a:gd name="T2" fmla="*/ 907 w 1813"/>
                <a:gd name="T3" fmla="*/ 3148 h 3148"/>
                <a:gd name="T4" fmla="*/ 1813 w 1813"/>
                <a:gd name="T5" fmla="*/ 2274 h 3148"/>
                <a:gd name="T6" fmla="*/ 907 w 1813"/>
                <a:gd name="T7" fmla="*/ 1399 h 3148"/>
                <a:gd name="T8" fmla="*/ 181 w 1813"/>
                <a:gd name="T9" fmla="*/ 700 h 3148"/>
                <a:gd name="T10" fmla="*/ 907 w 1813"/>
                <a:gd name="T11" fmla="*/ 0 h 3148"/>
                <a:gd name="T12" fmla="*/ 1632 w 1813"/>
                <a:gd name="T13" fmla="*/ 700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0" y="2274"/>
                  </a:moveTo>
                  <a:cubicBezTo>
                    <a:pt x="0" y="2756"/>
                    <a:pt x="406" y="3148"/>
                    <a:pt x="907" y="3148"/>
                  </a:cubicBezTo>
                  <a:cubicBezTo>
                    <a:pt x="1407" y="3148"/>
                    <a:pt x="1813" y="2756"/>
                    <a:pt x="1813" y="2274"/>
                  </a:cubicBezTo>
                  <a:cubicBezTo>
                    <a:pt x="1813" y="1791"/>
                    <a:pt x="1407" y="1399"/>
                    <a:pt x="907" y="1399"/>
                  </a:cubicBezTo>
                  <a:cubicBezTo>
                    <a:pt x="506" y="1399"/>
                    <a:pt x="181" y="1086"/>
                    <a:pt x="181" y="700"/>
                  </a:cubicBezTo>
                  <a:cubicBezTo>
                    <a:pt x="181" y="313"/>
                    <a:pt x="506" y="0"/>
                    <a:pt x="907" y="0"/>
                  </a:cubicBezTo>
                  <a:cubicBezTo>
                    <a:pt x="1307" y="0"/>
                    <a:pt x="1632" y="313"/>
                    <a:pt x="1632" y="70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1" name="Freeform 16"/>
            <p:cNvSpPr>
              <a:spLocks/>
            </p:cNvSpPr>
            <p:nvPr/>
          </p:nvSpPr>
          <p:spPr bwMode="auto">
            <a:xfrm>
              <a:off x="6715" y="204"/>
              <a:ext cx="1488" cy="2580"/>
            </a:xfrm>
            <a:custGeom>
              <a:avLst/>
              <a:gdLst>
                <a:gd name="T0" fmla="*/ 181 w 1813"/>
                <a:gd name="T1" fmla="*/ 2449 h 3148"/>
                <a:gd name="T2" fmla="*/ 907 w 1813"/>
                <a:gd name="T3" fmla="*/ 3148 h 3148"/>
                <a:gd name="T4" fmla="*/ 1632 w 1813"/>
                <a:gd name="T5" fmla="*/ 2449 h 3148"/>
                <a:gd name="T6" fmla="*/ 907 w 1813"/>
                <a:gd name="T7" fmla="*/ 1749 h 3148"/>
                <a:gd name="T8" fmla="*/ 0 w 1813"/>
                <a:gd name="T9" fmla="*/ 875 h 3148"/>
                <a:gd name="T10" fmla="*/ 907 w 1813"/>
                <a:gd name="T11" fmla="*/ 0 h 3148"/>
                <a:gd name="T12" fmla="*/ 1813 w 1813"/>
                <a:gd name="T13" fmla="*/ 875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181" y="2449"/>
                  </a:moveTo>
                  <a:cubicBezTo>
                    <a:pt x="181" y="2835"/>
                    <a:pt x="506" y="3148"/>
                    <a:pt x="907" y="3148"/>
                  </a:cubicBezTo>
                  <a:cubicBezTo>
                    <a:pt x="1307" y="3148"/>
                    <a:pt x="1632" y="2835"/>
                    <a:pt x="1632" y="2449"/>
                  </a:cubicBezTo>
                  <a:cubicBezTo>
                    <a:pt x="1632" y="2062"/>
                    <a:pt x="1307" y="1749"/>
                    <a:pt x="907" y="1749"/>
                  </a:cubicBezTo>
                  <a:cubicBezTo>
                    <a:pt x="406" y="1749"/>
                    <a:pt x="0" y="1357"/>
                    <a:pt x="0" y="875"/>
                  </a:cubicBezTo>
                  <a:cubicBezTo>
                    <a:pt x="0" y="392"/>
                    <a:pt x="406" y="0"/>
                    <a:pt x="907" y="0"/>
                  </a:cubicBezTo>
                  <a:cubicBezTo>
                    <a:pt x="1407" y="0"/>
                    <a:pt x="1813" y="392"/>
                    <a:pt x="1813" y="87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2" name="Freeform 17"/>
            <p:cNvSpPr>
              <a:spLocks/>
            </p:cNvSpPr>
            <p:nvPr/>
          </p:nvSpPr>
          <p:spPr bwMode="auto">
            <a:xfrm>
              <a:off x="6566" y="-441"/>
              <a:ext cx="1340" cy="3081"/>
            </a:xfrm>
            <a:custGeom>
              <a:avLst/>
              <a:gdLst>
                <a:gd name="T0" fmla="*/ 997 w 1632"/>
                <a:gd name="T1" fmla="*/ 0 h 3760"/>
                <a:gd name="T2" fmla="*/ 997 w 1632"/>
                <a:gd name="T3" fmla="*/ 617 h 3760"/>
                <a:gd name="T4" fmla="*/ 0 w 1632"/>
                <a:gd name="T5" fmla="*/ 1661 h 3760"/>
                <a:gd name="T6" fmla="*/ 1088 w 1632"/>
                <a:gd name="T7" fmla="*/ 2711 h 3760"/>
                <a:gd name="T8" fmla="*/ 1632 w 1632"/>
                <a:gd name="T9" fmla="*/ 3236 h 3760"/>
                <a:gd name="T10" fmla="*/ 1088 w 1632"/>
                <a:gd name="T11" fmla="*/ 3760 h 3760"/>
                <a:gd name="T12" fmla="*/ 544 w 1632"/>
                <a:gd name="T13" fmla="*/ 3236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997" y="0"/>
                  </a:moveTo>
                  <a:cubicBezTo>
                    <a:pt x="997" y="617"/>
                    <a:pt x="997" y="617"/>
                    <a:pt x="997" y="617"/>
                  </a:cubicBezTo>
                  <a:cubicBezTo>
                    <a:pt x="439" y="661"/>
                    <a:pt x="0" y="1112"/>
                    <a:pt x="0" y="1661"/>
                  </a:cubicBezTo>
                  <a:cubicBezTo>
                    <a:pt x="0" y="2241"/>
                    <a:pt x="487" y="2711"/>
                    <a:pt x="1088" y="2711"/>
                  </a:cubicBezTo>
                  <a:cubicBezTo>
                    <a:pt x="1388" y="2711"/>
                    <a:pt x="1632" y="2946"/>
                    <a:pt x="1632" y="3236"/>
                  </a:cubicBezTo>
                  <a:cubicBezTo>
                    <a:pt x="1632" y="3525"/>
                    <a:pt x="1388" y="3760"/>
                    <a:pt x="1088" y="3760"/>
                  </a:cubicBezTo>
                  <a:cubicBezTo>
                    <a:pt x="787" y="3760"/>
                    <a:pt x="544" y="3525"/>
                    <a:pt x="544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3" name="Freeform 18"/>
            <p:cNvSpPr>
              <a:spLocks/>
            </p:cNvSpPr>
            <p:nvPr/>
          </p:nvSpPr>
          <p:spPr bwMode="auto">
            <a:xfrm>
              <a:off x="6417" y="-441"/>
              <a:ext cx="1339" cy="2938"/>
            </a:xfrm>
            <a:custGeom>
              <a:avLst/>
              <a:gdLst>
                <a:gd name="T0" fmla="*/ 998 w 1632"/>
                <a:gd name="T1" fmla="*/ 0 h 3585"/>
                <a:gd name="T2" fmla="*/ 998 w 1632"/>
                <a:gd name="T3" fmla="*/ 466 h 3585"/>
                <a:gd name="T4" fmla="*/ 0 w 1632"/>
                <a:gd name="T5" fmla="*/ 1661 h 3585"/>
                <a:gd name="T6" fmla="*/ 1270 w 1632"/>
                <a:gd name="T7" fmla="*/ 2886 h 3585"/>
                <a:gd name="T8" fmla="*/ 1632 w 1632"/>
                <a:gd name="T9" fmla="*/ 3236 h 3585"/>
                <a:gd name="T10" fmla="*/ 1270 w 1632"/>
                <a:gd name="T11" fmla="*/ 3585 h 3585"/>
                <a:gd name="T12" fmla="*/ 907 w 1632"/>
                <a:gd name="T13" fmla="*/ 3236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998" y="0"/>
                  </a:moveTo>
                  <a:cubicBezTo>
                    <a:pt x="998" y="466"/>
                    <a:pt x="998" y="466"/>
                    <a:pt x="998" y="466"/>
                  </a:cubicBezTo>
                  <a:cubicBezTo>
                    <a:pt x="427" y="586"/>
                    <a:pt x="0" y="1076"/>
                    <a:pt x="0" y="1661"/>
                  </a:cubicBezTo>
                  <a:cubicBezTo>
                    <a:pt x="0" y="2338"/>
                    <a:pt x="569" y="2886"/>
                    <a:pt x="1270" y="2886"/>
                  </a:cubicBezTo>
                  <a:cubicBezTo>
                    <a:pt x="1470" y="2886"/>
                    <a:pt x="1632" y="3042"/>
                    <a:pt x="1632" y="3236"/>
                  </a:cubicBezTo>
                  <a:cubicBezTo>
                    <a:pt x="1632" y="3429"/>
                    <a:pt x="1470" y="3585"/>
                    <a:pt x="1270" y="3585"/>
                  </a:cubicBezTo>
                  <a:cubicBezTo>
                    <a:pt x="1069" y="3585"/>
                    <a:pt x="907" y="3429"/>
                    <a:pt x="907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4" name="Freeform 19"/>
            <p:cNvSpPr>
              <a:spLocks/>
            </p:cNvSpPr>
            <p:nvPr/>
          </p:nvSpPr>
          <p:spPr bwMode="auto">
            <a:xfrm>
              <a:off x="6268" y="-441"/>
              <a:ext cx="1340" cy="2795"/>
            </a:xfrm>
            <a:custGeom>
              <a:avLst/>
              <a:gdLst>
                <a:gd name="T0" fmla="*/ 997 w 1632"/>
                <a:gd name="T1" fmla="*/ 0 h 3410"/>
                <a:gd name="T2" fmla="*/ 997 w 1632"/>
                <a:gd name="T3" fmla="*/ 333 h 3410"/>
                <a:gd name="T4" fmla="*/ 997 w 1632"/>
                <a:gd name="T5" fmla="*/ 333 h 3410"/>
                <a:gd name="T6" fmla="*/ 0 w 1632"/>
                <a:gd name="T7" fmla="*/ 1661 h 3410"/>
                <a:gd name="T8" fmla="*/ 1451 w 1632"/>
                <a:gd name="T9" fmla="*/ 3061 h 3410"/>
                <a:gd name="T10" fmla="*/ 1632 w 1632"/>
                <a:gd name="T11" fmla="*/ 3236 h 3410"/>
                <a:gd name="T12" fmla="*/ 1451 w 1632"/>
                <a:gd name="T13" fmla="*/ 3410 h 3410"/>
                <a:gd name="T14" fmla="*/ 1269 w 1632"/>
                <a:gd name="T15" fmla="*/ 3236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2" h="3410">
                  <a:moveTo>
                    <a:pt x="997" y="0"/>
                  </a:moveTo>
                  <a:cubicBezTo>
                    <a:pt x="997" y="333"/>
                    <a:pt x="997" y="333"/>
                    <a:pt x="997" y="333"/>
                  </a:cubicBezTo>
                  <a:cubicBezTo>
                    <a:pt x="997" y="333"/>
                    <a:pt x="997" y="333"/>
                    <a:pt x="997" y="333"/>
                  </a:cubicBezTo>
                  <a:cubicBezTo>
                    <a:pt x="418" y="517"/>
                    <a:pt x="0" y="1042"/>
                    <a:pt x="0" y="1661"/>
                  </a:cubicBezTo>
                  <a:cubicBezTo>
                    <a:pt x="0" y="2434"/>
                    <a:pt x="649" y="3061"/>
                    <a:pt x="1451" y="3061"/>
                  </a:cubicBezTo>
                  <a:cubicBezTo>
                    <a:pt x="1551" y="3061"/>
                    <a:pt x="1632" y="3139"/>
                    <a:pt x="1632" y="3236"/>
                  </a:cubicBezTo>
                  <a:cubicBezTo>
                    <a:pt x="1632" y="3332"/>
                    <a:pt x="1551" y="3410"/>
                    <a:pt x="1451" y="3410"/>
                  </a:cubicBezTo>
                  <a:cubicBezTo>
                    <a:pt x="1350" y="3410"/>
                    <a:pt x="1269" y="3332"/>
                    <a:pt x="1269" y="3236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5" name="Freeform 20"/>
            <p:cNvSpPr>
              <a:spLocks/>
            </p:cNvSpPr>
            <p:nvPr/>
          </p:nvSpPr>
          <p:spPr bwMode="auto">
            <a:xfrm>
              <a:off x="7161" y="634"/>
              <a:ext cx="1340" cy="2938"/>
            </a:xfrm>
            <a:custGeom>
              <a:avLst/>
              <a:gdLst>
                <a:gd name="T0" fmla="*/ 635 w 1632"/>
                <a:gd name="T1" fmla="*/ 3585 h 3585"/>
                <a:gd name="T2" fmla="*/ 635 w 1632"/>
                <a:gd name="T3" fmla="*/ 3119 h 3585"/>
                <a:gd name="T4" fmla="*/ 1632 w 1632"/>
                <a:gd name="T5" fmla="*/ 1924 h 3585"/>
                <a:gd name="T6" fmla="*/ 363 w 1632"/>
                <a:gd name="T7" fmla="*/ 699 h 3585"/>
                <a:gd name="T8" fmla="*/ 0 w 1632"/>
                <a:gd name="T9" fmla="*/ 350 h 3585"/>
                <a:gd name="T10" fmla="*/ 363 w 1632"/>
                <a:gd name="T11" fmla="*/ 0 h 3585"/>
                <a:gd name="T12" fmla="*/ 725 w 1632"/>
                <a:gd name="T13" fmla="*/ 350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635" y="3585"/>
                  </a:moveTo>
                  <a:cubicBezTo>
                    <a:pt x="635" y="3119"/>
                    <a:pt x="635" y="3119"/>
                    <a:pt x="635" y="3119"/>
                  </a:cubicBezTo>
                  <a:cubicBezTo>
                    <a:pt x="1205" y="2999"/>
                    <a:pt x="1632" y="2510"/>
                    <a:pt x="1632" y="1924"/>
                  </a:cubicBezTo>
                  <a:cubicBezTo>
                    <a:pt x="1632" y="1248"/>
                    <a:pt x="1064" y="699"/>
                    <a:pt x="363" y="699"/>
                  </a:cubicBezTo>
                  <a:cubicBezTo>
                    <a:pt x="162" y="699"/>
                    <a:pt x="0" y="543"/>
                    <a:pt x="0" y="350"/>
                  </a:cubicBezTo>
                  <a:cubicBezTo>
                    <a:pt x="0" y="157"/>
                    <a:pt x="162" y="0"/>
                    <a:pt x="363" y="0"/>
                  </a:cubicBezTo>
                  <a:cubicBezTo>
                    <a:pt x="563" y="0"/>
                    <a:pt x="725" y="157"/>
                    <a:pt x="725" y="350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6" name="Freeform 21"/>
            <p:cNvSpPr>
              <a:spLocks/>
            </p:cNvSpPr>
            <p:nvPr/>
          </p:nvSpPr>
          <p:spPr bwMode="auto">
            <a:xfrm>
              <a:off x="6417" y="2211"/>
              <a:ext cx="819" cy="1361"/>
            </a:xfrm>
            <a:custGeom>
              <a:avLst/>
              <a:gdLst>
                <a:gd name="T0" fmla="*/ 0 w 998"/>
                <a:gd name="T1" fmla="*/ 0 h 1661"/>
                <a:gd name="T2" fmla="*/ 998 w 998"/>
                <a:gd name="T3" fmla="*/ 1195 h 1661"/>
                <a:gd name="T4" fmla="*/ 998 w 998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0" y="0"/>
                  </a:moveTo>
                  <a:cubicBezTo>
                    <a:pt x="0" y="586"/>
                    <a:pt x="427" y="1075"/>
                    <a:pt x="998" y="1195"/>
                  </a:cubicBezTo>
                  <a:cubicBezTo>
                    <a:pt x="998" y="1661"/>
                    <a:pt x="998" y="1661"/>
                    <a:pt x="998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7" name="Freeform 22"/>
            <p:cNvSpPr>
              <a:spLocks/>
            </p:cNvSpPr>
            <p:nvPr/>
          </p:nvSpPr>
          <p:spPr bwMode="auto">
            <a:xfrm>
              <a:off x="7310" y="778"/>
              <a:ext cx="1339" cy="2794"/>
            </a:xfrm>
            <a:custGeom>
              <a:avLst/>
              <a:gdLst>
                <a:gd name="T0" fmla="*/ 635 w 1632"/>
                <a:gd name="T1" fmla="*/ 3410 h 3410"/>
                <a:gd name="T2" fmla="*/ 635 w 1632"/>
                <a:gd name="T3" fmla="*/ 3077 h 3410"/>
                <a:gd name="T4" fmla="*/ 1632 w 1632"/>
                <a:gd name="T5" fmla="*/ 1749 h 3410"/>
                <a:gd name="T6" fmla="*/ 182 w 1632"/>
                <a:gd name="T7" fmla="*/ 350 h 3410"/>
                <a:gd name="T8" fmla="*/ 0 w 1632"/>
                <a:gd name="T9" fmla="*/ 175 h 3410"/>
                <a:gd name="T10" fmla="*/ 182 w 1632"/>
                <a:gd name="T11" fmla="*/ 0 h 3410"/>
                <a:gd name="T12" fmla="*/ 363 w 1632"/>
                <a:gd name="T13" fmla="*/ 175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410">
                  <a:moveTo>
                    <a:pt x="635" y="3410"/>
                  </a:moveTo>
                  <a:cubicBezTo>
                    <a:pt x="635" y="3077"/>
                    <a:pt x="635" y="3077"/>
                    <a:pt x="635" y="3077"/>
                  </a:cubicBezTo>
                  <a:cubicBezTo>
                    <a:pt x="1214" y="2893"/>
                    <a:pt x="1632" y="2368"/>
                    <a:pt x="1632" y="1749"/>
                  </a:cubicBezTo>
                  <a:cubicBezTo>
                    <a:pt x="1632" y="976"/>
                    <a:pt x="983" y="350"/>
                    <a:pt x="182" y="350"/>
                  </a:cubicBezTo>
                  <a:cubicBezTo>
                    <a:pt x="81" y="350"/>
                    <a:pt x="0" y="271"/>
                    <a:pt x="0" y="175"/>
                  </a:cubicBezTo>
                  <a:cubicBezTo>
                    <a:pt x="0" y="78"/>
                    <a:pt x="81" y="0"/>
                    <a:pt x="182" y="0"/>
                  </a:cubicBezTo>
                  <a:cubicBezTo>
                    <a:pt x="282" y="0"/>
                    <a:pt x="363" y="78"/>
                    <a:pt x="363" y="17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8" name="Freeform 23"/>
            <p:cNvSpPr>
              <a:spLocks/>
            </p:cNvSpPr>
            <p:nvPr/>
          </p:nvSpPr>
          <p:spPr bwMode="auto">
            <a:xfrm>
              <a:off x="6268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328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619"/>
                    <a:pt x="418" y="1144"/>
                    <a:pt x="997" y="1328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9" name="Freeform 24"/>
            <p:cNvSpPr>
              <a:spLocks/>
            </p:cNvSpPr>
            <p:nvPr/>
          </p:nvSpPr>
          <p:spPr bwMode="auto">
            <a:xfrm>
              <a:off x="7013" y="491"/>
              <a:ext cx="1339" cy="3081"/>
            </a:xfrm>
            <a:custGeom>
              <a:avLst/>
              <a:gdLst>
                <a:gd name="T0" fmla="*/ 634 w 1632"/>
                <a:gd name="T1" fmla="*/ 3760 h 3760"/>
                <a:gd name="T2" fmla="*/ 634 w 1632"/>
                <a:gd name="T3" fmla="*/ 3143 h 3760"/>
                <a:gd name="T4" fmla="*/ 1632 w 1632"/>
                <a:gd name="T5" fmla="*/ 2099 h 3760"/>
                <a:gd name="T6" fmla="*/ 544 w 1632"/>
                <a:gd name="T7" fmla="*/ 1049 h 3760"/>
                <a:gd name="T8" fmla="*/ 0 w 1632"/>
                <a:gd name="T9" fmla="*/ 525 h 3760"/>
                <a:gd name="T10" fmla="*/ 544 w 1632"/>
                <a:gd name="T11" fmla="*/ 0 h 3760"/>
                <a:gd name="T12" fmla="*/ 1088 w 1632"/>
                <a:gd name="T13" fmla="*/ 525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634" y="3760"/>
                  </a:moveTo>
                  <a:cubicBezTo>
                    <a:pt x="634" y="3143"/>
                    <a:pt x="634" y="3143"/>
                    <a:pt x="634" y="3143"/>
                  </a:cubicBezTo>
                  <a:cubicBezTo>
                    <a:pt x="1193" y="3099"/>
                    <a:pt x="1632" y="2649"/>
                    <a:pt x="1632" y="2099"/>
                  </a:cubicBezTo>
                  <a:cubicBezTo>
                    <a:pt x="1632" y="1519"/>
                    <a:pt x="1144" y="1049"/>
                    <a:pt x="544" y="1049"/>
                  </a:cubicBezTo>
                  <a:cubicBezTo>
                    <a:pt x="243" y="1049"/>
                    <a:pt x="0" y="814"/>
                    <a:pt x="0" y="525"/>
                  </a:cubicBezTo>
                  <a:cubicBezTo>
                    <a:pt x="0" y="235"/>
                    <a:pt x="243" y="0"/>
                    <a:pt x="544" y="0"/>
                  </a:cubicBezTo>
                  <a:cubicBezTo>
                    <a:pt x="844" y="0"/>
                    <a:pt x="1088" y="235"/>
                    <a:pt x="1088" y="525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90" name="Freeform 25"/>
            <p:cNvSpPr>
              <a:spLocks/>
            </p:cNvSpPr>
            <p:nvPr/>
          </p:nvSpPr>
          <p:spPr bwMode="auto">
            <a:xfrm>
              <a:off x="6566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044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550"/>
                    <a:pt x="439" y="1000"/>
                    <a:pt x="997" y="1044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3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40" name="Group 39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41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42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43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44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45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46" name="Picture 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913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11"/>
          <p:cNvGrpSpPr>
            <a:grpSpLocks noChangeAspect="1"/>
          </p:cNvGrpSpPr>
          <p:nvPr/>
        </p:nvGrpSpPr>
        <p:grpSpPr bwMode="auto">
          <a:xfrm>
            <a:off x="6594808" y="-310325"/>
            <a:ext cx="2806367" cy="4729923"/>
            <a:chOff x="6268" y="-441"/>
            <a:chExt cx="2381" cy="4013"/>
          </a:xfrm>
        </p:grpSpPr>
        <p:sp>
          <p:nvSpPr>
            <p:cNvPr id="48" name="Freeform 12"/>
            <p:cNvSpPr>
              <a:spLocks/>
            </p:cNvSpPr>
            <p:nvPr/>
          </p:nvSpPr>
          <p:spPr bwMode="auto">
            <a:xfrm>
              <a:off x="7682" y="-441"/>
              <a:ext cx="819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466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76"/>
                    <a:pt x="570" y="587"/>
                    <a:pt x="0" y="46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49" name="Freeform 13"/>
            <p:cNvSpPr>
              <a:spLocks/>
            </p:cNvSpPr>
            <p:nvPr/>
          </p:nvSpPr>
          <p:spPr bwMode="auto">
            <a:xfrm>
              <a:off x="7831" y="-441"/>
              <a:ext cx="818" cy="1361"/>
            </a:xfrm>
            <a:custGeom>
              <a:avLst/>
              <a:gdLst>
                <a:gd name="T0" fmla="*/ 997 w 997"/>
                <a:gd name="T1" fmla="*/ 1661 h 1661"/>
                <a:gd name="T2" fmla="*/ 0 w 997"/>
                <a:gd name="T3" fmla="*/ 333 h 1661"/>
                <a:gd name="T4" fmla="*/ 0 w 997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997" y="1661"/>
                  </a:moveTo>
                  <a:cubicBezTo>
                    <a:pt x="997" y="1042"/>
                    <a:pt x="579" y="517"/>
                    <a:pt x="0" y="33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50" name="Freeform 14"/>
            <p:cNvSpPr>
              <a:spLocks/>
            </p:cNvSpPr>
            <p:nvPr/>
          </p:nvSpPr>
          <p:spPr bwMode="auto">
            <a:xfrm>
              <a:off x="7533" y="-441"/>
              <a:ext cx="819" cy="1361"/>
            </a:xfrm>
            <a:custGeom>
              <a:avLst/>
              <a:gdLst>
                <a:gd name="T0" fmla="*/ 998 w 998"/>
                <a:gd name="T1" fmla="*/ 1661 h 1661"/>
                <a:gd name="T2" fmla="*/ 0 w 998"/>
                <a:gd name="T3" fmla="*/ 617 h 1661"/>
                <a:gd name="T4" fmla="*/ 0 w 998"/>
                <a:gd name="T5" fmla="*/ 0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998" y="1661"/>
                  </a:moveTo>
                  <a:cubicBezTo>
                    <a:pt x="998" y="1112"/>
                    <a:pt x="559" y="661"/>
                    <a:pt x="0" y="61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0" name="Freeform 15"/>
            <p:cNvSpPr>
              <a:spLocks/>
            </p:cNvSpPr>
            <p:nvPr/>
          </p:nvSpPr>
          <p:spPr bwMode="auto">
            <a:xfrm>
              <a:off x="6715" y="348"/>
              <a:ext cx="1488" cy="2579"/>
            </a:xfrm>
            <a:custGeom>
              <a:avLst/>
              <a:gdLst>
                <a:gd name="T0" fmla="*/ 0 w 1813"/>
                <a:gd name="T1" fmla="*/ 2274 h 3148"/>
                <a:gd name="T2" fmla="*/ 907 w 1813"/>
                <a:gd name="T3" fmla="*/ 3148 h 3148"/>
                <a:gd name="T4" fmla="*/ 1813 w 1813"/>
                <a:gd name="T5" fmla="*/ 2274 h 3148"/>
                <a:gd name="T6" fmla="*/ 907 w 1813"/>
                <a:gd name="T7" fmla="*/ 1399 h 3148"/>
                <a:gd name="T8" fmla="*/ 181 w 1813"/>
                <a:gd name="T9" fmla="*/ 700 h 3148"/>
                <a:gd name="T10" fmla="*/ 907 w 1813"/>
                <a:gd name="T11" fmla="*/ 0 h 3148"/>
                <a:gd name="T12" fmla="*/ 1632 w 1813"/>
                <a:gd name="T13" fmla="*/ 700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0" y="2274"/>
                  </a:moveTo>
                  <a:cubicBezTo>
                    <a:pt x="0" y="2756"/>
                    <a:pt x="406" y="3148"/>
                    <a:pt x="907" y="3148"/>
                  </a:cubicBezTo>
                  <a:cubicBezTo>
                    <a:pt x="1407" y="3148"/>
                    <a:pt x="1813" y="2756"/>
                    <a:pt x="1813" y="2274"/>
                  </a:cubicBezTo>
                  <a:cubicBezTo>
                    <a:pt x="1813" y="1791"/>
                    <a:pt x="1407" y="1399"/>
                    <a:pt x="907" y="1399"/>
                  </a:cubicBezTo>
                  <a:cubicBezTo>
                    <a:pt x="506" y="1399"/>
                    <a:pt x="181" y="1086"/>
                    <a:pt x="181" y="700"/>
                  </a:cubicBezTo>
                  <a:cubicBezTo>
                    <a:pt x="181" y="313"/>
                    <a:pt x="506" y="0"/>
                    <a:pt x="907" y="0"/>
                  </a:cubicBezTo>
                  <a:cubicBezTo>
                    <a:pt x="1307" y="0"/>
                    <a:pt x="1632" y="313"/>
                    <a:pt x="1632" y="70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1" name="Freeform 16"/>
            <p:cNvSpPr>
              <a:spLocks/>
            </p:cNvSpPr>
            <p:nvPr/>
          </p:nvSpPr>
          <p:spPr bwMode="auto">
            <a:xfrm>
              <a:off x="6715" y="204"/>
              <a:ext cx="1488" cy="2580"/>
            </a:xfrm>
            <a:custGeom>
              <a:avLst/>
              <a:gdLst>
                <a:gd name="T0" fmla="*/ 181 w 1813"/>
                <a:gd name="T1" fmla="*/ 2449 h 3148"/>
                <a:gd name="T2" fmla="*/ 907 w 1813"/>
                <a:gd name="T3" fmla="*/ 3148 h 3148"/>
                <a:gd name="T4" fmla="*/ 1632 w 1813"/>
                <a:gd name="T5" fmla="*/ 2449 h 3148"/>
                <a:gd name="T6" fmla="*/ 907 w 1813"/>
                <a:gd name="T7" fmla="*/ 1749 h 3148"/>
                <a:gd name="T8" fmla="*/ 0 w 1813"/>
                <a:gd name="T9" fmla="*/ 875 h 3148"/>
                <a:gd name="T10" fmla="*/ 907 w 1813"/>
                <a:gd name="T11" fmla="*/ 0 h 3148"/>
                <a:gd name="T12" fmla="*/ 1813 w 1813"/>
                <a:gd name="T13" fmla="*/ 875 h 3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3" h="3148">
                  <a:moveTo>
                    <a:pt x="181" y="2449"/>
                  </a:moveTo>
                  <a:cubicBezTo>
                    <a:pt x="181" y="2835"/>
                    <a:pt x="506" y="3148"/>
                    <a:pt x="907" y="3148"/>
                  </a:cubicBezTo>
                  <a:cubicBezTo>
                    <a:pt x="1307" y="3148"/>
                    <a:pt x="1632" y="2835"/>
                    <a:pt x="1632" y="2449"/>
                  </a:cubicBezTo>
                  <a:cubicBezTo>
                    <a:pt x="1632" y="2062"/>
                    <a:pt x="1307" y="1749"/>
                    <a:pt x="907" y="1749"/>
                  </a:cubicBezTo>
                  <a:cubicBezTo>
                    <a:pt x="406" y="1749"/>
                    <a:pt x="0" y="1357"/>
                    <a:pt x="0" y="875"/>
                  </a:cubicBezTo>
                  <a:cubicBezTo>
                    <a:pt x="0" y="392"/>
                    <a:pt x="406" y="0"/>
                    <a:pt x="907" y="0"/>
                  </a:cubicBezTo>
                  <a:cubicBezTo>
                    <a:pt x="1407" y="0"/>
                    <a:pt x="1813" y="392"/>
                    <a:pt x="1813" y="875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2" name="Freeform 17"/>
            <p:cNvSpPr>
              <a:spLocks/>
            </p:cNvSpPr>
            <p:nvPr/>
          </p:nvSpPr>
          <p:spPr bwMode="auto">
            <a:xfrm>
              <a:off x="6566" y="-441"/>
              <a:ext cx="1340" cy="3081"/>
            </a:xfrm>
            <a:custGeom>
              <a:avLst/>
              <a:gdLst>
                <a:gd name="T0" fmla="*/ 997 w 1632"/>
                <a:gd name="T1" fmla="*/ 0 h 3760"/>
                <a:gd name="T2" fmla="*/ 997 w 1632"/>
                <a:gd name="T3" fmla="*/ 617 h 3760"/>
                <a:gd name="T4" fmla="*/ 0 w 1632"/>
                <a:gd name="T5" fmla="*/ 1661 h 3760"/>
                <a:gd name="T6" fmla="*/ 1088 w 1632"/>
                <a:gd name="T7" fmla="*/ 2711 h 3760"/>
                <a:gd name="T8" fmla="*/ 1632 w 1632"/>
                <a:gd name="T9" fmla="*/ 3236 h 3760"/>
                <a:gd name="T10" fmla="*/ 1088 w 1632"/>
                <a:gd name="T11" fmla="*/ 3760 h 3760"/>
                <a:gd name="T12" fmla="*/ 544 w 1632"/>
                <a:gd name="T13" fmla="*/ 3236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997" y="0"/>
                  </a:moveTo>
                  <a:cubicBezTo>
                    <a:pt x="997" y="617"/>
                    <a:pt x="997" y="617"/>
                    <a:pt x="997" y="617"/>
                  </a:cubicBezTo>
                  <a:cubicBezTo>
                    <a:pt x="439" y="661"/>
                    <a:pt x="0" y="1112"/>
                    <a:pt x="0" y="1661"/>
                  </a:cubicBezTo>
                  <a:cubicBezTo>
                    <a:pt x="0" y="2241"/>
                    <a:pt x="487" y="2711"/>
                    <a:pt x="1088" y="2711"/>
                  </a:cubicBezTo>
                  <a:cubicBezTo>
                    <a:pt x="1388" y="2711"/>
                    <a:pt x="1632" y="2946"/>
                    <a:pt x="1632" y="3236"/>
                  </a:cubicBezTo>
                  <a:cubicBezTo>
                    <a:pt x="1632" y="3525"/>
                    <a:pt x="1388" y="3760"/>
                    <a:pt x="1088" y="3760"/>
                  </a:cubicBezTo>
                  <a:cubicBezTo>
                    <a:pt x="787" y="3760"/>
                    <a:pt x="544" y="3525"/>
                    <a:pt x="544" y="3236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3" name="Freeform 18"/>
            <p:cNvSpPr>
              <a:spLocks/>
            </p:cNvSpPr>
            <p:nvPr/>
          </p:nvSpPr>
          <p:spPr bwMode="auto">
            <a:xfrm>
              <a:off x="6417" y="-441"/>
              <a:ext cx="1339" cy="2938"/>
            </a:xfrm>
            <a:custGeom>
              <a:avLst/>
              <a:gdLst>
                <a:gd name="T0" fmla="*/ 998 w 1632"/>
                <a:gd name="T1" fmla="*/ 0 h 3585"/>
                <a:gd name="T2" fmla="*/ 998 w 1632"/>
                <a:gd name="T3" fmla="*/ 466 h 3585"/>
                <a:gd name="T4" fmla="*/ 0 w 1632"/>
                <a:gd name="T5" fmla="*/ 1661 h 3585"/>
                <a:gd name="T6" fmla="*/ 1270 w 1632"/>
                <a:gd name="T7" fmla="*/ 2886 h 3585"/>
                <a:gd name="T8" fmla="*/ 1632 w 1632"/>
                <a:gd name="T9" fmla="*/ 3236 h 3585"/>
                <a:gd name="T10" fmla="*/ 1270 w 1632"/>
                <a:gd name="T11" fmla="*/ 3585 h 3585"/>
                <a:gd name="T12" fmla="*/ 907 w 1632"/>
                <a:gd name="T13" fmla="*/ 3236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998" y="0"/>
                  </a:moveTo>
                  <a:cubicBezTo>
                    <a:pt x="998" y="466"/>
                    <a:pt x="998" y="466"/>
                    <a:pt x="998" y="466"/>
                  </a:cubicBezTo>
                  <a:cubicBezTo>
                    <a:pt x="427" y="586"/>
                    <a:pt x="0" y="1076"/>
                    <a:pt x="0" y="1661"/>
                  </a:cubicBezTo>
                  <a:cubicBezTo>
                    <a:pt x="0" y="2338"/>
                    <a:pt x="569" y="2886"/>
                    <a:pt x="1270" y="2886"/>
                  </a:cubicBezTo>
                  <a:cubicBezTo>
                    <a:pt x="1470" y="2886"/>
                    <a:pt x="1632" y="3042"/>
                    <a:pt x="1632" y="3236"/>
                  </a:cubicBezTo>
                  <a:cubicBezTo>
                    <a:pt x="1632" y="3429"/>
                    <a:pt x="1470" y="3585"/>
                    <a:pt x="1270" y="3585"/>
                  </a:cubicBezTo>
                  <a:cubicBezTo>
                    <a:pt x="1069" y="3585"/>
                    <a:pt x="907" y="3429"/>
                    <a:pt x="907" y="3236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4" name="Freeform 19"/>
            <p:cNvSpPr>
              <a:spLocks/>
            </p:cNvSpPr>
            <p:nvPr/>
          </p:nvSpPr>
          <p:spPr bwMode="auto">
            <a:xfrm>
              <a:off x="6268" y="-441"/>
              <a:ext cx="1340" cy="2795"/>
            </a:xfrm>
            <a:custGeom>
              <a:avLst/>
              <a:gdLst>
                <a:gd name="T0" fmla="*/ 997 w 1632"/>
                <a:gd name="T1" fmla="*/ 0 h 3410"/>
                <a:gd name="T2" fmla="*/ 997 w 1632"/>
                <a:gd name="T3" fmla="*/ 333 h 3410"/>
                <a:gd name="T4" fmla="*/ 997 w 1632"/>
                <a:gd name="T5" fmla="*/ 333 h 3410"/>
                <a:gd name="T6" fmla="*/ 0 w 1632"/>
                <a:gd name="T7" fmla="*/ 1661 h 3410"/>
                <a:gd name="T8" fmla="*/ 1451 w 1632"/>
                <a:gd name="T9" fmla="*/ 3061 h 3410"/>
                <a:gd name="T10" fmla="*/ 1632 w 1632"/>
                <a:gd name="T11" fmla="*/ 3236 h 3410"/>
                <a:gd name="T12" fmla="*/ 1451 w 1632"/>
                <a:gd name="T13" fmla="*/ 3410 h 3410"/>
                <a:gd name="T14" fmla="*/ 1269 w 1632"/>
                <a:gd name="T15" fmla="*/ 3236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2" h="3410">
                  <a:moveTo>
                    <a:pt x="997" y="0"/>
                  </a:moveTo>
                  <a:cubicBezTo>
                    <a:pt x="997" y="333"/>
                    <a:pt x="997" y="333"/>
                    <a:pt x="997" y="333"/>
                  </a:cubicBezTo>
                  <a:cubicBezTo>
                    <a:pt x="997" y="333"/>
                    <a:pt x="997" y="333"/>
                    <a:pt x="997" y="333"/>
                  </a:cubicBezTo>
                  <a:cubicBezTo>
                    <a:pt x="418" y="517"/>
                    <a:pt x="0" y="1042"/>
                    <a:pt x="0" y="1661"/>
                  </a:cubicBezTo>
                  <a:cubicBezTo>
                    <a:pt x="0" y="2434"/>
                    <a:pt x="649" y="3061"/>
                    <a:pt x="1451" y="3061"/>
                  </a:cubicBezTo>
                  <a:cubicBezTo>
                    <a:pt x="1551" y="3061"/>
                    <a:pt x="1632" y="3139"/>
                    <a:pt x="1632" y="3236"/>
                  </a:cubicBezTo>
                  <a:cubicBezTo>
                    <a:pt x="1632" y="3332"/>
                    <a:pt x="1551" y="3410"/>
                    <a:pt x="1451" y="3410"/>
                  </a:cubicBezTo>
                  <a:cubicBezTo>
                    <a:pt x="1350" y="3410"/>
                    <a:pt x="1269" y="3332"/>
                    <a:pt x="1269" y="3236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5" name="Freeform 20"/>
            <p:cNvSpPr>
              <a:spLocks/>
            </p:cNvSpPr>
            <p:nvPr/>
          </p:nvSpPr>
          <p:spPr bwMode="auto">
            <a:xfrm>
              <a:off x="7161" y="634"/>
              <a:ext cx="1340" cy="2938"/>
            </a:xfrm>
            <a:custGeom>
              <a:avLst/>
              <a:gdLst>
                <a:gd name="T0" fmla="*/ 635 w 1632"/>
                <a:gd name="T1" fmla="*/ 3585 h 3585"/>
                <a:gd name="T2" fmla="*/ 635 w 1632"/>
                <a:gd name="T3" fmla="*/ 3119 h 3585"/>
                <a:gd name="T4" fmla="*/ 1632 w 1632"/>
                <a:gd name="T5" fmla="*/ 1924 h 3585"/>
                <a:gd name="T6" fmla="*/ 363 w 1632"/>
                <a:gd name="T7" fmla="*/ 699 h 3585"/>
                <a:gd name="T8" fmla="*/ 0 w 1632"/>
                <a:gd name="T9" fmla="*/ 350 h 3585"/>
                <a:gd name="T10" fmla="*/ 363 w 1632"/>
                <a:gd name="T11" fmla="*/ 0 h 3585"/>
                <a:gd name="T12" fmla="*/ 725 w 1632"/>
                <a:gd name="T13" fmla="*/ 350 h 3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585">
                  <a:moveTo>
                    <a:pt x="635" y="3585"/>
                  </a:moveTo>
                  <a:cubicBezTo>
                    <a:pt x="635" y="3119"/>
                    <a:pt x="635" y="3119"/>
                    <a:pt x="635" y="3119"/>
                  </a:cubicBezTo>
                  <a:cubicBezTo>
                    <a:pt x="1205" y="2999"/>
                    <a:pt x="1632" y="2510"/>
                    <a:pt x="1632" y="1924"/>
                  </a:cubicBezTo>
                  <a:cubicBezTo>
                    <a:pt x="1632" y="1248"/>
                    <a:pt x="1064" y="699"/>
                    <a:pt x="363" y="699"/>
                  </a:cubicBezTo>
                  <a:cubicBezTo>
                    <a:pt x="162" y="699"/>
                    <a:pt x="0" y="543"/>
                    <a:pt x="0" y="350"/>
                  </a:cubicBezTo>
                  <a:cubicBezTo>
                    <a:pt x="0" y="157"/>
                    <a:pt x="162" y="0"/>
                    <a:pt x="363" y="0"/>
                  </a:cubicBezTo>
                  <a:cubicBezTo>
                    <a:pt x="563" y="0"/>
                    <a:pt x="725" y="157"/>
                    <a:pt x="725" y="350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6" name="Freeform 21"/>
            <p:cNvSpPr>
              <a:spLocks/>
            </p:cNvSpPr>
            <p:nvPr/>
          </p:nvSpPr>
          <p:spPr bwMode="auto">
            <a:xfrm>
              <a:off x="6417" y="2211"/>
              <a:ext cx="819" cy="1361"/>
            </a:xfrm>
            <a:custGeom>
              <a:avLst/>
              <a:gdLst>
                <a:gd name="T0" fmla="*/ 0 w 998"/>
                <a:gd name="T1" fmla="*/ 0 h 1661"/>
                <a:gd name="T2" fmla="*/ 998 w 998"/>
                <a:gd name="T3" fmla="*/ 1195 h 1661"/>
                <a:gd name="T4" fmla="*/ 998 w 998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8" h="1661">
                  <a:moveTo>
                    <a:pt x="0" y="0"/>
                  </a:moveTo>
                  <a:cubicBezTo>
                    <a:pt x="0" y="586"/>
                    <a:pt x="427" y="1075"/>
                    <a:pt x="998" y="1195"/>
                  </a:cubicBezTo>
                  <a:cubicBezTo>
                    <a:pt x="998" y="1661"/>
                    <a:pt x="998" y="1661"/>
                    <a:pt x="998" y="1661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7" name="Freeform 22"/>
            <p:cNvSpPr>
              <a:spLocks/>
            </p:cNvSpPr>
            <p:nvPr/>
          </p:nvSpPr>
          <p:spPr bwMode="auto">
            <a:xfrm>
              <a:off x="7310" y="778"/>
              <a:ext cx="1339" cy="2794"/>
            </a:xfrm>
            <a:custGeom>
              <a:avLst/>
              <a:gdLst>
                <a:gd name="T0" fmla="*/ 635 w 1632"/>
                <a:gd name="T1" fmla="*/ 3410 h 3410"/>
                <a:gd name="T2" fmla="*/ 635 w 1632"/>
                <a:gd name="T3" fmla="*/ 3077 h 3410"/>
                <a:gd name="T4" fmla="*/ 1632 w 1632"/>
                <a:gd name="T5" fmla="*/ 1749 h 3410"/>
                <a:gd name="T6" fmla="*/ 182 w 1632"/>
                <a:gd name="T7" fmla="*/ 350 h 3410"/>
                <a:gd name="T8" fmla="*/ 0 w 1632"/>
                <a:gd name="T9" fmla="*/ 175 h 3410"/>
                <a:gd name="T10" fmla="*/ 182 w 1632"/>
                <a:gd name="T11" fmla="*/ 0 h 3410"/>
                <a:gd name="T12" fmla="*/ 363 w 1632"/>
                <a:gd name="T13" fmla="*/ 175 h 3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410">
                  <a:moveTo>
                    <a:pt x="635" y="3410"/>
                  </a:moveTo>
                  <a:cubicBezTo>
                    <a:pt x="635" y="3077"/>
                    <a:pt x="635" y="3077"/>
                    <a:pt x="635" y="3077"/>
                  </a:cubicBezTo>
                  <a:cubicBezTo>
                    <a:pt x="1214" y="2893"/>
                    <a:pt x="1632" y="2368"/>
                    <a:pt x="1632" y="1749"/>
                  </a:cubicBezTo>
                  <a:cubicBezTo>
                    <a:pt x="1632" y="976"/>
                    <a:pt x="983" y="350"/>
                    <a:pt x="182" y="350"/>
                  </a:cubicBezTo>
                  <a:cubicBezTo>
                    <a:pt x="81" y="350"/>
                    <a:pt x="0" y="271"/>
                    <a:pt x="0" y="175"/>
                  </a:cubicBezTo>
                  <a:cubicBezTo>
                    <a:pt x="0" y="78"/>
                    <a:pt x="81" y="0"/>
                    <a:pt x="182" y="0"/>
                  </a:cubicBezTo>
                  <a:cubicBezTo>
                    <a:pt x="282" y="0"/>
                    <a:pt x="363" y="78"/>
                    <a:pt x="363" y="175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8" name="Freeform 23"/>
            <p:cNvSpPr>
              <a:spLocks/>
            </p:cNvSpPr>
            <p:nvPr/>
          </p:nvSpPr>
          <p:spPr bwMode="auto">
            <a:xfrm>
              <a:off x="6268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328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619"/>
                    <a:pt x="418" y="1144"/>
                    <a:pt x="997" y="1328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89" name="Freeform 24"/>
            <p:cNvSpPr>
              <a:spLocks/>
            </p:cNvSpPr>
            <p:nvPr/>
          </p:nvSpPr>
          <p:spPr bwMode="auto">
            <a:xfrm>
              <a:off x="7013" y="491"/>
              <a:ext cx="1339" cy="3081"/>
            </a:xfrm>
            <a:custGeom>
              <a:avLst/>
              <a:gdLst>
                <a:gd name="T0" fmla="*/ 634 w 1632"/>
                <a:gd name="T1" fmla="*/ 3760 h 3760"/>
                <a:gd name="T2" fmla="*/ 634 w 1632"/>
                <a:gd name="T3" fmla="*/ 3143 h 3760"/>
                <a:gd name="T4" fmla="*/ 1632 w 1632"/>
                <a:gd name="T5" fmla="*/ 2099 h 3760"/>
                <a:gd name="T6" fmla="*/ 544 w 1632"/>
                <a:gd name="T7" fmla="*/ 1049 h 3760"/>
                <a:gd name="T8" fmla="*/ 0 w 1632"/>
                <a:gd name="T9" fmla="*/ 525 h 3760"/>
                <a:gd name="T10" fmla="*/ 544 w 1632"/>
                <a:gd name="T11" fmla="*/ 0 h 3760"/>
                <a:gd name="T12" fmla="*/ 1088 w 1632"/>
                <a:gd name="T13" fmla="*/ 525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2" h="3760">
                  <a:moveTo>
                    <a:pt x="634" y="3760"/>
                  </a:moveTo>
                  <a:cubicBezTo>
                    <a:pt x="634" y="3143"/>
                    <a:pt x="634" y="3143"/>
                    <a:pt x="634" y="3143"/>
                  </a:cubicBezTo>
                  <a:cubicBezTo>
                    <a:pt x="1193" y="3099"/>
                    <a:pt x="1632" y="2649"/>
                    <a:pt x="1632" y="2099"/>
                  </a:cubicBezTo>
                  <a:cubicBezTo>
                    <a:pt x="1632" y="1519"/>
                    <a:pt x="1144" y="1049"/>
                    <a:pt x="544" y="1049"/>
                  </a:cubicBezTo>
                  <a:cubicBezTo>
                    <a:pt x="243" y="1049"/>
                    <a:pt x="0" y="814"/>
                    <a:pt x="0" y="525"/>
                  </a:cubicBezTo>
                  <a:cubicBezTo>
                    <a:pt x="0" y="235"/>
                    <a:pt x="243" y="0"/>
                    <a:pt x="544" y="0"/>
                  </a:cubicBezTo>
                  <a:cubicBezTo>
                    <a:pt x="844" y="0"/>
                    <a:pt x="1088" y="235"/>
                    <a:pt x="1088" y="525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  <p:sp>
          <p:nvSpPr>
            <p:cNvPr id="90" name="Freeform 25"/>
            <p:cNvSpPr>
              <a:spLocks/>
            </p:cNvSpPr>
            <p:nvPr/>
          </p:nvSpPr>
          <p:spPr bwMode="auto">
            <a:xfrm>
              <a:off x="6566" y="2211"/>
              <a:ext cx="819" cy="1361"/>
            </a:xfrm>
            <a:custGeom>
              <a:avLst/>
              <a:gdLst>
                <a:gd name="T0" fmla="*/ 0 w 997"/>
                <a:gd name="T1" fmla="*/ 0 h 1661"/>
                <a:gd name="T2" fmla="*/ 997 w 997"/>
                <a:gd name="T3" fmla="*/ 1044 h 1661"/>
                <a:gd name="T4" fmla="*/ 997 w 997"/>
                <a:gd name="T5" fmla="*/ 1661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7" h="1661">
                  <a:moveTo>
                    <a:pt x="0" y="0"/>
                  </a:moveTo>
                  <a:cubicBezTo>
                    <a:pt x="0" y="550"/>
                    <a:pt x="439" y="1000"/>
                    <a:pt x="997" y="1044"/>
                  </a:cubicBezTo>
                  <a:cubicBezTo>
                    <a:pt x="997" y="1661"/>
                    <a:pt x="997" y="1661"/>
                    <a:pt x="997" y="1661"/>
                  </a:cubicBezTo>
                </a:path>
              </a:pathLst>
            </a:custGeom>
            <a:noFill/>
            <a:ln w="14351" cap="flat">
              <a:solidFill>
                <a:srgbClr val="37B7B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 dirty="0"/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3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40" name="Group 39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41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42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43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44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45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46" name="Picture 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886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for background picture">
    <p:bg>
      <p:bgPr>
        <a:solidFill>
          <a:srgbClr val="A4CB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5"/>
          <p:cNvSpPr>
            <a:spLocks noEditPoints="1"/>
          </p:cNvSpPr>
          <p:nvPr/>
        </p:nvSpPr>
        <p:spPr bwMode="auto">
          <a:xfrm>
            <a:off x="5162552" y="-523875"/>
            <a:ext cx="4268788" cy="4710113"/>
          </a:xfrm>
          <a:custGeom>
            <a:avLst/>
            <a:gdLst>
              <a:gd name="T0" fmla="*/ 1543 w 5865"/>
              <a:gd name="T1" fmla="*/ 3704 h 6482"/>
              <a:gd name="T2" fmla="*/ 1543 w 5865"/>
              <a:gd name="T3" fmla="*/ 1543 h 6482"/>
              <a:gd name="T4" fmla="*/ 4322 w 5865"/>
              <a:gd name="T5" fmla="*/ 1543 h 6482"/>
              <a:gd name="T6" fmla="*/ 4322 w 5865"/>
              <a:gd name="T7" fmla="*/ 3704 h 6482"/>
              <a:gd name="T8" fmla="*/ 2778 w 5865"/>
              <a:gd name="T9" fmla="*/ 4939 h 6482"/>
              <a:gd name="T10" fmla="*/ 1543 w 5865"/>
              <a:gd name="T11" fmla="*/ 3704 h 6482"/>
              <a:gd name="T12" fmla="*/ 4322 w 5865"/>
              <a:gd name="T13" fmla="*/ 3704 h 6482"/>
              <a:gd name="T14" fmla="*/ 2778 w 5865"/>
              <a:gd name="T15" fmla="*/ 5247 h 6482"/>
              <a:gd name="T16" fmla="*/ 4630 w 5865"/>
              <a:gd name="T17" fmla="*/ 3704 h 6482"/>
              <a:gd name="T18" fmla="*/ 2778 w 5865"/>
              <a:gd name="T19" fmla="*/ 5556 h 6482"/>
              <a:gd name="T20" fmla="*/ 2778 w 5865"/>
              <a:gd name="T21" fmla="*/ 5556 h 6482"/>
              <a:gd name="T22" fmla="*/ 926 w 5865"/>
              <a:gd name="T23" fmla="*/ 3704 h 6482"/>
              <a:gd name="T24" fmla="*/ 926 w 5865"/>
              <a:gd name="T25" fmla="*/ 926 h 6482"/>
              <a:gd name="T26" fmla="*/ 4939 w 5865"/>
              <a:gd name="T27" fmla="*/ 926 h 6482"/>
              <a:gd name="T28" fmla="*/ 4939 w 5865"/>
              <a:gd name="T29" fmla="*/ 3704 h 6482"/>
              <a:gd name="T30" fmla="*/ 2778 w 5865"/>
              <a:gd name="T31" fmla="*/ 5865 h 6482"/>
              <a:gd name="T32" fmla="*/ 2778 w 5865"/>
              <a:gd name="T33" fmla="*/ 5865 h 6482"/>
              <a:gd name="T34" fmla="*/ 617 w 5865"/>
              <a:gd name="T35" fmla="*/ 3704 h 6482"/>
              <a:gd name="T36" fmla="*/ 2778 w 5865"/>
              <a:gd name="T37" fmla="*/ 6173 h 6482"/>
              <a:gd name="T38" fmla="*/ 5248 w 5865"/>
              <a:gd name="T39" fmla="*/ 3704 h 6482"/>
              <a:gd name="T40" fmla="*/ 5248 w 5865"/>
              <a:gd name="T41" fmla="*/ 617 h 6482"/>
              <a:gd name="T42" fmla="*/ 617 w 5865"/>
              <a:gd name="T43" fmla="*/ 617 h 6482"/>
              <a:gd name="T44" fmla="*/ 617 w 5865"/>
              <a:gd name="T45" fmla="*/ 3704 h 6482"/>
              <a:gd name="T46" fmla="*/ 2778 w 5865"/>
              <a:gd name="T47" fmla="*/ 6173 h 6482"/>
              <a:gd name="T48" fmla="*/ 309 w 5865"/>
              <a:gd name="T49" fmla="*/ 3704 h 6482"/>
              <a:gd name="T50" fmla="*/ 2778 w 5865"/>
              <a:gd name="T51" fmla="*/ 6482 h 6482"/>
              <a:gd name="T52" fmla="*/ 5556 w 5865"/>
              <a:gd name="T53" fmla="*/ 3704 h 6482"/>
              <a:gd name="T54" fmla="*/ 5556 w 5865"/>
              <a:gd name="T55" fmla="*/ 308 h 6482"/>
              <a:gd name="T56" fmla="*/ 309 w 5865"/>
              <a:gd name="T57" fmla="*/ 308 h 6482"/>
              <a:gd name="T58" fmla="*/ 309 w 5865"/>
              <a:gd name="T59" fmla="*/ 3704 h 6482"/>
              <a:gd name="T60" fmla="*/ 2778 w 5865"/>
              <a:gd name="T61" fmla="*/ 6482 h 6482"/>
              <a:gd name="T62" fmla="*/ 0 w 5865"/>
              <a:gd name="T63" fmla="*/ 3704 h 6482"/>
              <a:gd name="T64" fmla="*/ 0 w 5865"/>
              <a:gd name="T65" fmla="*/ 0 h 6482"/>
              <a:gd name="T66" fmla="*/ 5865 w 5865"/>
              <a:gd name="T67" fmla="*/ 0 h 6482"/>
              <a:gd name="T68" fmla="*/ 3704 w 5865"/>
              <a:gd name="T69" fmla="*/ 3704 h 6482"/>
              <a:gd name="T70" fmla="*/ 2778 w 5865"/>
              <a:gd name="T71" fmla="*/ 4630 h 6482"/>
              <a:gd name="T72" fmla="*/ 2778 w 5865"/>
              <a:gd name="T73" fmla="*/ 5247 h 6482"/>
              <a:gd name="T74" fmla="*/ 1235 w 5865"/>
              <a:gd name="T75" fmla="*/ 3704 h 6482"/>
              <a:gd name="T76" fmla="*/ 1235 w 5865"/>
              <a:gd name="T77" fmla="*/ 1234 h 6482"/>
              <a:gd name="T78" fmla="*/ 4630 w 5865"/>
              <a:gd name="T79" fmla="*/ 1234 h 6482"/>
              <a:gd name="T80" fmla="*/ 4630 w 5865"/>
              <a:gd name="T81" fmla="*/ 3704 h 6482"/>
              <a:gd name="T82" fmla="*/ 3087 w 5865"/>
              <a:gd name="T83" fmla="*/ 4013 h 6482"/>
              <a:gd name="T84" fmla="*/ 2470 w 5865"/>
              <a:gd name="T85" fmla="*/ 3395 h 6482"/>
              <a:gd name="T86" fmla="*/ 2778 w 5865"/>
              <a:gd name="T87" fmla="*/ 2160 h 6482"/>
              <a:gd name="T88" fmla="*/ 3704 w 5865"/>
              <a:gd name="T89" fmla="*/ 2160 h 6482"/>
              <a:gd name="T90" fmla="*/ 3704 w 5865"/>
              <a:gd name="T91" fmla="*/ 2778 h 6482"/>
              <a:gd name="T92" fmla="*/ 3704 w 5865"/>
              <a:gd name="T93" fmla="*/ 3704 h 6482"/>
              <a:gd name="T94" fmla="*/ 3396 w 5865"/>
              <a:gd name="T95" fmla="*/ 2469 h 6482"/>
              <a:gd name="T96" fmla="*/ 3396 w 5865"/>
              <a:gd name="T97" fmla="*/ 3704 h 6482"/>
              <a:gd name="T98" fmla="*/ 2161 w 5865"/>
              <a:gd name="T99" fmla="*/ 2469 h 6482"/>
              <a:gd name="T100" fmla="*/ 2161 w 5865"/>
              <a:gd name="T101" fmla="*/ 3704 h 6482"/>
              <a:gd name="T102" fmla="*/ 2778 w 5865"/>
              <a:gd name="T103" fmla="*/ 4321 h 6482"/>
              <a:gd name="T104" fmla="*/ 2778 w 5865"/>
              <a:gd name="T105" fmla="*/ 4939 h 6482"/>
              <a:gd name="T106" fmla="*/ 4013 w 5865"/>
              <a:gd name="T107" fmla="*/ 3704 h 6482"/>
              <a:gd name="T108" fmla="*/ 4013 w 5865"/>
              <a:gd name="T109" fmla="*/ 1852 h 6482"/>
              <a:gd name="T110" fmla="*/ 1852 w 5865"/>
              <a:gd name="T111" fmla="*/ 1852 h 6482"/>
              <a:gd name="T112" fmla="*/ 1852 w 5865"/>
              <a:gd name="T113" fmla="*/ 2160 h 6482"/>
              <a:gd name="T114" fmla="*/ 1852 w 5865"/>
              <a:gd name="T115" fmla="*/ 3704 h 6482"/>
              <a:gd name="T116" fmla="*/ 2778 w 5865"/>
              <a:gd name="T117" fmla="*/ 4630 h 6482"/>
              <a:gd name="T118" fmla="*/ 3087 w 5865"/>
              <a:gd name="T119" fmla="*/ 2778 h 6482"/>
              <a:gd name="T120" fmla="*/ 2470 w 5865"/>
              <a:gd name="T121" fmla="*/ 2160 h 6482"/>
              <a:gd name="T122" fmla="*/ 2161 w 5865"/>
              <a:gd name="T123" fmla="*/ 2160 h 6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65" h="6482">
                <a:moveTo>
                  <a:pt x="1543" y="3704"/>
                </a:moveTo>
                <a:cubicBezTo>
                  <a:pt x="1543" y="1543"/>
                  <a:pt x="1543" y="1543"/>
                  <a:pt x="1543" y="1543"/>
                </a:cubicBezTo>
                <a:cubicBezTo>
                  <a:pt x="4322" y="1543"/>
                  <a:pt x="4322" y="1543"/>
                  <a:pt x="4322" y="1543"/>
                </a:cubicBezTo>
                <a:cubicBezTo>
                  <a:pt x="4322" y="3704"/>
                  <a:pt x="4322" y="3704"/>
                  <a:pt x="4322" y="3704"/>
                </a:cubicBezTo>
                <a:moveTo>
                  <a:pt x="2778" y="4939"/>
                </a:moveTo>
                <a:cubicBezTo>
                  <a:pt x="2096" y="4939"/>
                  <a:pt x="1543" y="4386"/>
                  <a:pt x="1543" y="3704"/>
                </a:cubicBezTo>
                <a:moveTo>
                  <a:pt x="4322" y="3704"/>
                </a:moveTo>
                <a:cubicBezTo>
                  <a:pt x="4322" y="4556"/>
                  <a:pt x="3631" y="5247"/>
                  <a:pt x="2778" y="5247"/>
                </a:cubicBezTo>
                <a:moveTo>
                  <a:pt x="4630" y="3704"/>
                </a:moveTo>
                <a:cubicBezTo>
                  <a:pt x="4630" y="4727"/>
                  <a:pt x="3801" y="5556"/>
                  <a:pt x="2778" y="5556"/>
                </a:cubicBezTo>
                <a:moveTo>
                  <a:pt x="2778" y="5556"/>
                </a:moveTo>
                <a:cubicBezTo>
                  <a:pt x="1755" y="5556"/>
                  <a:pt x="926" y="4727"/>
                  <a:pt x="926" y="3704"/>
                </a:cubicBezTo>
                <a:cubicBezTo>
                  <a:pt x="926" y="926"/>
                  <a:pt x="926" y="926"/>
                  <a:pt x="926" y="926"/>
                </a:cubicBezTo>
                <a:cubicBezTo>
                  <a:pt x="4939" y="926"/>
                  <a:pt x="4939" y="926"/>
                  <a:pt x="4939" y="926"/>
                </a:cubicBezTo>
                <a:cubicBezTo>
                  <a:pt x="4939" y="3704"/>
                  <a:pt x="4939" y="3704"/>
                  <a:pt x="4939" y="3704"/>
                </a:cubicBezTo>
                <a:cubicBezTo>
                  <a:pt x="4939" y="4897"/>
                  <a:pt x="3972" y="5865"/>
                  <a:pt x="2778" y="5865"/>
                </a:cubicBezTo>
                <a:moveTo>
                  <a:pt x="2778" y="5865"/>
                </a:moveTo>
                <a:cubicBezTo>
                  <a:pt x="1585" y="5865"/>
                  <a:pt x="617" y="4897"/>
                  <a:pt x="617" y="3704"/>
                </a:cubicBezTo>
                <a:moveTo>
                  <a:pt x="2778" y="6173"/>
                </a:moveTo>
                <a:cubicBezTo>
                  <a:pt x="4142" y="6173"/>
                  <a:pt x="5248" y="5068"/>
                  <a:pt x="5248" y="3704"/>
                </a:cubicBezTo>
                <a:cubicBezTo>
                  <a:pt x="5248" y="617"/>
                  <a:pt x="5248" y="617"/>
                  <a:pt x="5248" y="617"/>
                </a:cubicBezTo>
                <a:cubicBezTo>
                  <a:pt x="617" y="617"/>
                  <a:pt x="617" y="617"/>
                  <a:pt x="617" y="617"/>
                </a:cubicBezTo>
                <a:cubicBezTo>
                  <a:pt x="617" y="3704"/>
                  <a:pt x="617" y="3704"/>
                  <a:pt x="617" y="3704"/>
                </a:cubicBezTo>
                <a:moveTo>
                  <a:pt x="2778" y="6173"/>
                </a:moveTo>
                <a:cubicBezTo>
                  <a:pt x="1414" y="6173"/>
                  <a:pt x="309" y="5068"/>
                  <a:pt x="309" y="3704"/>
                </a:cubicBezTo>
                <a:moveTo>
                  <a:pt x="2778" y="6482"/>
                </a:moveTo>
                <a:cubicBezTo>
                  <a:pt x="4313" y="6482"/>
                  <a:pt x="5556" y="5238"/>
                  <a:pt x="5556" y="3704"/>
                </a:cubicBezTo>
                <a:cubicBezTo>
                  <a:pt x="5556" y="308"/>
                  <a:pt x="5556" y="308"/>
                  <a:pt x="5556" y="308"/>
                </a:cubicBezTo>
                <a:cubicBezTo>
                  <a:pt x="309" y="308"/>
                  <a:pt x="309" y="308"/>
                  <a:pt x="309" y="308"/>
                </a:cubicBezTo>
                <a:cubicBezTo>
                  <a:pt x="309" y="3704"/>
                  <a:pt x="309" y="3704"/>
                  <a:pt x="309" y="3704"/>
                </a:cubicBezTo>
                <a:moveTo>
                  <a:pt x="2778" y="6482"/>
                </a:moveTo>
                <a:cubicBezTo>
                  <a:pt x="1244" y="6482"/>
                  <a:pt x="0" y="5238"/>
                  <a:pt x="0" y="3704"/>
                </a:cubicBezTo>
                <a:cubicBezTo>
                  <a:pt x="0" y="0"/>
                  <a:pt x="0" y="0"/>
                  <a:pt x="0" y="0"/>
                </a:cubicBezTo>
                <a:cubicBezTo>
                  <a:pt x="5865" y="0"/>
                  <a:pt x="5865" y="0"/>
                  <a:pt x="5865" y="0"/>
                </a:cubicBezTo>
                <a:moveTo>
                  <a:pt x="3704" y="3704"/>
                </a:moveTo>
                <a:cubicBezTo>
                  <a:pt x="3704" y="4215"/>
                  <a:pt x="3290" y="4630"/>
                  <a:pt x="2778" y="4630"/>
                </a:cubicBezTo>
                <a:moveTo>
                  <a:pt x="2778" y="5247"/>
                </a:moveTo>
                <a:cubicBezTo>
                  <a:pt x="1926" y="5247"/>
                  <a:pt x="1235" y="4556"/>
                  <a:pt x="1235" y="3704"/>
                </a:cubicBezTo>
                <a:cubicBezTo>
                  <a:pt x="1235" y="1234"/>
                  <a:pt x="1235" y="1234"/>
                  <a:pt x="1235" y="1234"/>
                </a:cubicBezTo>
                <a:cubicBezTo>
                  <a:pt x="4630" y="1234"/>
                  <a:pt x="4630" y="1234"/>
                  <a:pt x="4630" y="1234"/>
                </a:cubicBezTo>
                <a:cubicBezTo>
                  <a:pt x="4630" y="3704"/>
                  <a:pt x="4630" y="3704"/>
                  <a:pt x="4630" y="3704"/>
                </a:cubicBezTo>
                <a:moveTo>
                  <a:pt x="3087" y="4013"/>
                </a:moveTo>
                <a:cubicBezTo>
                  <a:pt x="2470" y="3395"/>
                  <a:pt x="2470" y="3395"/>
                  <a:pt x="2470" y="3395"/>
                </a:cubicBezTo>
                <a:moveTo>
                  <a:pt x="2778" y="2160"/>
                </a:moveTo>
                <a:cubicBezTo>
                  <a:pt x="3704" y="2160"/>
                  <a:pt x="3704" y="2160"/>
                  <a:pt x="3704" y="2160"/>
                </a:cubicBezTo>
                <a:cubicBezTo>
                  <a:pt x="3704" y="2778"/>
                  <a:pt x="3704" y="2778"/>
                  <a:pt x="3704" y="2778"/>
                </a:cubicBezTo>
                <a:cubicBezTo>
                  <a:pt x="3704" y="3704"/>
                  <a:pt x="3704" y="3704"/>
                  <a:pt x="3704" y="3704"/>
                </a:cubicBezTo>
                <a:moveTo>
                  <a:pt x="3396" y="2469"/>
                </a:moveTo>
                <a:cubicBezTo>
                  <a:pt x="3396" y="3704"/>
                  <a:pt x="3396" y="3704"/>
                  <a:pt x="3396" y="3704"/>
                </a:cubicBezTo>
                <a:cubicBezTo>
                  <a:pt x="2161" y="2469"/>
                  <a:pt x="2161" y="2469"/>
                  <a:pt x="2161" y="2469"/>
                </a:cubicBezTo>
                <a:cubicBezTo>
                  <a:pt x="2161" y="3704"/>
                  <a:pt x="2161" y="3704"/>
                  <a:pt x="2161" y="3704"/>
                </a:cubicBezTo>
                <a:cubicBezTo>
                  <a:pt x="2778" y="4321"/>
                  <a:pt x="2778" y="4321"/>
                  <a:pt x="2778" y="4321"/>
                </a:cubicBezTo>
                <a:moveTo>
                  <a:pt x="2778" y="4939"/>
                </a:moveTo>
                <a:cubicBezTo>
                  <a:pt x="3460" y="4939"/>
                  <a:pt x="4013" y="4386"/>
                  <a:pt x="4013" y="3704"/>
                </a:cubicBezTo>
                <a:cubicBezTo>
                  <a:pt x="4013" y="1852"/>
                  <a:pt x="4013" y="1852"/>
                  <a:pt x="4013" y="1852"/>
                </a:cubicBezTo>
                <a:cubicBezTo>
                  <a:pt x="1852" y="1852"/>
                  <a:pt x="1852" y="1852"/>
                  <a:pt x="1852" y="1852"/>
                </a:cubicBezTo>
                <a:cubicBezTo>
                  <a:pt x="1852" y="2160"/>
                  <a:pt x="1852" y="2160"/>
                  <a:pt x="1852" y="2160"/>
                </a:cubicBezTo>
                <a:cubicBezTo>
                  <a:pt x="1852" y="3704"/>
                  <a:pt x="1852" y="3704"/>
                  <a:pt x="1852" y="3704"/>
                </a:cubicBezTo>
                <a:cubicBezTo>
                  <a:pt x="1852" y="4215"/>
                  <a:pt x="2267" y="4630"/>
                  <a:pt x="2778" y="4630"/>
                </a:cubicBezTo>
                <a:moveTo>
                  <a:pt x="3087" y="2778"/>
                </a:moveTo>
                <a:cubicBezTo>
                  <a:pt x="2470" y="2160"/>
                  <a:pt x="2470" y="2160"/>
                  <a:pt x="2470" y="2160"/>
                </a:cubicBezTo>
                <a:cubicBezTo>
                  <a:pt x="2161" y="2160"/>
                  <a:pt x="2161" y="2160"/>
                  <a:pt x="2161" y="2160"/>
                </a:cubicBezTo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0239" y="1245428"/>
            <a:ext cx="7872484" cy="445241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dirty="0" smtClean="0"/>
              <a:t>Insert subtitle here. Right click on slide background to set picture.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1521D2D2-20BA-44DF-95E9-ED6579CD61FC}" type="datetime1">
              <a:rPr lang="en-GB" smtClean="0"/>
              <a:t>24/01/2018</a:t>
            </a:fld>
            <a:endParaRPr lang="en-GB"/>
          </a:p>
        </p:txBody>
      </p:sp>
      <p:cxnSp>
        <p:nvCxnSpPr>
          <p:cNvPr id="16" name="Straight Connector 15"/>
          <p:cNvCxnSpPr/>
          <p:nvPr/>
        </p:nvCxnSpPr>
        <p:spPr>
          <a:xfrm>
            <a:off x="646925" y="470735"/>
            <a:ext cx="7855798" cy="0"/>
          </a:xfrm>
          <a:prstGeom prst="line">
            <a:avLst/>
          </a:prstGeom>
          <a:ln w="381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239" y="470734"/>
            <a:ext cx="7872484" cy="698501"/>
          </a:xfrm>
        </p:spPr>
        <p:txBody>
          <a:bodyPr vert="horz" lIns="36000" tIns="0" rIns="36000" bIns="0" rtlCol="0" anchor="ctr">
            <a:normAutofit/>
          </a:bodyPr>
          <a:lstStyle>
            <a:lvl1pPr>
              <a:defRPr lang="en-US" sz="48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>
              <a:spcBef>
                <a:spcPts val="0"/>
              </a:spcBef>
              <a:buFont typeface="Arial" panose="020B0604020202020204" pitchFamily="34" charset="0"/>
            </a:pPr>
            <a:r>
              <a:rPr lang="en-US" dirty="0" smtClean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8659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AFDCF92C-E7CC-46C0-B4F4-167BC6DDDA30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209689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A4CB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 5"/>
          <p:cNvSpPr>
            <a:spLocks noEditPoints="1"/>
          </p:cNvSpPr>
          <p:nvPr/>
        </p:nvSpPr>
        <p:spPr bwMode="auto">
          <a:xfrm>
            <a:off x="5162552" y="-523875"/>
            <a:ext cx="4268788" cy="4710113"/>
          </a:xfrm>
          <a:custGeom>
            <a:avLst/>
            <a:gdLst>
              <a:gd name="T0" fmla="*/ 1543 w 5865"/>
              <a:gd name="T1" fmla="*/ 3704 h 6482"/>
              <a:gd name="T2" fmla="*/ 1543 w 5865"/>
              <a:gd name="T3" fmla="*/ 1543 h 6482"/>
              <a:gd name="T4" fmla="*/ 4322 w 5865"/>
              <a:gd name="T5" fmla="*/ 1543 h 6482"/>
              <a:gd name="T6" fmla="*/ 4322 w 5865"/>
              <a:gd name="T7" fmla="*/ 3704 h 6482"/>
              <a:gd name="T8" fmla="*/ 2778 w 5865"/>
              <a:gd name="T9" fmla="*/ 4939 h 6482"/>
              <a:gd name="T10" fmla="*/ 1543 w 5865"/>
              <a:gd name="T11" fmla="*/ 3704 h 6482"/>
              <a:gd name="T12" fmla="*/ 4322 w 5865"/>
              <a:gd name="T13" fmla="*/ 3704 h 6482"/>
              <a:gd name="T14" fmla="*/ 2778 w 5865"/>
              <a:gd name="T15" fmla="*/ 5247 h 6482"/>
              <a:gd name="T16" fmla="*/ 4630 w 5865"/>
              <a:gd name="T17" fmla="*/ 3704 h 6482"/>
              <a:gd name="T18" fmla="*/ 2778 w 5865"/>
              <a:gd name="T19" fmla="*/ 5556 h 6482"/>
              <a:gd name="T20" fmla="*/ 2778 w 5865"/>
              <a:gd name="T21" fmla="*/ 5556 h 6482"/>
              <a:gd name="T22" fmla="*/ 926 w 5865"/>
              <a:gd name="T23" fmla="*/ 3704 h 6482"/>
              <a:gd name="T24" fmla="*/ 926 w 5865"/>
              <a:gd name="T25" fmla="*/ 926 h 6482"/>
              <a:gd name="T26" fmla="*/ 4939 w 5865"/>
              <a:gd name="T27" fmla="*/ 926 h 6482"/>
              <a:gd name="T28" fmla="*/ 4939 w 5865"/>
              <a:gd name="T29" fmla="*/ 3704 h 6482"/>
              <a:gd name="T30" fmla="*/ 2778 w 5865"/>
              <a:gd name="T31" fmla="*/ 5865 h 6482"/>
              <a:gd name="T32" fmla="*/ 2778 w 5865"/>
              <a:gd name="T33" fmla="*/ 5865 h 6482"/>
              <a:gd name="T34" fmla="*/ 617 w 5865"/>
              <a:gd name="T35" fmla="*/ 3704 h 6482"/>
              <a:gd name="T36" fmla="*/ 2778 w 5865"/>
              <a:gd name="T37" fmla="*/ 6173 h 6482"/>
              <a:gd name="T38" fmla="*/ 5248 w 5865"/>
              <a:gd name="T39" fmla="*/ 3704 h 6482"/>
              <a:gd name="T40" fmla="*/ 5248 w 5865"/>
              <a:gd name="T41" fmla="*/ 617 h 6482"/>
              <a:gd name="T42" fmla="*/ 617 w 5865"/>
              <a:gd name="T43" fmla="*/ 617 h 6482"/>
              <a:gd name="T44" fmla="*/ 617 w 5865"/>
              <a:gd name="T45" fmla="*/ 3704 h 6482"/>
              <a:gd name="T46" fmla="*/ 2778 w 5865"/>
              <a:gd name="T47" fmla="*/ 6173 h 6482"/>
              <a:gd name="T48" fmla="*/ 309 w 5865"/>
              <a:gd name="T49" fmla="*/ 3704 h 6482"/>
              <a:gd name="T50" fmla="*/ 2778 w 5865"/>
              <a:gd name="T51" fmla="*/ 6482 h 6482"/>
              <a:gd name="T52" fmla="*/ 5556 w 5865"/>
              <a:gd name="T53" fmla="*/ 3704 h 6482"/>
              <a:gd name="T54" fmla="*/ 5556 w 5865"/>
              <a:gd name="T55" fmla="*/ 308 h 6482"/>
              <a:gd name="T56" fmla="*/ 309 w 5865"/>
              <a:gd name="T57" fmla="*/ 308 h 6482"/>
              <a:gd name="T58" fmla="*/ 309 w 5865"/>
              <a:gd name="T59" fmla="*/ 3704 h 6482"/>
              <a:gd name="T60" fmla="*/ 2778 w 5865"/>
              <a:gd name="T61" fmla="*/ 6482 h 6482"/>
              <a:gd name="T62" fmla="*/ 0 w 5865"/>
              <a:gd name="T63" fmla="*/ 3704 h 6482"/>
              <a:gd name="T64" fmla="*/ 0 w 5865"/>
              <a:gd name="T65" fmla="*/ 0 h 6482"/>
              <a:gd name="T66" fmla="*/ 5865 w 5865"/>
              <a:gd name="T67" fmla="*/ 0 h 6482"/>
              <a:gd name="T68" fmla="*/ 3704 w 5865"/>
              <a:gd name="T69" fmla="*/ 3704 h 6482"/>
              <a:gd name="T70" fmla="*/ 2778 w 5865"/>
              <a:gd name="T71" fmla="*/ 4630 h 6482"/>
              <a:gd name="T72" fmla="*/ 2778 w 5865"/>
              <a:gd name="T73" fmla="*/ 5247 h 6482"/>
              <a:gd name="T74" fmla="*/ 1235 w 5865"/>
              <a:gd name="T75" fmla="*/ 3704 h 6482"/>
              <a:gd name="T76" fmla="*/ 1235 w 5865"/>
              <a:gd name="T77" fmla="*/ 1234 h 6482"/>
              <a:gd name="T78" fmla="*/ 4630 w 5865"/>
              <a:gd name="T79" fmla="*/ 1234 h 6482"/>
              <a:gd name="T80" fmla="*/ 4630 w 5865"/>
              <a:gd name="T81" fmla="*/ 3704 h 6482"/>
              <a:gd name="T82" fmla="*/ 3087 w 5865"/>
              <a:gd name="T83" fmla="*/ 4013 h 6482"/>
              <a:gd name="T84" fmla="*/ 2470 w 5865"/>
              <a:gd name="T85" fmla="*/ 3395 h 6482"/>
              <a:gd name="T86" fmla="*/ 2778 w 5865"/>
              <a:gd name="T87" fmla="*/ 2160 h 6482"/>
              <a:gd name="T88" fmla="*/ 3704 w 5865"/>
              <a:gd name="T89" fmla="*/ 2160 h 6482"/>
              <a:gd name="T90" fmla="*/ 3704 w 5865"/>
              <a:gd name="T91" fmla="*/ 2778 h 6482"/>
              <a:gd name="T92" fmla="*/ 3704 w 5865"/>
              <a:gd name="T93" fmla="*/ 3704 h 6482"/>
              <a:gd name="T94" fmla="*/ 3396 w 5865"/>
              <a:gd name="T95" fmla="*/ 2469 h 6482"/>
              <a:gd name="T96" fmla="*/ 3396 w 5865"/>
              <a:gd name="T97" fmla="*/ 3704 h 6482"/>
              <a:gd name="T98" fmla="*/ 2161 w 5865"/>
              <a:gd name="T99" fmla="*/ 2469 h 6482"/>
              <a:gd name="T100" fmla="*/ 2161 w 5865"/>
              <a:gd name="T101" fmla="*/ 3704 h 6482"/>
              <a:gd name="T102" fmla="*/ 2778 w 5865"/>
              <a:gd name="T103" fmla="*/ 4321 h 6482"/>
              <a:gd name="T104" fmla="*/ 2778 w 5865"/>
              <a:gd name="T105" fmla="*/ 4939 h 6482"/>
              <a:gd name="T106" fmla="*/ 4013 w 5865"/>
              <a:gd name="T107" fmla="*/ 3704 h 6482"/>
              <a:gd name="T108" fmla="*/ 4013 w 5865"/>
              <a:gd name="T109" fmla="*/ 1852 h 6482"/>
              <a:gd name="T110" fmla="*/ 1852 w 5865"/>
              <a:gd name="T111" fmla="*/ 1852 h 6482"/>
              <a:gd name="T112" fmla="*/ 1852 w 5865"/>
              <a:gd name="T113" fmla="*/ 2160 h 6482"/>
              <a:gd name="T114" fmla="*/ 1852 w 5865"/>
              <a:gd name="T115" fmla="*/ 3704 h 6482"/>
              <a:gd name="T116" fmla="*/ 2778 w 5865"/>
              <a:gd name="T117" fmla="*/ 4630 h 6482"/>
              <a:gd name="T118" fmla="*/ 3087 w 5865"/>
              <a:gd name="T119" fmla="*/ 2778 h 6482"/>
              <a:gd name="T120" fmla="*/ 2470 w 5865"/>
              <a:gd name="T121" fmla="*/ 2160 h 6482"/>
              <a:gd name="T122" fmla="*/ 2161 w 5865"/>
              <a:gd name="T123" fmla="*/ 2160 h 6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65" h="6482">
                <a:moveTo>
                  <a:pt x="1543" y="3704"/>
                </a:moveTo>
                <a:cubicBezTo>
                  <a:pt x="1543" y="1543"/>
                  <a:pt x="1543" y="1543"/>
                  <a:pt x="1543" y="1543"/>
                </a:cubicBezTo>
                <a:cubicBezTo>
                  <a:pt x="4322" y="1543"/>
                  <a:pt x="4322" y="1543"/>
                  <a:pt x="4322" y="1543"/>
                </a:cubicBezTo>
                <a:cubicBezTo>
                  <a:pt x="4322" y="3704"/>
                  <a:pt x="4322" y="3704"/>
                  <a:pt x="4322" y="3704"/>
                </a:cubicBezTo>
                <a:moveTo>
                  <a:pt x="2778" y="4939"/>
                </a:moveTo>
                <a:cubicBezTo>
                  <a:pt x="2096" y="4939"/>
                  <a:pt x="1543" y="4386"/>
                  <a:pt x="1543" y="3704"/>
                </a:cubicBezTo>
                <a:moveTo>
                  <a:pt x="4322" y="3704"/>
                </a:moveTo>
                <a:cubicBezTo>
                  <a:pt x="4322" y="4556"/>
                  <a:pt x="3631" y="5247"/>
                  <a:pt x="2778" y="5247"/>
                </a:cubicBezTo>
                <a:moveTo>
                  <a:pt x="4630" y="3704"/>
                </a:moveTo>
                <a:cubicBezTo>
                  <a:pt x="4630" y="4727"/>
                  <a:pt x="3801" y="5556"/>
                  <a:pt x="2778" y="5556"/>
                </a:cubicBezTo>
                <a:moveTo>
                  <a:pt x="2778" y="5556"/>
                </a:moveTo>
                <a:cubicBezTo>
                  <a:pt x="1755" y="5556"/>
                  <a:pt x="926" y="4727"/>
                  <a:pt x="926" y="3704"/>
                </a:cubicBezTo>
                <a:cubicBezTo>
                  <a:pt x="926" y="926"/>
                  <a:pt x="926" y="926"/>
                  <a:pt x="926" y="926"/>
                </a:cubicBezTo>
                <a:cubicBezTo>
                  <a:pt x="4939" y="926"/>
                  <a:pt x="4939" y="926"/>
                  <a:pt x="4939" y="926"/>
                </a:cubicBezTo>
                <a:cubicBezTo>
                  <a:pt x="4939" y="3704"/>
                  <a:pt x="4939" y="3704"/>
                  <a:pt x="4939" y="3704"/>
                </a:cubicBezTo>
                <a:cubicBezTo>
                  <a:pt x="4939" y="4897"/>
                  <a:pt x="3972" y="5865"/>
                  <a:pt x="2778" y="5865"/>
                </a:cubicBezTo>
                <a:moveTo>
                  <a:pt x="2778" y="5865"/>
                </a:moveTo>
                <a:cubicBezTo>
                  <a:pt x="1585" y="5865"/>
                  <a:pt x="617" y="4897"/>
                  <a:pt x="617" y="3704"/>
                </a:cubicBezTo>
                <a:moveTo>
                  <a:pt x="2778" y="6173"/>
                </a:moveTo>
                <a:cubicBezTo>
                  <a:pt x="4142" y="6173"/>
                  <a:pt x="5248" y="5068"/>
                  <a:pt x="5248" y="3704"/>
                </a:cubicBezTo>
                <a:cubicBezTo>
                  <a:pt x="5248" y="617"/>
                  <a:pt x="5248" y="617"/>
                  <a:pt x="5248" y="617"/>
                </a:cubicBezTo>
                <a:cubicBezTo>
                  <a:pt x="617" y="617"/>
                  <a:pt x="617" y="617"/>
                  <a:pt x="617" y="617"/>
                </a:cubicBezTo>
                <a:cubicBezTo>
                  <a:pt x="617" y="3704"/>
                  <a:pt x="617" y="3704"/>
                  <a:pt x="617" y="3704"/>
                </a:cubicBezTo>
                <a:moveTo>
                  <a:pt x="2778" y="6173"/>
                </a:moveTo>
                <a:cubicBezTo>
                  <a:pt x="1414" y="6173"/>
                  <a:pt x="309" y="5068"/>
                  <a:pt x="309" y="3704"/>
                </a:cubicBezTo>
                <a:moveTo>
                  <a:pt x="2778" y="6482"/>
                </a:moveTo>
                <a:cubicBezTo>
                  <a:pt x="4313" y="6482"/>
                  <a:pt x="5556" y="5238"/>
                  <a:pt x="5556" y="3704"/>
                </a:cubicBezTo>
                <a:cubicBezTo>
                  <a:pt x="5556" y="308"/>
                  <a:pt x="5556" y="308"/>
                  <a:pt x="5556" y="308"/>
                </a:cubicBezTo>
                <a:cubicBezTo>
                  <a:pt x="309" y="308"/>
                  <a:pt x="309" y="308"/>
                  <a:pt x="309" y="308"/>
                </a:cubicBezTo>
                <a:cubicBezTo>
                  <a:pt x="309" y="3704"/>
                  <a:pt x="309" y="3704"/>
                  <a:pt x="309" y="3704"/>
                </a:cubicBezTo>
                <a:moveTo>
                  <a:pt x="2778" y="6482"/>
                </a:moveTo>
                <a:cubicBezTo>
                  <a:pt x="1244" y="6482"/>
                  <a:pt x="0" y="5238"/>
                  <a:pt x="0" y="3704"/>
                </a:cubicBezTo>
                <a:cubicBezTo>
                  <a:pt x="0" y="0"/>
                  <a:pt x="0" y="0"/>
                  <a:pt x="0" y="0"/>
                </a:cubicBezTo>
                <a:cubicBezTo>
                  <a:pt x="5865" y="0"/>
                  <a:pt x="5865" y="0"/>
                  <a:pt x="5865" y="0"/>
                </a:cubicBezTo>
                <a:moveTo>
                  <a:pt x="3704" y="3704"/>
                </a:moveTo>
                <a:cubicBezTo>
                  <a:pt x="3704" y="4215"/>
                  <a:pt x="3290" y="4630"/>
                  <a:pt x="2778" y="4630"/>
                </a:cubicBezTo>
                <a:moveTo>
                  <a:pt x="2778" y="5247"/>
                </a:moveTo>
                <a:cubicBezTo>
                  <a:pt x="1926" y="5247"/>
                  <a:pt x="1235" y="4556"/>
                  <a:pt x="1235" y="3704"/>
                </a:cubicBezTo>
                <a:cubicBezTo>
                  <a:pt x="1235" y="1234"/>
                  <a:pt x="1235" y="1234"/>
                  <a:pt x="1235" y="1234"/>
                </a:cubicBezTo>
                <a:cubicBezTo>
                  <a:pt x="4630" y="1234"/>
                  <a:pt x="4630" y="1234"/>
                  <a:pt x="4630" y="1234"/>
                </a:cubicBezTo>
                <a:cubicBezTo>
                  <a:pt x="4630" y="3704"/>
                  <a:pt x="4630" y="3704"/>
                  <a:pt x="4630" y="3704"/>
                </a:cubicBezTo>
                <a:moveTo>
                  <a:pt x="3087" y="4013"/>
                </a:moveTo>
                <a:cubicBezTo>
                  <a:pt x="2470" y="3395"/>
                  <a:pt x="2470" y="3395"/>
                  <a:pt x="2470" y="3395"/>
                </a:cubicBezTo>
                <a:moveTo>
                  <a:pt x="2778" y="2160"/>
                </a:moveTo>
                <a:cubicBezTo>
                  <a:pt x="3704" y="2160"/>
                  <a:pt x="3704" y="2160"/>
                  <a:pt x="3704" y="2160"/>
                </a:cubicBezTo>
                <a:cubicBezTo>
                  <a:pt x="3704" y="2778"/>
                  <a:pt x="3704" y="2778"/>
                  <a:pt x="3704" y="2778"/>
                </a:cubicBezTo>
                <a:cubicBezTo>
                  <a:pt x="3704" y="3704"/>
                  <a:pt x="3704" y="3704"/>
                  <a:pt x="3704" y="3704"/>
                </a:cubicBezTo>
                <a:moveTo>
                  <a:pt x="3396" y="2469"/>
                </a:moveTo>
                <a:cubicBezTo>
                  <a:pt x="3396" y="3704"/>
                  <a:pt x="3396" y="3704"/>
                  <a:pt x="3396" y="3704"/>
                </a:cubicBezTo>
                <a:cubicBezTo>
                  <a:pt x="2161" y="2469"/>
                  <a:pt x="2161" y="2469"/>
                  <a:pt x="2161" y="2469"/>
                </a:cubicBezTo>
                <a:cubicBezTo>
                  <a:pt x="2161" y="3704"/>
                  <a:pt x="2161" y="3704"/>
                  <a:pt x="2161" y="3704"/>
                </a:cubicBezTo>
                <a:cubicBezTo>
                  <a:pt x="2778" y="4321"/>
                  <a:pt x="2778" y="4321"/>
                  <a:pt x="2778" y="4321"/>
                </a:cubicBezTo>
                <a:moveTo>
                  <a:pt x="2778" y="4939"/>
                </a:moveTo>
                <a:cubicBezTo>
                  <a:pt x="3460" y="4939"/>
                  <a:pt x="4013" y="4386"/>
                  <a:pt x="4013" y="3704"/>
                </a:cubicBezTo>
                <a:cubicBezTo>
                  <a:pt x="4013" y="1852"/>
                  <a:pt x="4013" y="1852"/>
                  <a:pt x="4013" y="1852"/>
                </a:cubicBezTo>
                <a:cubicBezTo>
                  <a:pt x="1852" y="1852"/>
                  <a:pt x="1852" y="1852"/>
                  <a:pt x="1852" y="1852"/>
                </a:cubicBezTo>
                <a:cubicBezTo>
                  <a:pt x="1852" y="2160"/>
                  <a:pt x="1852" y="2160"/>
                  <a:pt x="1852" y="2160"/>
                </a:cubicBezTo>
                <a:cubicBezTo>
                  <a:pt x="1852" y="3704"/>
                  <a:pt x="1852" y="3704"/>
                  <a:pt x="1852" y="3704"/>
                </a:cubicBezTo>
                <a:cubicBezTo>
                  <a:pt x="1852" y="4215"/>
                  <a:pt x="2267" y="4630"/>
                  <a:pt x="2778" y="4630"/>
                </a:cubicBezTo>
                <a:moveTo>
                  <a:pt x="3087" y="2778"/>
                </a:moveTo>
                <a:cubicBezTo>
                  <a:pt x="2470" y="2160"/>
                  <a:pt x="2470" y="2160"/>
                  <a:pt x="2470" y="2160"/>
                </a:cubicBezTo>
                <a:cubicBezTo>
                  <a:pt x="2161" y="2160"/>
                  <a:pt x="2161" y="2160"/>
                  <a:pt x="2161" y="2160"/>
                </a:cubicBezTo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NORAM Identity &amp; Securit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7A5501A9-DFE3-4034-AAAD-6F7D633EF2BA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40088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 5"/>
          <p:cNvSpPr>
            <a:spLocks noEditPoints="1"/>
          </p:cNvSpPr>
          <p:nvPr/>
        </p:nvSpPr>
        <p:spPr bwMode="auto">
          <a:xfrm>
            <a:off x="5162552" y="-523875"/>
            <a:ext cx="4268788" cy="4710113"/>
          </a:xfrm>
          <a:custGeom>
            <a:avLst/>
            <a:gdLst>
              <a:gd name="T0" fmla="*/ 1543 w 5865"/>
              <a:gd name="T1" fmla="*/ 3704 h 6482"/>
              <a:gd name="T2" fmla="*/ 1543 w 5865"/>
              <a:gd name="T3" fmla="*/ 1543 h 6482"/>
              <a:gd name="T4" fmla="*/ 4322 w 5865"/>
              <a:gd name="T5" fmla="*/ 1543 h 6482"/>
              <a:gd name="T6" fmla="*/ 4322 w 5865"/>
              <a:gd name="T7" fmla="*/ 3704 h 6482"/>
              <a:gd name="T8" fmla="*/ 2778 w 5865"/>
              <a:gd name="T9" fmla="*/ 4939 h 6482"/>
              <a:gd name="T10" fmla="*/ 1543 w 5865"/>
              <a:gd name="T11" fmla="*/ 3704 h 6482"/>
              <a:gd name="T12" fmla="*/ 4322 w 5865"/>
              <a:gd name="T13" fmla="*/ 3704 h 6482"/>
              <a:gd name="T14" fmla="*/ 2778 w 5865"/>
              <a:gd name="T15" fmla="*/ 5247 h 6482"/>
              <a:gd name="T16" fmla="*/ 4630 w 5865"/>
              <a:gd name="T17" fmla="*/ 3704 h 6482"/>
              <a:gd name="T18" fmla="*/ 2778 w 5865"/>
              <a:gd name="T19" fmla="*/ 5556 h 6482"/>
              <a:gd name="T20" fmla="*/ 2778 w 5865"/>
              <a:gd name="T21" fmla="*/ 5556 h 6482"/>
              <a:gd name="T22" fmla="*/ 926 w 5865"/>
              <a:gd name="T23" fmla="*/ 3704 h 6482"/>
              <a:gd name="T24" fmla="*/ 926 w 5865"/>
              <a:gd name="T25" fmla="*/ 926 h 6482"/>
              <a:gd name="T26" fmla="*/ 4939 w 5865"/>
              <a:gd name="T27" fmla="*/ 926 h 6482"/>
              <a:gd name="T28" fmla="*/ 4939 w 5865"/>
              <a:gd name="T29" fmla="*/ 3704 h 6482"/>
              <a:gd name="T30" fmla="*/ 2778 w 5865"/>
              <a:gd name="T31" fmla="*/ 5865 h 6482"/>
              <a:gd name="T32" fmla="*/ 2778 w 5865"/>
              <a:gd name="T33" fmla="*/ 5865 h 6482"/>
              <a:gd name="T34" fmla="*/ 617 w 5865"/>
              <a:gd name="T35" fmla="*/ 3704 h 6482"/>
              <a:gd name="T36" fmla="*/ 2778 w 5865"/>
              <a:gd name="T37" fmla="*/ 6173 h 6482"/>
              <a:gd name="T38" fmla="*/ 5248 w 5865"/>
              <a:gd name="T39" fmla="*/ 3704 h 6482"/>
              <a:gd name="T40" fmla="*/ 5248 w 5865"/>
              <a:gd name="T41" fmla="*/ 617 h 6482"/>
              <a:gd name="T42" fmla="*/ 617 w 5865"/>
              <a:gd name="T43" fmla="*/ 617 h 6482"/>
              <a:gd name="T44" fmla="*/ 617 w 5865"/>
              <a:gd name="T45" fmla="*/ 3704 h 6482"/>
              <a:gd name="T46" fmla="*/ 2778 w 5865"/>
              <a:gd name="T47" fmla="*/ 6173 h 6482"/>
              <a:gd name="T48" fmla="*/ 309 w 5865"/>
              <a:gd name="T49" fmla="*/ 3704 h 6482"/>
              <a:gd name="T50" fmla="*/ 2778 w 5865"/>
              <a:gd name="T51" fmla="*/ 6482 h 6482"/>
              <a:gd name="T52" fmla="*/ 5556 w 5865"/>
              <a:gd name="T53" fmla="*/ 3704 h 6482"/>
              <a:gd name="T54" fmla="*/ 5556 w 5865"/>
              <a:gd name="T55" fmla="*/ 308 h 6482"/>
              <a:gd name="T56" fmla="*/ 309 w 5865"/>
              <a:gd name="T57" fmla="*/ 308 h 6482"/>
              <a:gd name="T58" fmla="*/ 309 w 5865"/>
              <a:gd name="T59" fmla="*/ 3704 h 6482"/>
              <a:gd name="T60" fmla="*/ 2778 w 5865"/>
              <a:gd name="T61" fmla="*/ 6482 h 6482"/>
              <a:gd name="T62" fmla="*/ 0 w 5865"/>
              <a:gd name="T63" fmla="*/ 3704 h 6482"/>
              <a:gd name="T64" fmla="*/ 0 w 5865"/>
              <a:gd name="T65" fmla="*/ 0 h 6482"/>
              <a:gd name="T66" fmla="*/ 5865 w 5865"/>
              <a:gd name="T67" fmla="*/ 0 h 6482"/>
              <a:gd name="T68" fmla="*/ 3704 w 5865"/>
              <a:gd name="T69" fmla="*/ 3704 h 6482"/>
              <a:gd name="T70" fmla="*/ 2778 w 5865"/>
              <a:gd name="T71" fmla="*/ 4630 h 6482"/>
              <a:gd name="T72" fmla="*/ 2778 w 5865"/>
              <a:gd name="T73" fmla="*/ 5247 h 6482"/>
              <a:gd name="T74" fmla="*/ 1235 w 5865"/>
              <a:gd name="T75" fmla="*/ 3704 h 6482"/>
              <a:gd name="T76" fmla="*/ 1235 w 5865"/>
              <a:gd name="T77" fmla="*/ 1234 h 6482"/>
              <a:gd name="T78" fmla="*/ 4630 w 5865"/>
              <a:gd name="T79" fmla="*/ 1234 h 6482"/>
              <a:gd name="T80" fmla="*/ 4630 w 5865"/>
              <a:gd name="T81" fmla="*/ 3704 h 6482"/>
              <a:gd name="T82" fmla="*/ 3087 w 5865"/>
              <a:gd name="T83" fmla="*/ 4013 h 6482"/>
              <a:gd name="T84" fmla="*/ 2470 w 5865"/>
              <a:gd name="T85" fmla="*/ 3395 h 6482"/>
              <a:gd name="T86" fmla="*/ 2778 w 5865"/>
              <a:gd name="T87" fmla="*/ 2160 h 6482"/>
              <a:gd name="T88" fmla="*/ 3704 w 5865"/>
              <a:gd name="T89" fmla="*/ 2160 h 6482"/>
              <a:gd name="T90" fmla="*/ 3704 w 5865"/>
              <a:gd name="T91" fmla="*/ 2778 h 6482"/>
              <a:gd name="T92" fmla="*/ 3704 w 5865"/>
              <a:gd name="T93" fmla="*/ 3704 h 6482"/>
              <a:gd name="T94" fmla="*/ 3396 w 5865"/>
              <a:gd name="T95" fmla="*/ 2469 h 6482"/>
              <a:gd name="T96" fmla="*/ 3396 w 5865"/>
              <a:gd name="T97" fmla="*/ 3704 h 6482"/>
              <a:gd name="T98" fmla="*/ 2161 w 5865"/>
              <a:gd name="T99" fmla="*/ 2469 h 6482"/>
              <a:gd name="T100" fmla="*/ 2161 w 5865"/>
              <a:gd name="T101" fmla="*/ 3704 h 6482"/>
              <a:gd name="T102" fmla="*/ 2778 w 5865"/>
              <a:gd name="T103" fmla="*/ 4321 h 6482"/>
              <a:gd name="T104" fmla="*/ 2778 w 5865"/>
              <a:gd name="T105" fmla="*/ 4939 h 6482"/>
              <a:gd name="T106" fmla="*/ 4013 w 5865"/>
              <a:gd name="T107" fmla="*/ 3704 h 6482"/>
              <a:gd name="T108" fmla="*/ 4013 w 5865"/>
              <a:gd name="T109" fmla="*/ 1852 h 6482"/>
              <a:gd name="T110" fmla="*/ 1852 w 5865"/>
              <a:gd name="T111" fmla="*/ 1852 h 6482"/>
              <a:gd name="T112" fmla="*/ 1852 w 5865"/>
              <a:gd name="T113" fmla="*/ 2160 h 6482"/>
              <a:gd name="T114" fmla="*/ 1852 w 5865"/>
              <a:gd name="T115" fmla="*/ 3704 h 6482"/>
              <a:gd name="T116" fmla="*/ 2778 w 5865"/>
              <a:gd name="T117" fmla="*/ 4630 h 6482"/>
              <a:gd name="T118" fmla="*/ 3087 w 5865"/>
              <a:gd name="T119" fmla="*/ 2778 h 6482"/>
              <a:gd name="T120" fmla="*/ 2470 w 5865"/>
              <a:gd name="T121" fmla="*/ 2160 h 6482"/>
              <a:gd name="T122" fmla="*/ 2161 w 5865"/>
              <a:gd name="T123" fmla="*/ 2160 h 6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65" h="6482">
                <a:moveTo>
                  <a:pt x="1543" y="3704"/>
                </a:moveTo>
                <a:cubicBezTo>
                  <a:pt x="1543" y="1543"/>
                  <a:pt x="1543" y="1543"/>
                  <a:pt x="1543" y="1543"/>
                </a:cubicBezTo>
                <a:cubicBezTo>
                  <a:pt x="4322" y="1543"/>
                  <a:pt x="4322" y="1543"/>
                  <a:pt x="4322" y="1543"/>
                </a:cubicBezTo>
                <a:cubicBezTo>
                  <a:pt x="4322" y="3704"/>
                  <a:pt x="4322" y="3704"/>
                  <a:pt x="4322" y="3704"/>
                </a:cubicBezTo>
                <a:moveTo>
                  <a:pt x="2778" y="4939"/>
                </a:moveTo>
                <a:cubicBezTo>
                  <a:pt x="2096" y="4939"/>
                  <a:pt x="1543" y="4386"/>
                  <a:pt x="1543" y="3704"/>
                </a:cubicBezTo>
                <a:moveTo>
                  <a:pt x="4322" y="3704"/>
                </a:moveTo>
                <a:cubicBezTo>
                  <a:pt x="4322" y="4556"/>
                  <a:pt x="3631" y="5247"/>
                  <a:pt x="2778" y="5247"/>
                </a:cubicBezTo>
                <a:moveTo>
                  <a:pt x="4630" y="3704"/>
                </a:moveTo>
                <a:cubicBezTo>
                  <a:pt x="4630" y="4727"/>
                  <a:pt x="3801" y="5556"/>
                  <a:pt x="2778" y="5556"/>
                </a:cubicBezTo>
                <a:moveTo>
                  <a:pt x="2778" y="5556"/>
                </a:moveTo>
                <a:cubicBezTo>
                  <a:pt x="1755" y="5556"/>
                  <a:pt x="926" y="4727"/>
                  <a:pt x="926" y="3704"/>
                </a:cubicBezTo>
                <a:cubicBezTo>
                  <a:pt x="926" y="926"/>
                  <a:pt x="926" y="926"/>
                  <a:pt x="926" y="926"/>
                </a:cubicBezTo>
                <a:cubicBezTo>
                  <a:pt x="4939" y="926"/>
                  <a:pt x="4939" y="926"/>
                  <a:pt x="4939" y="926"/>
                </a:cubicBezTo>
                <a:cubicBezTo>
                  <a:pt x="4939" y="3704"/>
                  <a:pt x="4939" y="3704"/>
                  <a:pt x="4939" y="3704"/>
                </a:cubicBezTo>
                <a:cubicBezTo>
                  <a:pt x="4939" y="4897"/>
                  <a:pt x="3972" y="5865"/>
                  <a:pt x="2778" y="5865"/>
                </a:cubicBezTo>
                <a:moveTo>
                  <a:pt x="2778" y="5865"/>
                </a:moveTo>
                <a:cubicBezTo>
                  <a:pt x="1585" y="5865"/>
                  <a:pt x="617" y="4897"/>
                  <a:pt x="617" y="3704"/>
                </a:cubicBezTo>
                <a:moveTo>
                  <a:pt x="2778" y="6173"/>
                </a:moveTo>
                <a:cubicBezTo>
                  <a:pt x="4142" y="6173"/>
                  <a:pt x="5248" y="5068"/>
                  <a:pt x="5248" y="3704"/>
                </a:cubicBezTo>
                <a:cubicBezTo>
                  <a:pt x="5248" y="617"/>
                  <a:pt x="5248" y="617"/>
                  <a:pt x="5248" y="617"/>
                </a:cubicBezTo>
                <a:cubicBezTo>
                  <a:pt x="617" y="617"/>
                  <a:pt x="617" y="617"/>
                  <a:pt x="617" y="617"/>
                </a:cubicBezTo>
                <a:cubicBezTo>
                  <a:pt x="617" y="3704"/>
                  <a:pt x="617" y="3704"/>
                  <a:pt x="617" y="3704"/>
                </a:cubicBezTo>
                <a:moveTo>
                  <a:pt x="2778" y="6173"/>
                </a:moveTo>
                <a:cubicBezTo>
                  <a:pt x="1414" y="6173"/>
                  <a:pt x="309" y="5068"/>
                  <a:pt x="309" y="3704"/>
                </a:cubicBezTo>
                <a:moveTo>
                  <a:pt x="2778" y="6482"/>
                </a:moveTo>
                <a:cubicBezTo>
                  <a:pt x="4313" y="6482"/>
                  <a:pt x="5556" y="5238"/>
                  <a:pt x="5556" y="3704"/>
                </a:cubicBezTo>
                <a:cubicBezTo>
                  <a:pt x="5556" y="308"/>
                  <a:pt x="5556" y="308"/>
                  <a:pt x="5556" y="308"/>
                </a:cubicBezTo>
                <a:cubicBezTo>
                  <a:pt x="309" y="308"/>
                  <a:pt x="309" y="308"/>
                  <a:pt x="309" y="308"/>
                </a:cubicBezTo>
                <a:cubicBezTo>
                  <a:pt x="309" y="3704"/>
                  <a:pt x="309" y="3704"/>
                  <a:pt x="309" y="3704"/>
                </a:cubicBezTo>
                <a:moveTo>
                  <a:pt x="2778" y="6482"/>
                </a:moveTo>
                <a:cubicBezTo>
                  <a:pt x="1244" y="6482"/>
                  <a:pt x="0" y="5238"/>
                  <a:pt x="0" y="3704"/>
                </a:cubicBezTo>
                <a:cubicBezTo>
                  <a:pt x="0" y="0"/>
                  <a:pt x="0" y="0"/>
                  <a:pt x="0" y="0"/>
                </a:cubicBezTo>
                <a:cubicBezTo>
                  <a:pt x="5865" y="0"/>
                  <a:pt x="5865" y="0"/>
                  <a:pt x="5865" y="0"/>
                </a:cubicBezTo>
                <a:moveTo>
                  <a:pt x="3704" y="3704"/>
                </a:moveTo>
                <a:cubicBezTo>
                  <a:pt x="3704" y="4215"/>
                  <a:pt x="3290" y="4630"/>
                  <a:pt x="2778" y="4630"/>
                </a:cubicBezTo>
                <a:moveTo>
                  <a:pt x="2778" y="5247"/>
                </a:moveTo>
                <a:cubicBezTo>
                  <a:pt x="1926" y="5247"/>
                  <a:pt x="1235" y="4556"/>
                  <a:pt x="1235" y="3704"/>
                </a:cubicBezTo>
                <a:cubicBezTo>
                  <a:pt x="1235" y="1234"/>
                  <a:pt x="1235" y="1234"/>
                  <a:pt x="1235" y="1234"/>
                </a:cubicBezTo>
                <a:cubicBezTo>
                  <a:pt x="4630" y="1234"/>
                  <a:pt x="4630" y="1234"/>
                  <a:pt x="4630" y="1234"/>
                </a:cubicBezTo>
                <a:cubicBezTo>
                  <a:pt x="4630" y="3704"/>
                  <a:pt x="4630" y="3704"/>
                  <a:pt x="4630" y="3704"/>
                </a:cubicBezTo>
                <a:moveTo>
                  <a:pt x="3087" y="4013"/>
                </a:moveTo>
                <a:cubicBezTo>
                  <a:pt x="2470" y="3395"/>
                  <a:pt x="2470" y="3395"/>
                  <a:pt x="2470" y="3395"/>
                </a:cubicBezTo>
                <a:moveTo>
                  <a:pt x="2778" y="2160"/>
                </a:moveTo>
                <a:cubicBezTo>
                  <a:pt x="3704" y="2160"/>
                  <a:pt x="3704" y="2160"/>
                  <a:pt x="3704" y="2160"/>
                </a:cubicBezTo>
                <a:cubicBezTo>
                  <a:pt x="3704" y="2778"/>
                  <a:pt x="3704" y="2778"/>
                  <a:pt x="3704" y="2778"/>
                </a:cubicBezTo>
                <a:cubicBezTo>
                  <a:pt x="3704" y="3704"/>
                  <a:pt x="3704" y="3704"/>
                  <a:pt x="3704" y="3704"/>
                </a:cubicBezTo>
                <a:moveTo>
                  <a:pt x="3396" y="2469"/>
                </a:moveTo>
                <a:cubicBezTo>
                  <a:pt x="3396" y="3704"/>
                  <a:pt x="3396" y="3704"/>
                  <a:pt x="3396" y="3704"/>
                </a:cubicBezTo>
                <a:cubicBezTo>
                  <a:pt x="2161" y="2469"/>
                  <a:pt x="2161" y="2469"/>
                  <a:pt x="2161" y="2469"/>
                </a:cubicBezTo>
                <a:cubicBezTo>
                  <a:pt x="2161" y="3704"/>
                  <a:pt x="2161" y="3704"/>
                  <a:pt x="2161" y="3704"/>
                </a:cubicBezTo>
                <a:cubicBezTo>
                  <a:pt x="2778" y="4321"/>
                  <a:pt x="2778" y="4321"/>
                  <a:pt x="2778" y="4321"/>
                </a:cubicBezTo>
                <a:moveTo>
                  <a:pt x="2778" y="4939"/>
                </a:moveTo>
                <a:cubicBezTo>
                  <a:pt x="3460" y="4939"/>
                  <a:pt x="4013" y="4386"/>
                  <a:pt x="4013" y="3704"/>
                </a:cubicBezTo>
                <a:cubicBezTo>
                  <a:pt x="4013" y="1852"/>
                  <a:pt x="4013" y="1852"/>
                  <a:pt x="4013" y="1852"/>
                </a:cubicBezTo>
                <a:cubicBezTo>
                  <a:pt x="1852" y="1852"/>
                  <a:pt x="1852" y="1852"/>
                  <a:pt x="1852" y="1852"/>
                </a:cubicBezTo>
                <a:cubicBezTo>
                  <a:pt x="1852" y="2160"/>
                  <a:pt x="1852" y="2160"/>
                  <a:pt x="1852" y="2160"/>
                </a:cubicBezTo>
                <a:cubicBezTo>
                  <a:pt x="1852" y="3704"/>
                  <a:pt x="1852" y="3704"/>
                  <a:pt x="1852" y="3704"/>
                </a:cubicBezTo>
                <a:cubicBezTo>
                  <a:pt x="1852" y="4215"/>
                  <a:pt x="2267" y="4630"/>
                  <a:pt x="2778" y="4630"/>
                </a:cubicBezTo>
                <a:moveTo>
                  <a:pt x="3087" y="2778"/>
                </a:moveTo>
                <a:cubicBezTo>
                  <a:pt x="2470" y="2160"/>
                  <a:pt x="2470" y="2160"/>
                  <a:pt x="2470" y="2160"/>
                </a:cubicBezTo>
                <a:cubicBezTo>
                  <a:pt x="2161" y="2160"/>
                  <a:pt x="2161" y="2160"/>
                  <a:pt x="2161" y="2160"/>
                </a:cubicBezTo>
              </a:path>
            </a:pathLst>
          </a:custGeom>
          <a:noFill/>
          <a:ln w="15875" cap="flat">
            <a:solidFill>
              <a:srgbClr val="A4CBE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NORAM Identity &amp; Securit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chemeClr val="accent1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chemeClr val="accent1"/>
                </a:solidFill>
              </a:defRPr>
            </a:lvl1pPr>
          </a:lstStyle>
          <a:p>
            <a:pPr algn="r"/>
            <a:fld id="{05FCEBB9-7ECD-4A49-8974-64F576263F49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152662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solidFill>
          <a:srgbClr val="A4CB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20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7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33" name="Freeform 5"/>
          <p:cNvSpPr>
            <a:spLocks noEditPoints="1"/>
          </p:cNvSpPr>
          <p:nvPr/>
        </p:nvSpPr>
        <p:spPr bwMode="auto">
          <a:xfrm>
            <a:off x="4794822" y="436562"/>
            <a:ext cx="4268788" cy="4710113"/>
          </a:xfrm>
          <a:custGeom>
            <a:avLst/>
            <a:gdLst>
              <a:gd name="T0" fmla="*/ 1543 w 5865"/>
              <a:gd name="T1" fmla="*/ 3704 h 6482"/>
              <a:gd name="T2" fmla="*/ 1543 w 5865"/>
              <a:gd name="T3" fmla="*/ 1543 h 6482"/>
              <a:gd name="T4" fmla="*/ 4322 w 5865"/>
              <a:gd name="T5" fmla="*/ 1543 h 6482"/>
              <a:gd name="T6" fmla="*/ 4322 w 5865"/>
              <a:gd name="T7" fmla="*/ 3704 h 6482"/>
              <a:gd name="T8" fmla="*/ 2778 w 5865"/>
              <a:gd name="T9" fmla="*/ 4939 h 6482"/>
              <a:gd name="T10" fmla="*/ 1543 w 5865"/>
              <a:gd name="T11" fmla="*/ 3704 h 6482"/>
              <a:gd name="T12" fmla="*/ 4322 w 5865"/>
              <a:gd name="T13" fmla="*/ 3704 h 6482"/>
              <a:gd name="T14" fmla="*/ 2778 w 5865"/>
              <a:gd name="T15" fmla="*/ 5247 h 6482"/>
              <a:gd name="T16" fmla="*/ 4630 w 5865"/>
              <a:gd name="T17" fmla="*/ 3704 h 6482"/>
              <a:gd name="T18" fmla="*/ 2778 w 5865"/>
              <a:gd name="T19" fmla="*/ 5556 h 6482"/>
              <a:gd name="T20" fmla="*/ 2778 w 5865"/>
              <a:gd name="T21" fmla="*/ 5556 h 6482"/>
              <a:gd name="T22" fmla="*/ 926 w 5865"/>
              <a:gd name="T23" fmla="*/ 3704 h 6482"/>
              <a:gd name="T24" fmla="*/ 926 w 5865"/>
              <a:gd name="T25" fmla="*/ 926 h 6482"/>
              <a:gd name="T26" fmla="*/ 4939 w 5865"/>
              <a:gd name="T27" fmla="*/ 926 h 6482"/>
              <a:gd name="T28" fmla="*/ 4939 w 5865"/>
              <a:gd name="T29" fmla="*/ 3704 h 6482"/>
              <a:gd name="T30" fmla="*/ 2778 w 5865"/>
              <a:gd name="T31" fmla="*/ 5865 h 6482"/>
              <a:gd name="T32" fmla="*/ 2778 w 5865"/>
              <a:gd name="T33" fmla="*/ 5865 h 6482"/>
              <a:gd name="T34" fmla="*/ 617 w 5865"/>
              <a:gd name="T35" fmla="*/ 3704 h 6482"/>
              <a:gd name="T36" fmla="*/ 2778 w 5865"/>
              <a:gd name="T37" fmla="*/ 6173 h 6482"/>
              <a:gd name="T38" fmla="*/ 5248 w 5865"/>
              <a:gd name="T39" fmla="*/ 3704 h 6482"/>
              <a:gd name="T40" fmla="*/ 5248 w 5865"/>
              <a:gd name="T41" fmla="*/ 617 h 6482"/>
              <a:gd name="T42" fmla="*/ 617 w 5865"/>
              <a:gd name="T43" fmla="*/ 617 h 6482"/>
              <a:gd name="T44" fmla="*/ 617 w 5865"/>
              <a:gd name="T45" fmla="*/ 3704 h 6482"/>
              <a:gd name="T46" fmla="*/ 2778 w 5865"/>
              <a:gd name="T47" fmla="*/ 6173 h 6482"/>
              <a:gd name="T48" fmla="*/ 309 w 5865"/>
              <a:gd name="T49" fmla="*/ 3704 h 6482"/>
              <a:gd name="T50" fmla="*/ 2778 w 5865"/>
              <a:gd name="T51" fmla="*/ 6482 h 6482"/>
              <a:gd name="T52" fmla="*/ 5556 w 5865"/>
              <a:gd name="T53" fmla="*/ 3704 h 6482"/>
              <a:gd name="T54" fmla="*/ 5556 w 5865"/>
              <a:gd name="T55" fmla="*/ 308 h 6482"/>
              <a:gd name="T56" fmla="*/ 309 w 5865"/>
              <a:gd name="T57" fmla="*/ 308 h 6482"/>
              <a:gd name="T58" fmla="*/ 309 w 5865"/>
              <a:gd name="T59" fmla="*/ 3704 h 6482"/>
              <a:gd name="T60" fmla="*/ 2778 w 5865"/>
              <a:gd name="T61" fmla="*/ 6482 h 6482"/>
              <a:gd name="T62" fmla="*/ 0 w 5865"/>
              <a:gd name="T63" fmla="*/ 3704 h 6482"/>
              <a:gd name="T64" fmla="*/ 0 w 5865"/>
              <a:gd name="T65" fmla="*/ 0 h 6482"/>
              <a:gd name="T66" fmla="*/ 5865 w 5865"/>
              <a:gd name="T67" fmla="*/ 0 h 6482"/>
              <a:gd name="T68" fmla="*/ 3704 w 5865"/>
              <a:gd name="T69" fmla="*/ 3704 h 6482"/>
              <a:gd name="T70" fmla="*/ 2778 w 5865"/>
              <a:gd name="T71" fmla="*/ 4630 h 6482"/>
              <a:gd name="T72" fmla="*/ 2778 w 5865"/>
              <a:gd name="T73" fmla="*/ 5247 h 6482"/>
              <a:gd name="T74" fmla="*/ 1235 w 5865"/>
              <a:gd name="T75" fmla="*/ 3704 h 6482"/>
              <a:gd name="T76" fmla="*/ 1235 w 5865"/>
              <a:gd name="T77" fmla="*/ 1234 h 6482"/>
              <a:gd name="T78" fmla="*/ 4630 w 5865"/>
              <a:gd name="T79" fmla="*/ 1234 h 6482"/>
              <a:gd name="T80" fmla="*/ 4630 w 5865"/>
              <a:gd name="T81" fmla="*/ 3704 h 6482"/>
              <a:gd name="T82" fmla="*/ 3087 w 5865"/>
              <a:gd name="T83" fmla="*/ 4013 h 6482"/>
              <a:gd name="T84" fmla="*/ 2470 w 5865"/>
              <a:gd name="T85" fmla="*/ 3395 h 6482"/>
              <a:gd name="T86" fmla="*/ 2778 w 5865"/>
              <a:gd name="T87" fmla="*/ 2160 h 6482"/>
              <a:gd name="T88" fmla="*/ 3704 w 5865"/>
              <a:gd name="T89" fmla="*/ 2160 h 6482"/>
              <a:gd name="T90" fmla="*/ 3704 w 5865"/>
              <a:gd name="T91" fmla="*/ 2778 h 6482"/>
              <a:gd name="T92" fmla="*/ 3704 w 5865"/>
              <a:gd name="T93" fmla="*/ 3704 h 6482"/>
              <a:gd name="T94" fmla="*/ 3396 w 5865"/>
              <a:gd name="T95" fmla="*/ 2469 h 6482"/>
              <a:gd name="T96" fmla="*/ 3396 w 5865"/>
              <a:gd name="T97" fmla="*/ 3704 h 6482"/>
              <a:gd name="T98" fmla="*/ 2161 w 5865"/>
              <a:gd name="T99" fmla="*/ 2469 h 6482"/>
              <a:gd name="T100" fmla="*/ 2161 w 5865"/>
              <a:gd name="T101" fmla="*/ 3704 h 6482"/>
              <a:gd name="T102" fmla="*/ 2778 w 5865"/>
              <a:gd name="T103" fmla="*/ 4321 h 6482"/>
              <a:gd name="T104" fmla="*/ 2778 w 5865"/>
              <a:gd name="T105" fmla="*/ 4939 h 6482"/>
              <a:gd name="T106" fmla="*/ 4013 w 5865"/>
              <a:gd name="T107" fmla="*/ 3704 h 6482"/>
              <a:gd name="T108" fmla="*/ 4013 w 5865"/>
              <a:gd name="T109" fmla="*/ 1852 h 6482"/>
              <a:gd name="T110" fmla="*/ 1852 w 5865"/>
              <a:gd name="T111" fmla="*/ 1852 h 6482"/>
              <a:gd name="T112" fmla="*/ 1852 w 5865"/>
              <a:gd name="T113" fmla="*/ 2160 h 6482"/>
              <a:gd name="T114" fmla="*/ 1852 w 5865"/>
              <a:gd name="T115" fmla="*/ 3704 h 6482"/>
              <a:gd name="T116" fmla="*/ 2778 w 5865"/>
              <a:gd name="T117" fmla="*/ 4630 h 6482"/>
              <a:gd name="T118" fmla="*/ 3087 w 5865"/>
              <a:gd name="T119" fmla="*/ 2778 h 6482"/>
              <a:gd name="T120" fmla="*/ 2470 w 5865"/>
              <a:gd name="T121" fmla="*/ 2160 h 6482"/>
              <a:gd name="T122" fmla="*/ 2161 w 5865"/>
              <a:gd name="T123" fmla="*/ 2160 h 6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65" h="6482">
                <a:moveTo>
                  <a:pt x="1543" y="3704"/>
                </a:moveTo>
                <a:cubicBezTo>
                  <a:pt x="1543" y="1543"/>
                  <a:pt x="1543" y="1543"/>
                  <a:pt x="1543" y="1543"/>
                </a:cubicBezTo>
                <a:cubicBezTo>
                  <a:pt x="4322" y="1543"/>
                  <a:pt x="4322" y="1543"/>
                  <a:pt x="4322" y="1543"/>
                </a:cubicBezTo>
                <a:cubicBezTo>
                  <a:pt x="4322" y="3704"/>
                  <a:pt x="4322" y="3704"/>
                  <a:pt x="4322" y="3704"/>
                </a:cubicBezTo>
                <a:moveTo>
                  <a:pt x="2778" y="4939"/>
                </a:moveTo>
                <a:cubicBezTo>
                  <a:pt x="2096" y="4939"/>
                  <a:pt x="1543" y="4386"/>
                  <a:pt x="1543" y="3704"/>
                </a:cubicBezTo>
                <a:moveTo>
                  <a:pt x="4322" y="3704"/>
                </a:moveTo>
                <a:cubicBezTo>
                  <a:pt x="4322" y="4556"/>
                  <a:pt x="3631" y="5247"/>
                  <a:pt x="2778" y="5247"/>
                </a:cubicBezTo>
                <a:moveTo>
                  <a:pt x="4630" y="3704"/>
                </a:moveTo>
                <a:cubicBezTo>
                  <a:pt x="4630" y="4727"/>
                  <a:pt x="3801" y="5556"/>
                  <a:pt x="2778" y="5556"/>
                </a:cubicBezTo>
                <a:moveTo>
                  <a:pt x="2778" y="5556"/>
                </a:moveTo>
                <a:cubicBezTo>
                  <a:pt x="1755" y="5556"/>
                  <a:pt x="926" y="4727"/>
                  <a:pt x="926" y="3704"/>
                </a:cubicBezTo>
                <a:cubicBezTo>
                  <a:pt x="926" y="926"/>
                  <a:pt x="926" y="926"/>
                  <a:pt x="926" y="926"/>
                </a:cubicBezTo>
                <a:cubicBezTo>
                  <a:pt x="4939" y="926"/>
                  <a:pt x="4939" y="926"/>
                  <a:pt x="4939" y="926"/>
                </a:cubicBezTo>
                <a:cubicBezTo>
                  <a:pt x="4939" y="3704"/>
                  <a:pt x="4939" y="3704"/>
                  <a:pt x="4939" y="3704"/>
                </a:cubicBezTo>
                <a:cubicBezTo>
                  <a:pt x="4939" y="4897"/>
                  <a:pt x="3972" y="5865"/>
                  <a:pt x="2778" y="5865"/>
                </a:cubicBezTo>
                <a:moveTo>
                  <a:pt x="2778" y="5865"/>
                </a:moveTo>
                <a:cubicBezTo>
                  <a:pt x="1585" y="5865"/>
                  <a:pt x="617" y="4897"/>
                  <a:pt x="617" y="3704"/>
                </a:cubicBezTo>
                <a:moveTo>
                  <a:pt x="2778" y="6173"/>
                </a:moveTo>
                <a:cubicBezTo>
                  <a:pt x="4142" y="6173"/>
                  <a:pt x="5248" y="5068"/>
                  <a:pt x="5248" y="3704"/>
                </a:cubicBezTo>
                <a:cubicBezTo>
                  <a:pt x="5248" y="617"/>
                  <a:pt x="5248" y="617"/>
                  <a:pt x="5248" y="617"/>
                </a:cubicBezTo>
                <a:cubicBezTo>
                  <a:pt x="617" y="617"/>
                  <a:pt x="617" y="617"/>
                  <a:pt x="617" y="617"/>
                </a:cubicBezTo>
                <a:cubicBezTo>
                  <a:pt x="617" y="3704"/>
                  <a:pt x="617" y="3704"/>
                  <a:pt x="617" y="3704"/>
                </a:cubicBezTo>
                <a:moveTo>
                  <a:pt x="2778" y="6173"/>
                </a:moveTo>
                <a:cubicBezTo>
                  <a:pt x="1414" y="6173"/>
                  <a:pt x="309" y="5068"/>
                  <a:pt x="309" y="3704"/>
                </a:cubicBezTo>
                <a:moveTo>
                  <a:pt x="2778" y="6482"/>
                </a:moveTo>
                <a:cubicBezTo>
                  <a:pt x="4313" y="6482"/>
                  <a:pt x="5556" y="5238"/>
                  <a:pt x="5556" y="3704"/>
                </a:cubicBezTo>
                <a:cubicBezTo>
                  <a:pt x="5556" y="308"/>
                  <a:pt x="5556" y="308"/>
                  <a:pt x="5556" y="308"/>
                </a:cubicBezTo>
                <a:cubicBezTo>
                  <a:pt x="309" y="308"/>
                  <a:pt x="309" y="308"/>
                  <a:pt x="309" y="308"/>
                </a:cubicBezTo>
                <a:cubicBezTo>
                  <a:pt x="309" y="3704"/>
                  <a:pt x="309" y="3704"/>
                  <a:pt x="309" y="3704"/>
                </a:cubicBezTo>
                <a:moveTo>
                  <a:pt x="2778" y="6482"/>
                </a:moveTo>
                <a:cubicBezTo>
                  <a:pt x="1244" y="6482"/>
                  <a:pt x="0" y="5238"/>
                  <a:pt x="0" y="3704"/>
                </a:cubicBezTo>
                <a:cubicBezTo>
                  <a:pt x="0" y="0"/>
                  <a:pt x="0" y="0"/>
                  <a:pt x="0" y="0"/>
                </a:cubicBezTo>
                <a:cubicBezTo>
                  <a:pt x="5865" y="0"/>
                  <a:pt x="5865" y="0"/>
                  <a:pt x="5865" y="0"/>
                </a:cubicBezTo>
                <a:moveTo>
                  <a:pt x="3704" y="3704"/>
                </a:moveTo>
                <a:cubicBezTo>
                  <a:pt x="3704" y="4215"/>
                  <a:pt x="3290" y="4630"/>
                  <a:pt x="2778" y="4630"/>
                </a:cubicBezTo>
                <a:moveTo>
                  <a:pt x="2778" y="5247"/>
                </a:moveTo>
                <a:cubicBezTo>
                  <a:pt x="1926" y="5247"/>
                  <a:pt x="1235" y="4556"/>
                  <a:pt x="1235" y="3704"/>
                </a:cubicBezTo>
                <a:cubicBezTo>
                  <a:pt x="1235" y="1234"/>
                  <a:pt x="1235" y="1234"/>
                  <a:pt x="1235" y="1234"/>
                </a:cubicBezTo>
                <a:cubicBezTo>
                  <a:pt x="4630" y="1234"/>
                  <a:pt x="4630" y="1234"/>
                  <a:pt x="4630" y="1234"/>
                </a:cubicBezTo>
                <a:cubicBezTo>
                  <a:pt x="4630" y="3704"/>
                  <a:pt x="4630" y="3704"/>
                  <a:pt x="4630" y="3704"/>
                </a:cubicBezTo>
                <a:moveTo>
                  <a:pt x="3087" y="4013"/>
                </a:moveTo>
                <a:cubicBezTo>
                  <a:pt x="2470" y="3395"/>
                  <a:pt x="2470" y="3395"/>
                  <a:pt x="2470" y="3395"/>
                </a:cubicBezTo>
                <a:moveTo>
                  <a:pt x="2778" y="2160"/>
                </a:moveTo>
                <a:cubicBezTo>
                  <a:pt x="3704" y="2160"/>
                  <a:pt x="3704" y="2160"/>
                  <a:pt x="3704" y="2160"/>
                </a:cubicBezTo>
                <a:cubicBezTo>
                  <a:pt x="3704" y="2778"/>
                  <a:pt x="3704" y="2778"/>
                  <a:pt x="3704" y="2778"/>
                </a:cubicBezTo>
                <a:cubicBezTo>
                  <a:pt x="3704" y="3704"/>
                  <a:pt x="3704" y="3704"/>
                  <a:pt x="3704" y="3704"/>
                </a:cubicBezTo>
                <a:moveTo>
                  <a:pt x="3396" y="2469"/>
                </a:moveTo>
                <a:cubicBezTo>
                  <a:pt x="3396" y="3704"/>
                  <a:pt x="3396" y="3704"/>
                  <a:pt x="3396" y="3704"/>
                </a:cubicBezTo>
                <a:cubicBezTo>
                  <a:pt x="2161" y="2469"/>
                  <a:pt x="2161" y="2469"/>
                  <a:pt x="2161" y="2469"/>
                </a:cubicBezTo>
                <a:cubicBezTo>
                  <a:pt x="2161" y="3704"/>
                  <a:pt x="2161" y="3704"/>
                  <a:pt x="2161" y="3704"/>
                </a:cubicBezTo>
                <a:cubicBezTo>
                  <a:pt x="2778" y="4321"/>
                  <a:pt x="2778" y="4321"/>
                  <a:pt x="2778" y="4321"/>
                </a:cubicBezTo>
                <a:moveTo>
                  <a:pt x="2778" y="4939"/>
                </a:moveTo>
                <a:cubicBezTo>
                  <a:pt x="3460" y="4939"/>
                  <a:pt x="4013" y="4386"/>
                  <a:pt x="4013" y="3704"/>
                </a:cubicBezTo>
                <a:cubicBezTo>
                  <a:pt x="4013" y="1852"/>
                  <a:pt x="4013" y="1852"/>
                  <a:pt x="4013" y="1852"/>
                </a:cubicBezTo>
                <a:cubicBezTo>
                  <a:pt x="1852" y="1852"/>
                  <a:pt x="1852" y="1852"/>
                  <a:pt x="1852" y="1852"/>
                </a:cubicBezTo>
                <a:cubicBezTo>
                  <a:pt x="1852" y="2160"/>
                  <a:pt x="1852" y="2160"/>
                  <a:pt x="1852" y="2160"/>
                </a:cubicBezTo>
                <a:cubicBezTo>
                  <a:pt x="1852" y="3704"/>
                  <a:pt x="1852" y="3704"/>
                  <a:pt x="1852" y="3704"/>
                </a:cubicBezTo>
                <a:cubicBezTo>
                  <a:pt x="1852" y="4215"/>
                  <a:pt x="2267" y="4630"/>
                  <a:pt x="2778" y="4630"/>
                </a:cubicBezTo>
                <a:moveTo>
                  <a:pt x="3087" y="2778"/>
                </a:moveTo>
                <a:cubicBezTo>
                  <a:pt x="2470" y="2160"/>
                  <a:pt x="2470" y="2160"/>
                  <a:pt x="2470" y="2160"/>
                </a:cubicBezTo>
                <a:cubicBezTo>
                  <a:pt x="2161" y="2160"/>
                  <a:pt x="2161" y="2160"/>
                  <a:pt x="2161" y="2160"/>
                </a:cubicBezTo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BF6924BF-2FF0-4637-BB30-CEE981AED325}" type="datetime1">
              <a:rPr lang="en-GB" smtClean="0"/>
              <a:t>24/01/2018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94580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re. Contenu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F35AE98B-365C-4026-BC57-01D39D021079}" type="datetime1">
              <a:rPr lang="en-GB" smtClean="0"/>
              <a:t>24/01/2018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506157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 noEditPoints="1"/>
          </p:cNvSpPr>
          <p:nvPr/>
        </p:nvSpPr>
        <p:spPr bwMode="auto">
          <a:xfrm>
            <a:off x="4794822" y="436562"/>
            <a:ext cx="4268788" cy="4710113"/>
          </a:xfrm>
          <a:custGeom>
            <a:avLst/>
            <a:gdLst>
              <a:gd name="T0" fmla="*/ 1543 w 5865"/>
              <a:gd name="T1" fmla="*/ 3704 h 6482"/>
              <a:gd name="T2" fmla="*/ 1543 w 5865"/>
              <a:gd name="T3" fmla="*/ 1543 h 6482"/>
              <a:gd name="T4" fmla="*/ 4322 w 5865"/>
              <a:gd name="T5" fmla="*/ 1543 h 6482"/>
              <a:gd name="T6" fmla="*/ 4322 w 5865"/>
              <a:gd name="T7" fmla="*/ 3704 h 6482"/>
              <a:gd name="T8" fmla="*/ 2778 w 5865"/>
              <a:gd name="T9" fmla="*/ 4939 h 6482"/>
              <a:gd name="T10" fmla="*/ 1543 w 5865"/>
              <a:gd name="T11" fmla="*/ 3704 h 6482"/>
              <a:gd name="T12" fmla="*/ 4322 w 5865"/>
              <a:gd name="T13" fmla="*/ 3704 h 6482"/>
              <a:gd name="T14" fmla="*/ 2778 w 5865"/>
              <a:gd name="T15" fmla="*/ 5247 h 6482"/>
              <a:gd name="T16" fmla="*/ 4630 w 5865"/>
              <a:gd name="T17" fmla="*/ 3704 h 6482"/>
              <a:gd name="T18" fmla="*/ 2778 w 5865"/>
              <a:gd name="T19" fmla="*/ 5556 h 6482"/>
              <a:gd name="T20" fmla="*/ 2778 w 5865"/>
              <a:gd name="T21" fmla="*/ 5556 h 6482"/>
              <a:gd name="T22" fmla="*/ 926 w 5865"/>
              <a:gd name="T23" fmla="*/ 3704 h 6482"/>
              <a:gd name="T24" fmla="*/ 926 w 5865"/>
              <a:gd name="T25" fmla="*/ 926 h 6482"/>
              <a:gd name="T26" fmla="*/ 4939 w 5865"/>
              <a:gd name="T27" fmla="*/ 926 h 6482"/>
              <a:gd name="T28" fmla="*/ 4939 w 5865"/>
              <a:gd name="T29" fmla="*/ 3704 h 6482"/>
              <a:gd name="T30" fmla="*/ 2778 w 5865"/>
              <a:gd name="T31" fmla="*/ 5865 h 6482"/>
              <a:gd name="T32" fmla="*/ 2778 w 5865"/>
              <a:gd name="T33" fmla="*/ 5865 h 6482"/>
              <a:gd name="T34" fmla="*/ 617 w 5865"/>
              <a:gd name="T35" fmla="*/ 3704 h 6482"/>
              <a:gd name="T36" fmla="*/ 2778 w 5865"/>
              <a:gd name="T37" fmla="*/ 6173 h 6482"/>
              <a:gd name="T38" fmla="*/ 5248 w 5865"/>
              <a:gd name="T39" fmla="*/ 3704 h 6482"/>
              <a:gd name="T40" fmla="*/ 5248 w 5865"/>
              <a:gd name="T41" fmla="*/ 617 h 6482"/>
              <a:gd name="T42" fmla="*/ 617 w 5865"/>
              <a:gd name="T43" fmla="*/ 617 h 6482"/>
              <a:gd name="T44" fmla="*/ 617 w 5865"/>
              <a:gd name="T45" fmla="*/ 3704 h 6482"/>
              <a:gd name="T46" fmla="*/ 2778 w 5865"/>
              <a:gd name="T47" fmla="*/ 6173 h 6482"/>
              <a:gd name="T48" fmla="*/ 309 w 5865"/>
              <a:gd name="T49" fmla="*/ 3704 h 6482"/>
              <a:gd name="T50" fmla="*/ 2778 w 5865"/>
              <a:gd name="T51" fmla="*/ 6482 h 6482"/>
              <a:gd name="T52" fmla="*/ 5556 w 5865"/>
              <a:gd name="T53" fmla="*/ 3704 h 6482"/>
              <a:gd name="T54" fmla="*/ 5556 w 5865"/>
              <a:gd name="T55" fmla="*/ 308 h 6482"/>
              <a:gd name="T56" fmla="*/ 309 w 5865"/>
              <a:gd name="T57" fmla="*/ 308 h 6482"/>
              <a:gd name="T58" fmla="*/ 309 w 5865"/>
              <a:gd name="T59" fmla="*/ 3704 h 6482"/>
              <a:gd name="T60" fmla="*/ 2778 w 5865"/>
              <a:gd name="T61" fmla="*/ 6482 h 6482"/>
              <a:gd name="T62" fmla="*/ 0 w 5865"/>
              <a:gd name="T63" fmla="*/ 3704 h 6482"/>
              <a:gd name="T64" fmla="*/ 0 w 5865"/>
              <a:gd name="T65" fmla="*/ 0 h 6482"/>
              <a:gd name="T66" fmla="*/ 5865 w 5865"/>
              <a:gd name="T67" fmla="*/ 0 h 6482"/>
              <a:gd name="T68" fmla="*/ 3704 w 5865"/>
              <a:gd name="T69" fmla="*/ 3704 h 6482"/>
              <a:gd name="T70" fmla="*/ 2778 w 5865"/>
              <a:gd name="T71" fmla="*/ 4630 h 6482"/>
              <a:gd name="T72" fmla="*/ 2778 w 5865"/>
              <a:gd name="T73" fmla="*/ 5247 h 6482"/>
              <a:gd name="T74" fmla="*/ 1235 w 5865"/>
              <a:gd name="T75" fmla="*/ 3704 h 6482"/>
              <a:gd name="T76" fmla="*/ 1235 w 5865"/>
              <a:gd name="T77" fmla="*/ 1234 h 6482"/>
              <a:gd name="T78" fmla="*/ 4630 w 5865"/>
              <a:gd name="T79" fmla="*/ 1234 h 6482"/>
              <a:gd name="T80" fmla="*/ 4630 w 5865"/>
              <a:gd name="T81" fmla="*/ 3704 h 6482"/>
              <a:gd name="T82" fmla="*/ 3087 w 5865"/>
              <a:gd name="T83" fmla="*/ 4013 h 6482"/>
              <a:gd name="T84" fmla="*/ 2470 w 5865"/>
              <a:gd name="T85" fmla="*/ 3395 h 6482"/>
              <a:gd name="T86" fmla="*/ 2778 w 5865"/>
              <a:gd name="T87" fmla="*/ 2160 h 6482"/>
              <a:gd name="T88" fmla="*/ 3704 w 5865"/>
              <a:gd name="T89" fmla="*/ 2160 h 6482"/>
              <a:gd name="T90" fmla="*/ 3704 w 5865"/>
              <a:gd name="T91" fmla="*/ 2778 h 6482"/>
              <a:gd name="T92" fmla="*/ 3704 w 5865"/>
              <a:gd name="T93" fmla="*/ 3704 h 6482"/>
              <a:gd name="T94" fmla="*/ 3396 w 5865"/>
              <a:gd name="T95" fmla="*/ 2469 h 6482"/>
              <a:gd name="T96" fmla="*/ 3396 w 5865"/>
              <a:gd name="T97" fmla="*/ 3704 h 6482"/>
              <a:gd name="T98" fmla="*/ 2161 w 5865"/>
              <a:gd name="T99" fmla="*/ 2469 h 6482"/>
              <a:gd name="T100" fmla="*/ 2161 w 5865"/>
              <a:gd name="T101" fmla="*/ 3704 h 6482"/>
              <a:gd name="T102" fmla="*/ 2778 w 5865"/>
              <a:gd name="T103" fmla="*/ 4321 h 6482"/>
              <a:gd name="T104" fmla="*/ 2778 w 5865"/>
              <a:gd name="T105" fmla="*/ 4939 h 6482"/>
              <a:gd name="T106" fmla="*/ 4013 w 5865"/>
              <a:gd name="T107" fmla="*/ 3704 h 6482"/>
              <a:gd name="T108" fmla="*/ 4013 w 5865"/>
              <a:gd name="T109" fmla="*/ 1852 h 6482"/>
              <a:gd name="T110" fmla="*/ 1852 w 5865"/>
              <a:gd name="T111" fmla="*/ 1852 h 6482"/>
              <a:gd name="T112" fmla="*/ 1852 w 5865"/>
              <a:gd name="T113" fmla="*/ 2160 h 6482"/>
              <a:gd name="T114" fmla="*/ 1852 w 5865"/>
              <a:gd name="T115" fmla="*/ 3704 h 6482"/>
              <a:gd name="T116" fmla="*/ 2778 w 5865"/>
              <a:gd name="T117" fmla="*/ 4630 h 6482"/>
              <a:gd name="T118" fmla="*/ 3087 w 5865"/>
              <a:gd name="T119" fmla="*/ 2778 h 6482"/>
              <a:gd name="T120" fmla="*/ 2470 w 5865"/>
              <a:gd name="T121" fmla="*/ 2160 h 6482"/>
              <a:gd name="T122" fmla="*/ 2161 w 5865"/>
              <a:gd name="T123" fmla="*/ 2160 h 6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65" h="6482">
                <a:moveTo>
                  <a:pt x="1543" y="3704"/>
                </a:moveTo>
                <a:cubicBezTo>
                  <a:pt x="1543" y="1543"/>
                  <a:pt x="1543" y="1543"/>
                  <a:pt x="1543" y="1543"/>
                </a:cubicBezTo>
                <a:cubicBezTo>
                  <a:pt x="4322" y="1543"/>
                  <a:pt x="4322" y="1543"/>
                  <a:pt x="4322" y="1543"/>
                </a:cubicBezTo>
                <a:cubicBezTo>
                  <a:pt x="4322" y="3704"/>
                  <a:pt x="4322" y="3704"/>
                  <a:pt x="4322" y="3704"/>
                </a:cubicBezTo>
                <a:moveTo>
                  <a:pt x="2778" y="4939"/>
                </a:moveTo>
                <a:cubicBezTo>
                  <a:pt x="2096" y="4939"/>
                  <a:pt x="1543" y="4386"/>
                  <a:pt x="1543" y="3704"/>
                </a:cubicBezTo>
                <a:moveTo>
                  <a:pt x="4322" y="3704"/>
                </a:moveTo>
                <a:cubicBezTo>
                  <a:pt x="4322" y="4556"/>
                  <a:pt x="3631" y="5247"/>
                  <a:pt x="2778" y="5247"/>
                </a:cubicBezTo>
                <a:moveTo>
                  <a:pt x="4630" y="3704"/>
                </a:moveTo>
                <a:cubicBezTo>
                  <a:pt x="4630" y="4727"/>
                  <a:pt x="3801" y="5556"/>
                  <a:pt x="2778" y="5556"/>
                </a:cubicBezTo>
                <a:moveTo>
                  <a:pt x="2778" y="5556"/>
                </a:moveTo>
                <a:cubicBezTo>
                  <a:pt x="1755" y="5556"/>
                  <a:pt x="926" y="4727"/>
                  <a:pt x="926" y="3704"/>
                </a:cubicBezTo>
                <a:cubicBezTo>
                  <a:pt x="926" y="926"/>
                  <a:pt x="926" y="926"/>
                  <a:pt x="926" y="926"/>
                </a:cubicBezTo>
                <a:cubicBezTo>
                  <a:pt x="4939" y="926"/>
                  <a:pt x="4939" y="926"/>
                  <a:pt x="4939" y="926"/>
                </a:cubicBezTo>
                <a:cubicBezTo>
                  <a:pt x="4939" y="3704"/>
                  <a:pt x="4939" y="3704"/>
                  <a:pt x="4939" y="3704"/>
                </a:cubicBezTo>
                <a:cubicBezTo>
                  <a:pt x="4939" y="4897"/>
                  <a:pt x="3972" y="5865"/>
                  <a:pt x="2778" y="5865"/>
                </a:cubicBezTo>
                <a:moveTo>
                  <a:pt x="2778" y="5865"/>
                </a:moveTo>
                <a:cubicBezTo>
                  <a:pt x="1585" y="5865"/>
                  <a:pt x="617" y="4897"/>
                  <a:pt x="617" y="3704"/>
                </a:cubicBezTo>
                <a:moveTo>
                  <a:pt x="2778" y="6173"/>
                </a:moveTo>
                <a:cubicBezTo>
                  <a:pt x="4142" y="6173"/>
                  <a:pt x="5248" y="5068"/>
                  <a:pt x="5248" y="3704"/>
                </a:cubicBezTo>
                <a:cubicBezTo>
                  <a:pt x="5248" y="617"/>
                  <a:pt x="5248" y="617"/>
                  <a:pt x="5248" y="617"/>
                </a:cubicBezTo>
                <a:cubicBezTo>
                  <a:pt x="617" y="617"/>
                  <a:pt x="617" y="617"/>
                  <a:pt x="617" y="617"/>
                </a:cubicBezTo>
                <a:cubicBezTo>
                  <a:pt x="617" y="3704"/>
                  <a:pt x="617" y="3704"/>
                  <a:pt x="617" y="3704"/>
                </a:cubicBezTo>
                <a:moveTo>
                  <a:pt x="2778" y="6173"/>
                </a:moveTo>
                <a:cubicBezTo>
                  <a:pt x="1414" y="6173"/>
                  <a:pt x="309" y="5068"/>
                  <a:pt x="309" y="3704"/>
                </a:cubicBezTo>
                <a:moveTo>
                  <a:pt x="2778" y="6482"/>
                </a:moveTo>
                <a:cubicBezTo>
                  <a:pt x="4313" y="6482"/>
                  <a:pt x="5556" y="5238"/>
                  <a:pt x="5556" y="3704"/>
                </a:cubicBezTo>
                <a:cubicBezTo>
                  <a:pt x="5556" y="308"/>
                  <a:pt x="5556" y="308"/>
                  <a:pt x="5556" y="308"/>
                </a:cubicBezTo>
                <a:cubicBezTo>
                  <a:pt x="309" y="308"/>
                  <a:pt x="309" y="308"/>
                  <a:pt x="309" y="308"/>
                </a:cubicBezTo>
                <a:cubicBezTo>
                  <a:pt x="309" y="3704"/>
                  <a:pt x="309" y="3704"/>
                  <a:pt x="309" y="3704"/>
                </a:cubicBezTo>
                <a:moveTo>
                  <a:pt x="2778" y="6482"/>
                </a:moveTo>
                <a:cubicBezTo>
                  <a:pt x="1244" y="6482"/>
                  <a:pt x="0" y="5238"/>
                  <a:pt x="0" y="3704"/>
                </a:cubicBezTo>
                <a:cubicBezTo>
                  <a:pt x="0" y="0"/>
                  <a:pt x="0" y="0"/>
                  <a:pt x="0" y="0"/>
                </a:cubicBezTo>
                <a:cubicBezTo>
                  <a:pt x="5865" y="0"/>
                  <a:pt x="5865" y="0"/>
                  <a:pt x="5865" y="0"/>
                </a:cubicBezTo>
                <a:moveTo>
                  <a:pt x="3704" y="3704"/>
                </a:moveTo>
                <a:cubicBezTo>
                  <a:pt x="3704" y="4215"/>
                  <a:pt x="3290" y="4630"/>
                  <a:pt x="2778" y="4630"/>
                </a:cubicBezTo>
                <a:moveTo>
                  <a:pt x="2778" y="5247"/>
                </a:moveTo>
                <a:cubicBezTo>
                  <a:pt x="1926" y="5247"/>
                  <a:pt x="1235" y="4556"/>
                  <a:pt x="1235" y="3704"/>
                </a:cubicBezTo>
                <a:cubicBezTo>
                  <a:pt x="1235" y="1234"/>
                  <a:pt x="1235" y="1234"/>
                  <a:pt x="1235" y="1234"/>
                </a:cubicBezTo>
                <a:cubicBezTo>
                  <a:pt x="4630" y="1234"/>
                  <a:pt x="4630" y="1234"/>
                  <a:pt x="4630" y="1234"/>
                </a:cubicBezTo>
                <a:cubicBezTo>
                  <a:pt x="4630" y="3704"/>
                  <a:pt x="4630" y="3704"/>
                  <a:pt x="4630" y="3704"/>
                </a:cubicBezTo>
                <a:moveTo>
                  <a:pt x="3087" y="4013"/>
                </a:moveTo>
                <a:cubicBezTo>
                  <a:pt x="2470" y="3395"/>
                  <a:pt x="2470" y="3395"/>
                  <a:pt x="2470" y="3395"/>
                </a:cubicBezTo>
                <a:moveTo>
                  <a:pt x="2778" y="2160"/>
                </a:moveTo>
                <a:cubicBezTo>
                  <a:pt x="3704" y="2160"/>
                  <a:pt x="3704" y="2160"/>
                  <a:pt x="3704" y="2160"/>
                </a:cubicBezTo>
                <a:cubicBezTo>
                  <a:pt x="3704" y="2778"/>
                  <a:pt x="3704" y="2778"/>
                  <a:pt x="3704" y="2778"/>
                </a:cubicBezTo>
                <a:cubicBezTo>
                  <a:pt x="3704" y="3704"/>
                  <a:pt x="3704" y="3704"/>
                  <a:pt x="3704" y="3704"/>
                </a:cubicBezTo>
                <a:moveTo>
                  <a:pt x="3396" y="2469"/>
                </a:moveTo>
                <a:cubicBezTo>
                  <a:pt x="3396" y="3704"/>
                  <a:pt x="3396" y="3704"/>
                  <a:pt x="3396" y="3704"/>
                </a:cubicBezTo>
                <a:cubicBezTo>
                  <a:pt x="2161" y="2469"/>
                  <a:pt x="2161" y="2469"/>
                  <a:pt x="2161" y="2469"/>
                </a:cubicBezTo>
                <a:cubicBezTo>
                  <a:pt x="2161" y="3704"/>
                  <a:pt x="2161" y="3704"/>
                  <a:pt x="2161" y="3704"/>
                </a:cubicBezTo>
                <a:cubicBezTo>
                  <a:pt x="2778" y="4321"/>
                  <a:pt x="2778" y="4321"/>
                  <a:pt x="2778" y="4321"/>
                </a:cubicBezTo>
                <a:moveTo>
                  <a:pt x="2778" y="4939"/>
                </a:moveTo>
                <a:cubicBezTo>
                  <a:pt x="3460" y="4939"/>
                  <a:pt x="4013" y="4386"/>
                  <a:pt x="4013" y="3704"/>
                </a:cubicBezTo>
                <a:cubicBezTo>
                  <a:pt x="4013" y="1852"/>
                  <a:pt x="4013" y="1852"/>
                  <a:pt x="4013" y="1852"/>
                </a:cubicBezTo>
                <a:cubicBezTo>
                  <a:pt x="1852" y="1852"/>
                  <a:pt x="1852" y="1852"/>
                  <a:pt x="1852" y="1852"/>
                </a:cubicBezTo>
                <a:cubicBezTo>
                  <a:pt x="1852" y="2160"/>
                  <a:pt x="1852" y="2160"/>
                  <a:pt x="1852" y="2160"/>
                </a:cubicBezTo>
                <a:cubicBezTo>
                  <a:pt x="1852" y="3704"/>
                  <a:pt x="1852" y="3704"/>
                  <a:pt x="1852" y="3704"/>
                </a:cubicBezTo>
                <a:cubicBezTo>
                  <a:pt x="1852" y="4215"/>
                  <a:pt x="2267" y="4630"/>
                  <a:pt x="2778" y="4630"/>
                </a:cubicBezTo>
                <a:moveTo>
                  <a:pt x="3087" y="2778"/>
                </a:moveTo>
                <a:cubicBezTo>
                  <a:pt x="2470" y="2160"/>
                  <a:pt x="2470" y="2160"/>
                  <a:pt x="2470" y="2160"/>
                </a:cubicBezTo>
                <a:cubicBezTo>
                  <a:pt x="2161" y="2160"/>
                  <a:pt x="2161" y="2160"/>
                  <a:pt x="2161" y="2160"/>
                </a:cubicBezTo>
              </a:path>
            </a:pathLst>
          </a:custGeom>
          <a:noFill/>
          <a:ln w="15875" cap="flat">
            <a:solidFill>
              <a:srgbClr val="A4CBE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06D76793-4EBD-4782-81F3-54D5AB660748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0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89100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8EA34477-589D-4E3C-A4AB-D68E7B43F456}" type="datetime1">
              <a:rPr lang="en-GB" smtClean="0"/>
              <a:t>24/01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323798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1FFB05F5-2430-4638-93DB-F37BA923300B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5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424914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41CE7E10-FF15-4F20-9EB5-61C672A70165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3753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F15BAA9F-7102-4DFC-ADB2-5E541469C603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554506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AF8F172D-331D-4DCE-89C7-6A81E1BE8443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625044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CE1FD457-C0DE-4283-B38A-7B86E4B31B6F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439860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B7B9322B-82B4-499C-A4CF-165E54A90531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348112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Second level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Third level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Fourth level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90461E80-71FE-43C7-A4F7-8AFCC4534CC8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730462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B06F0AD-6EFB-4940-B622-2B76EC3DA867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21346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re. 2 contenus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570CAC16-9BAB-4AD7-A47F-C65135AA781A}" type="datetime1">
              <a:rPr lang="en-GB" smtClean="0"/>
              <a:t>24/01/2018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80490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399" y="985500"/>
            <a:ext cx="39258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400" y="1571400"/>
            <a:ext cx="39258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78800" y="985500"/>
            <a:ext cx="39501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78800" y="1571400"/>
            <a:ext cx="39501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C89EA9-9371-4CAC-9B98-7D86D0E92449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73205" y="1088122"/>
            <a:ext cx="0" cy="3637087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879771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2-Spli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re 1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72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52"/>
          </p:nvPr>
        </p:nvSpPr>
        <p:spPr bwMode="auto">
          <a:xfrm>
            <a:off x="4992683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55"/>
          </p:nvPr>
        </p:nvSpPr>
        <p:spPr/>
        <p:txBody>
          <a:bodyPr/>
          <a:lstStyle/>
          <a:p>
            <a:pPr algn="ctr"/>
            <a:fld id="{C937A5BD-9C2B-4DD1-B86E-920F3392AE81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58"/>
          </p:nvPr>
        </p:nvSpPr>
        <p:spPr>
          <a:xfrm>
            <a:off x="842401" y="1373981"/>
            <a:ext cx="3912956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9"/>
          </p:nvPr>
        </p:nvSpPr>
        <p:spPr>
          <a:xfrm>
            <a:off x="4992683" y="1373981"/>
            <a:ext cx="3913200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60"/>
          </p:nvPr>
        </p:nvSpPr>
        <p:spPr>
          <a:xfrm>
            <a:off x="4992684" y="3137608"/>
            <a:ext cx="3913192" cy="1587983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61"/>
          </p:nvPr>
        </p:nvSpPr>
        <p:spPr>
          <a:xfrm>
            <a:off x="842963" y="3137298"/>
            <a:ext cx="3912394" cy="158829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04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2" y="935715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38"/>
          </p:nvPr>
        </p:nvSpPr>
        <p:spPr bwMode="auto">
          <a:xfrm>
            <a:off x="842459" y="2866853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3"/>
          </p:nvPr>
        </p:nvSpPr>
        <p:spPr bwMode="auto">
          <a:xfrm>
            <a:off x="4992673" y="923759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40"/>
          </p:nvPr>
        </p:nvSpPr>
        <p:spPr bwMode="auto">
          <a:xfrm>
            <a:off x="4992670" y="2873531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pPr algn="ctr"/>
            <a:fld id="{915FB85F-8D53-4D27-A304-BEFE65069726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4"/>
          </p:nvPr>
        </p:nvSpPr>
        <p:spPr>
          <a:xfrm>
            <a:off x="842401" y="1374031"/>
            <a:ext cx="3913259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5"/>
          </p:nvPr>
        </p:nvSpPr>
        <p:spPr>
          <a:xfrm>
            <a:off x="4992670" y="1374031"/>
            <a:ext cx="3913200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56"/>
          </p:nvPr>
        </p:nvSpPr>
        <p:spPr>
          <a:xfrm>
            <a:off x="4992291" y="3305175"/>
            <a:ext cx="3913584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57"/>
          </p:nvPr>
        </p:nvSpPr>
        <p:spPr>
          <a:xfrm>
            <a:off x="842401" y="3305175"/>
            <a:ext cx="3912956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51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34"/>
          </p:nvPr>
        </p:nvSpPr>
        <p:spPr bwMode="auto">
          <a:xfrm>
            <a:off x="3573370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32"/>
          </p:nvPr>
        </p:nvSpPr>
        <p:spPr bwMode="auto">
          <a:xfrm>
            <a:off x="630907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pPr algn="ctr"/>
            <a:fld id="{6C3468DD-4880-48FF-BB93-0B2E6247F482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8"/>
          </p:nvPr>
        </p:nvSpPr>
        <p:spPr>
          <a:xfrm>
            <a:off x="840338" y="1376208"/>
            <a:ext cx="2589326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9"/>
          </p:nvPr>
        </p:nvSpPr>
        <p:spPr>
          <a:xfrm>
            <a:off x="3573370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50"/>
          </p:nvPr>
        </p:nvSpPr>
        <p:spPr>
          <a:xfrm>
            <a:off x="6309075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57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485654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0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83957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1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83957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2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83957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3</a:t>
            </a:r>
          </a:p>
        </p:txBody>
      </p:sp>
      <p:sp>
        <p:nvSpPr>
          <p:cNvPr id="24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452324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4</a:t>
            </a:r>
          </a:p>
        </p:txBody>
      </p:sp>
      <p:sp>
        <p:nvSpPr>
          <p:cNvPr id="25" name="Text Placeholder 31"/>
          <p:cNvSpPr>
            <a:spLocks noGrp="1"/>
          </p:cNvSpPr>
          <p:nvPr>
            <p:ph type="body" sz="quarter" idx="20" hasCustomPrompt="1"/>
          </p:nvPr>
        </p:nvSpPr>
        <p:spPr>
          <a:xfrm>
            <a:off x="452324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5</a:t>
            </a:r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452324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6</a:t>
            </a:r>
          </a:p>
        </p:txBody>
      </p:sp>
      <p:sp>
        <p:nvSpPr>
          <p:cNvPr id="27" name="Text Placeholder 3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654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1485654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9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5169823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0" name="Text Placeholder 31"/>
          <p:cNvSpPr>
            <a:spLocks noGrp="1"/>
          </p:cNvSpPr>
          <p:nvPr>
            <p:ph type="body" sz="quarter" idx="26" hasCustomPrompt="1"/>
          </p:nvPr>
        </p:nvSpPr>
        <p:spPr>
          <a:xfrm>
            <a:off x="5169823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1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5169823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Summary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algn="ctr"/>
            <a:fld id="{EDC38B24-51D7-46A9-A7B9-70348599DC66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583130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08006" y="226219"/>
            <a:ext cx="2020491" cy="449937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42963" y="226219"/>
            <a:ext cx="5950744" cy="4499372"/>
          </a:xfrm>
        </p:spPr>
        <p:txBody>
          <a:bodyPr vert="vert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D1EC96A7-7A02-4B33-B93C-2CB302E046C7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131436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rgbClr val="A4CB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30" name="Freeform 5"/>
          <p:cNvSpPr>
            <a:spLocks noEditPoints="1"/>
          </p:cNvSpPr>
          <p:nvPr/>
        </p:nvSpPr>
        <p:spPr bwMode="auto">
          <a:xfrm>
            <a:off x="4794822" y="436562"/>
            <a:ext cx="4268788" cy="4710113"/>
          </a:xfrm>
          <a:custGeom>
            <a:avLst/>
            <a:gdLst>
              <a:gd name="T0" fmla="*/ 1543 w 5865"/>
              <a:gd name="T1" fmla="*/ 3704 h 6482"/>
              <a:gd name="T2" fmla="*/ 1543 w 5865"/>
              <a:gd name="T3" fmla="*/ 1543 h 6482"/>
              <a:gd name="T4" fmla="*/ 4322 w 5865"/>
              <a:gd name="T5" fmla="*/ 1543 h 6482"/>
              <a:gd name="T6" fmla="*/ 4322 w 5865"/>
              <a:gd name="T7" fmla="*/ 3704 h 6482"/>
              <a:gd name="T8" fmla="*/ 2778 w 5865"/>
              <a:gd name="T9" fmla="*/ 4939 h 6482"/>
              <a:gd name="T10" fmla="*/ 1543 w 5865"/>
              <a:gd name="T11" fmla="*/ 3704 h 6482"/>
              <a:gd name="T12" fmla="*/ 4322 w 5865"/>
              <a:gd name="T13" fmla="*/ 3704 h 6482"/>
              <a:gd name="T14" fmla="*/ 2778 w 5865"/>
              <a:gd name="T15" fmla="*/ 5247 h 6482"/>
              <a:gd name="T16" fmla="*/ 4630 w 5865"/>
              <a:gd name="T17" fmla="*/ 3704 h 6482"/>
              <a:gd name="T18" fmla="*/ 2778 w 5865"/>
              <a:gd name="T19" fmla="*/ 5556 h 6482"/>
              <a:gd name="T20" fmla="*/ 2778 w 5865"/>
              <a:gd name="T21" fmla="*/ 5556 h 6482"/>
              <a:gd name="T22" fmla="*/ 926 w 5865"/>
              <a:gd name="T23" fmla="*/ 3704 h 6482"/>
              <a:gd name="T24" fmla="*/ 926 w 5865"/>
              <a:gd name="T25" fmla="*/ 926 h 6482"/>
              <a:gd name="T26" fmla="*/ 4939 w 5865"/>
              <a:gd name="T27" fmla="*/ 926 h 6482"/>
              <a:gd name="T28" fmla="*/ 4939 w 5865"/>
              <a:gd name="T29" fmla="*/ 3704 h 6482"/>
              <a:gd name="T30" fmla="*/ 2778 w 5865"/>
              <a:gd name="T31" fmla="*/ 5865 h 6482"/>
              <a:gd name="T32" fmla="*/ 2778 w 5865"/>
              <a:gd name="T33" fmla="*/ 5865 h 6482"/>
              <a:gd name="T34" fmla="*/ 617 w 5865"/>
              <a:gd name="T35" fmla="*/ 3704 h 6482"/>
              <a:gd name="T36" fmla="*/ 2778 w 5865"/>
              <a:gd name="T37" fmla="*/ 6173 h 6482"/>
              <a:gd name="T38" fmla="*/ 5248 w 5865"/>
              <a:gd name="T39" fmla="*/ 3704 h 6482"/>
              <a:gd name="T40" fmla="*/ 5248 w 5865"/>
              <a:gd name="T41" fmla="*/ 617 h 6482"/>
              <a:gd name="T42" fmla="*/ 617 w 5865"/>
              <a:gd name="T43" fmla="*/ 617 h 6482"/>
              <a:gd name="T44" fmla="*/ 617 w 5865"/>
              <a:gd name="T45" fmla="*/ 3704 h 6482"/>
              <a:gd name="T46" fmla="*/ 2778 w 5865"/>
              <a:gd name="T47" fmla="*/ 6173 h 6482"/>
              <a:gd name="T48" fmla="*/ 309 w 5865"/>
              <a:gd name="T49" fmla="*/ 3704 h 6482"/>
              <a:gd name="T50" fmla="*/ 2778 w 5865"/>
              <a:gd name="T51" fmla="*/ 6482 h 6482"/>
              <a:gd name="T52" fmla="*/ 5556 w 5865"/>
              <a:gd name="T53" fmla="*/ 3704 h 6482"/>
              <a:gd name="T54" fmla="*/ 5556 w 5865"/>
              <a:gd name="T55" fmla="*/ 308 h 6482"/>
              <a:gd name="T56" fmla="*/ 309 w 5865"/>
              <a:gd name="T57" fmla="*/ 308 h 6482"/>
              <a:gd name="T58" fmla="*/ 309 w 5865"/>
              <a:gd name="T59" fmla="*/ 3704 h 6482"/>
              <a:gd name="T60" fmla="*/ 2778 w 5865"/>
              <a:gd name="T61" fmla="*/ 6482 h 6482"/>
              <a:gd name="T62" fmla="*/ 0 w 5865"/>
              <a:gd name="T63" fmla="*/ 3704 h 6482"/>
              <a:gd name="T64" fmla="*/ 0 w 5865"/>
              <a:gd name="T65" fmla="*/ 0 h 6482"/>
              <a:gd name="T66" fmla="*/ 5865 w 5865"/>
              <a:gd name="T67" fmla="*/ 0 h 6482"/>
              <a:gd name="T68" fmla="*/ 3704 w 5865"/>
              <a:gd name="T69" fmla="*/ 3704 h 6482"/>
              <a:gd name="T70" fmla="*/ 2778 w 5865"/>
              <a:gd name="T71" fmla="*/ 4630 h 6482"/>
              <a:gd name="T72" fmla="*/ 2778 w 5865"/>
              <a:gd name="T73" fmla="*/ 5247 h 6482"/>
              <a:gd name="T74" fmla="*/ 1235 w 5865"/>
              <a:gd name="T75" fmla="*/ 3704 h 6482"/>
              <a:gd name="T76" fmla="*/ 1235 w 5865"/>
              <a:gd name="T77" fmla="*/ 1234 h 6482"/>
              <a:gd name="T78" fmla="*/ 4630 w 5865"/>
              <a:gd name="T79" fmla="*/ 1234 h 6482"/>
              <a:gd name="T80" fmla="*/ 4630 w 5865"/>
              <a:gd name="T81" fmla="*/ 3704 h 6482"/>
              <a:gd name="T82" fmla="*/ 3087 w 5865"/>
              <a:gd name="T83" fmla="*/ 4013 h 6482"/>
              <a:gd name="T84" fmla="*/ 2470 w 5865"/>
              <a:gd name="T85" fmla="*/ 3395 h 6482"/>
              <a:gd name="T86" fmla="*/ 2778 w 5865"/>
              <a:gd name="T87" fmla="*/ 2160 h 6482"/>
              <a:gd name="T88" fmla="*/ 3704 w 5865"/>
              <a:gd name="T89" fmla="*/ 2160 h 6482"/>
              <a:gd name="T90" fmla="*/ 3704 w 5865"/>
              <a:gd name="T91" fmla="*/ 2778 h 6482"/>
              <a:gd name="T92" fmla="*/ 3704 w 5865"/>
              <a:gd name="T93" fmla="*/ 3704 h 6482"/>
              <a:gd name="T94" fmla="*/ 3396 w 5865"/>
              <a:gd name="T95" fmla="*/ 2469 h 6482"/>
              <a:gd name="T96" fmla="*/ 3396 w 5865"/>
              <a:gd name="T97" fmla="*/ 3704 h 6482"/>
              <a:gd name="T98" fmla="*/ 2161 w 5865"/>
              <a:gd name="T99" fmla="*/ 2469 h 6482"/>
              <a:gd name="T100" fmla="*/ 2161 w 5865"/>
              <a:gd name="T101" fmla="*/ 3704 h 6482"/>
              <a:gd name="T102" fmla="*/ 2778 w 5865"/>
              <a:gd name="T103" fmla="*/ 4321 h 6482"/>
              <a:gd name="T104" fmla="*/ 2778 w 5865"/>
              <a:gd name="T105" fmla="*/ 4939 h 6482"/>
              <a:gd name="T106" fmla="*/ 4013 w 5865"/>
              <a:gd name="T107" fmla="*/ 3704 h 6482"/>
              <a:gd name="T108" fmla="*/ 4013 w 5865"/>
              <a:gd name="T109" fmla="*/ 1852 h 6482"/>
              <a:gd name="T110" fmla="*/ 1852 w 5865"/>
              <a:gd name="T111" fmla="*/ 1852 h 6482"/>
              <a:gd name="T112" fmla="*/ 1852 w 5865"/>
              <a:gd name="T113" fmla="*/ 2160 h 6482"/>
              <a:gd name="T114" fmla="*/ 1852 w 5865"/>
              <a:gd name="T115" fmla="*/ 3704 h 6482"/>
              <a:gd name="T116" fmla="*/ 2778 w 5865"/>
              <a:gd name="T117" fmla="*/ 4630 h 6482"/>
              <a:gd name="T118" fmla="*/ 3087 w 5865"/>
              <a:gd name="T119" fmla="*/ 2778 h 6482"/>
              <a:gd name="T120" fmla="*/ 2470 w 5865"/>
              <a:gd name="T121" fmla="*/ 2160 h 6482"/>
              <a:gd name="T122" fmla="*/ 2161 w 5865"/>
              <a:gd name="T123" fmla="*/ 2160 h 6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65" h="6482">
                <a:moveTo>
                  <a:pt x="1543" y="3704"/>
                </a:moveTo>
                <a:cubicBezTo>
                  <a:pt x="1543" y="1543"/>
                  <a:pt x="1543" y="1543"/>
                  <a:pt x="1543" y="1543"/>
                </a:cubicBezTo>
                <a:cubicBezTo>
                  <a:pt x="4322" y="1543"/>
                  <a:pt x="4322" y="1543"/>
                  <a:pt x="4322" y="1543"/>
                </a:cubicBezTo>
                <a:cubicBezTo>
                  <a:pt x="4322" y="3704"/>
                  <a:pt x="4322" y="3704"/>
                  <a:pt x="4322" y="3704"/>
                </a:cubicBezTo>
                <a:moveTo>
                  <a:pt x="2778" y="4939"/>
                </a:moveTo>
                <a:cubicBezTo>
                  <a:pt x="2096" y="4939"/>
                  <a:pt x="1543" y="4386"/>
                  <a:pt x="1543" y="3704"/>
                </a:cubicBezTo>
                <a:moveTo>
                  <a:pt x="4322" y="3704"/>
                </a:moveTo>
                <a:cubicBezTo>
                  <a:pt x="4322" y="4556"/>
                  <a:pt x="3631" y="5247"/>
                  <a:pt x="2778" y="5247"/>
                </a:cubicBezTo>
                <a:moveTo>
                  <a:pt x="4630" y="3704"/>
                </a:moveTo>
                <a:cubicBezTo>
                  <a:pt x="4630" y="4727"/>
                  <a:pt x="3801" y="5556"/>
                  <a:pt x="2778" y="5556"/>
                </a:cubicBezTo>
                <a:moveTo>
                  <a:pt x="2778" y="5556"/>
                </a:moveTo>
                <a:cubicBezTo>
                  <a:pt x="1755" y="5556"/>
                  <a:pt x="926" y="4727"/>
                  <a:pt x="926" y="3704"/>
                </a:cubicBezTo>
                <a:cubicBezTo>
                  <a:pt x="926" y="926"/>
                  <a:pt x="926" y="926"/>
                  <a:pt x="926" y="926"/>
                </a:cubicBezTo>
                <a:cubicBezTo>
                  <a:pt x="4939" y="926"/>
                  <a:pt x="4939" y="926"/>
                  <a:pt x="4939" y="926"/>
                </a:cubicBezTo>
                <a:cubicBezTo>
                  <a:pt x="4939" y="3704"/>
                  <a:pt x="4939" y="3704"/>
                  <a:pt x="4939" y="3704"/>
                </a:cubicBezTo>
                <a:cubicBezTo>
                  <a:pt x="4939" y="4897"/>
                  <a:pt x="3972" y="5865"/>
                  <a:pt x="2778" y="5865"/>
                </a:cubicBezTo>
                <a:moveTo>
                  <a:pt x="2778" y="5865"/>
                </a:moveTo>
                <a:cubicBezTo>
                  <a:pt x="1585" y="5865"/>
                  <a:pt x="617" y="4897"/>
                  <a:pt x="617" y="3704"/>
                </a:cubicBezTo>
                <a:moveTo>
                  <a:pt x="2778" y="6173"/>
                </a:moveTo>
                <a:cubicBezTo>
                  <a:pt x="4142" y="6173"/>
                  <a:pt x="5248" y="5068"/>
                  <a:pt x="5248" y="3704"/>
                </a:cubicBezTo>
                <a:cubicBezTo>
                  <a:pt x="5248" y="617"/>
                  <a:pt x="5248" y="617"/>
                  <a:pt x="5248" y="617"/>
                </a:cubicBezTo>
                <a:cubicBezTo>
                  <a:pt x="617" y="617"/>
                  <a:pt x="617" y="617"/>
                  <a:pt x="617" y="617"/>
                </a:cubicBezTo>
                <a:cubicBezTo>
                  <a:pt x="617" y="3704"/>
                  <a:pt x="617" y="3704"/>
                  <a:pt x="617" y="3704"/>
                </a:cubicBezTo>
                <a:moveTo>
                  <a:pt x="2778" y="6173"/>
                </a:moveTo>
                <a:cubicBezTo>
                  <a:pt x="1414" y="6173"/>
                  <a:pt x="309" y="5068"/>
                  <a:pt x="309" y="3704"/>
                </a:cubicBezTo>
                <a:moveTo>
                  <a:pt x="2778" y="6482"/>
                </a:moveTo>
                <a:cubicBezTo>
                  <a:pt x="4313" y="6482"/>
                  <a:pt x="5556" y="5238"/>
                  <a:pt x="5556" y="3704"/>
                </a:cubicBezTo>
                <a:cubicBezTo>
                  <a:pt x="5556" y="308"/>
                  <a:pt x="5556" y="308"/>
                  <a:pt x="5556" y="308"/>
                </a:cubicBezTo>
                <a:cubicBezTo>
                  <a:pt x="309" y="308"/>
                  <a:pt x="309" y="308"/>
                  <a:pt x="309" y="308"/>
                </a:cubicBezTo>
                <a:cubicBezTo>
                  <a:pt x="309" y="3704"/>
                  <a:pt x="309" y="3704"/>
                  <a:pt x="309" y="3704"/>
                </a:cubicBezTo>
                <a:moveTo>
                  <a:pt x="2778" y="6482"/>
                </a:moveTo>
                <a:cubicBezTo>
                  <a:pt x="1244" y="6482"/>
                  <a:pt x="0" y="5238"/>
                  <a:pt x="0" y="3704"/>
                </a:cubicBezTo>
                <a:cubicBezTo>
                  <a:pt x="0" y="0"/>
                  <a:pt x="0" y="0"/>
                  <a:pt x="0" y="0"/>
                </a:cubicBezTo>
                <a:cubicBezTo>
                  <a:pt x="5865" y="0"/>
                  <a:pt x="5865" y="0"/>
                  <a:pt x="5865" y="0"/>
                </a:cubicBezTo>
                <a:moveTo>
                  <a:pt x="3704" y="3704"/>
                </a:moveTo>
                <a:cubicBezTo>
                  <a:pt x="3704" y="4215"/>
                  <a:pt x="3290" y="4630"/>
                  <a:pt x="2778" y="4630"/>
                </a:cubicBezTo>
                <a:moveTo>
                  <a:pt x="2778" y="5247"/>
                </a:moveTo>
                <a:cubicBezTo>
                  <a:pt x="1926" y="5247"/>
                  <a:pt x="1235" y="4556"/>
                  <a:pt x="1235" y="3704"/>
                </a:cubicBezTo>
                <a:cubicBezTo>
                  <a:pt x="1235" y="1234"/>
                  <a:pt x="1235" y="1234"/>
                  <a:pt x="1235" y="1234"/>
                </a:cubicBezTo>
                <a:cubicBezTo>
                  <a:pt x="4630" y="1234"/>
                  <a:pt x="4630" y="1234"/>
                  <a:pt x="4630" y="1234"/>
                </a:cubicBezTo>
                <a:cubicBezTo>
                  <a:pt x="4630" y="3704"/>
                  <a:pt x="4630" y="3704"/>
                  <a:pt x="4630" y="3704"/>
                </a:cubicBezTo>
                <a:moveTo>
                  <a:pt x="3087" y="4013"/>
                </a:moveTo>
                <a:cubicBezTo>
                  <a:pt x="2470" y="3395"/>
                  <a:pt x="2470" y="3395"/>
                  <a:pt x="2470" y="3395"/>
                </a:cubicBezTo>
                <a:moveTo>
                  <a:pt x="2778" y="2160"/>
                </a:moveTo>
                <a:cubicBezTo>
                  <a:pt x="3704" y="2160"/>
                  <a:pt x="3704" y="2160"/>
                  <a:pt x="3704" y="2160"/>
                </a:cubicBezTo>
                <a:cubicBezTo>
                  <a:pt x="3704" y="2778"/>
                  <a:pt x="3704" y="2778"/>
                  <a:pt x="3704" y="2778"/>
                </a:cubicBezTo>
                <a:cubicBezTo>
                  <a:pt x="3704" y="3704"/>
                  <a:pt x="3704" y="3704"/>
                  <a:pt x="3704" y="3704"/>
                </a:cubicBezTo>
                <a:moveTo>
                  <a:pt x="3396" y="2469"/>
                </a:moveTo>
                <a:cubicBezTo>
                  <a:pt x="3396" y="3704"/>
                  <a:pt x="3396" y="3704"/>
                  <a:pt x="3396" y="3704"/>
                </a:cubicBezTo>
                <a:cubicBezTo>
                  <a:pt x="2161" y="2469"/>
                  <a:pt x="2161" y="2469"/>
                  <a:pt x="2161" y="2469"/>
                </a:cubicBezTo>
                <a:cubicBezTo>
                  <a:pt x="2161" y="3704"/>
                  <a:pt x="2161" y="3704"/>
                  <a:pt x="2161" y="3704"/>
                </a:cubicBezTo>
                <a:cubicBezTo>
                  <a:pt x="2778" y="4321"/>
                  <a:pt x="2778" y="4321"/>
                  <a:pt x="2778" y="4321"/>
                </a:cubicBezTo>
                <a:moveTo>
                  <a:pt x="2778" y="4939"/>
                </a:moveTo>
                <a:cubicBezTo>
                  <a:pt x="3460" y="4939"/>
                  <a:pt x="4013" y="4386"/>
                  <a:pt x="4013" y="3704"/>
                </a:cubicBezTo>
                <a:cubicBezTo>
                  <a:pt x="4013" y="1852"/>
                  <a:pt x="4013" y="1852"/>
                  <a:pt x="4013" y="1852"/>
                </a:cubicBezTo>
                <a:cubicBezTo>
                  <a:pt x="1852" y="1852"/>
                  <a:pt x="1852" y="1852"/>
                  <a:pt x="1852" y="1852"/>
                </a:cubicBezTo>
                <a:cubicBezTo>
                  <a:pt x="1852" y="2160"/>
                  <a:pt x="1852" y="2160"/>
                  <a:pt x="1852" y="2160"/>
                </a:cubicBezTo>
                <a:cubicBezTo>
                  <a:pt x="1852" y="3704"/>
                  <a:pt x="1852" y="3704"/>
                  <a:pt x="1852" y="3704"/>
                </a:cubicBezTo>
                <a:cubicBezTo>
                  <a:pt x="1852" y="4215"/>
                  <a:pt x="2267" y="4630"/>
                  <a:pt x="2778" y="4630"/>
                </a:cubicBezTo>
                <a:moveTo>
                  <a:pt x="3087" y="2778"/>
                </a:moveTo>
                <a:cubicBezTo>
                  <a:pt x="2470" y="2160"/>
                  <a:pt x="2470" y="2160"/>
                  <a:pt x="2470" y="2160"/>
                </a:cubicBezTo>
                <a:cubicBezTo>
                  <a:pt x="2161" y="2160"/>
                  <a:pt x="2161" y="2160"/>
                  <a:pt x="2161" y="2160"/>
                </a:cubicBezTo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817F4077-667B-4835-895B-0327E5A4ECF4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72576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1">
    <p:bg>
      <p:bgPr>
        <a:solidFill>
          <a:srgbClr val="A4CB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Freeform 5"/>
          <p:cNvSpPr>
            <a:spLocks noEditPoints="1"/>
          </p:cNvSpPr>
          <p:nvPr/>
        </p:nvSpPr>
        <p:spPr bwMode="auto">
          <a:xfrm>
            <a:off x="5162552" y="-523875"/>
            <a:ext cx="4268788" cy="4710113"/>
          </a:xfrm>
          <a:custGeom>
            <a:avLst/>
            <a:gdLst>
              <a:gd name="T0" fmla="*/ 1543 w 5865"/>
              <a:gd name="T1" fmla="*/ 3704 h 6482"/>
              <a:gd name="T2" fmla="*/ 1543 w 5865"/>
              <a:gd name="T3" fmla="*/ 1543 h 6482"/>
              <a:gd name="T4" fmla="*/ 4322 w 5865"/>
              <a:gd name="T5" fmla="*/ 1543 h 6482"/>
              <a:gd name="T6" fmla="*/ 4322 w 5865"/>
              <a:gd name="T7" fmla="*/ 3704 h 6482"/>
              <a:gd name="T8" fmla="*/ 2778 w 5865"/>
              <a:gd name="T9" fmla="*/ 4939 h 6482"/>
              <a:gd name="T10" fmla="*/ 1543 w 5865"/>
              <a:gd name="T11" fmla="*/ 3704 h 6482"/>
              <a:gd name="T12" fmla="*/ 4322 w 5865"/>
              <a:gd name="T13" fmla="*/ 3704 h 6482"/>
              <a:gd name="T14" fmla="*/ 2778 w 5865"/>
              <a:gd name="T15" fmla="*/ 5247 h 6482"/>
              <a:gd name="T16" fmla="*/ 4630 w 5865"/>
              <a:gd name="T17" fmla="*/ 3704 h 6482"/>
              <a:gd name="T18" fmla="*/ 2778 w 5865"/>
              <a:gd name="T19" fmla="*/ 5556 h 6482"/>
              <a:gd name="T20" fmla="*/ 2778 w 5865"/>
              <a:gd name="T21" fmla="*/ 5556 h 6482"/>
              <a:gd name="T22" fmla="*/ 926 w 5865"/>
              <a:gd name="T23" fmla="*/ 3704 h 6482"/>
              <a:gd name="T24" fmla="*/ 926 w 5865"/>
              <a:gd name="T25" fmla="*/ 926 h 6482"/>
              <a:gd name="T26" fmla="*/ 4939 w 5865"/>
              <a:gd name="T27" fmla="*/ 926 h 6482"/>
              <a:gd name="T28" fmla="*/ 4939 w 5865"/>
              <a:gd name="T29" fmla="*/ 3704 h 6482"/>
              <a:gd name="T30" fmla="*/ 2778 w 5865"/>
              <a:gd name="T31" fmla="*/ 5865 h 6482"/>
              <a:gd name="T32" fmla="*/ 2778 w 5865"/>
              <a:gd name="T33" fmla="*/ 5865 h 6482"/>
              <a:gd name="T34" fmla="*/ 617 w 5865"/>
              <a:gd name="T35" fmla="*/ 3704 h 6482"/>
              <a:gd name="T36" fmla="*/ 2778 w 5865"/>
              <a:gd name="T37" fmla="*/ 6173 h 6482"/>
              <a:gd name="T38" fmla="*/ 5248 w 5865"/>
              <a:gd name="T39" fmla="*/ 3704 h 6482"/>
              <a:gd name="T40" fmla="*/ 5248 w 5865"/>
              <a:gd name="T41" fmla="*/ 617 h 6482"/>
              <a:gd name="T42" fmla="*/ 617 w 5865"/>
              <a:gd name="T43" fmla="*/ 617 h 6482"/>
              <a:gd name="T44" fmla="*/ 617 w 5865"/>
              <a:gd name="T45" fmla="*/ 3704 h 6482"/>
              <a:gd name="T46" fmla="*/ 2778 w 5865"/>
              <a:gd name="T47" fmla="*/ 6173 h 6482"/>
              <a:gd name="T48" fmla="*/ 309 w 5865"/>
              <a:gd name="T49" fmla="*/ 3704 h 6482"/>
              <a:gd name="T50" fmla="*/ 2778 w 5865"/>
              <a:gd name="T51" fmla="*/ 6482 h 6482"/>
              <a:gd name="T52" fmla="*/ 5556 w 5865"/>
              <a:gd name="T53" fmla="*/ 3704 h 6482"/>
              <a:gd name="T54" fmla="*/ 5556 w 5865"/>
              <a:gd name="T55" fmla="*/ 308 h 6482"/>
              <a:gd name="T56" fmla="*/ 309 w 5865"/>
              <a:gd name="T57" fmla="*/ 308 h 6482"/>
              <a:gd name="T58" fmla="*/ 309 w 5865"/>
              <a:gd name="T59" fmla="*/ 3704 h 6482"/>
              <a:gd name="T60" fmla="*/ 2778 w 5865"/>
              <a:gd name="T61" fmla="*/ 6482 h 6482"/>
              <a:gd name="T62" fmla="*/ 0 w 5865"/>
              <a:gd name="T63" fmla="*/ 3704 h 6482"/>
              <a:gd name="T64" fmla="*/ 0 w 5865"/>
              <a:gd name="T65" fmla="*/ 0 h 6482"/>
              <a:gd name="T66" fmla="*/ 5865 w 5865"/>
              <a:gd name="T67" fmla="*/ 0 h 6482"/>
              <a:gd name="T68" fmla="*/ 3704 w 5865"/>
              <a:gd name="T69" fmla="*/ 3704 h 6482"/>
              <a:gd name="T70" fmla="*/ 2778 w 5865"/>
              <a:gd name="T71" fmla="*/ 4630 h 6482"/>
              <a:gd name="T72" fmla="*/ 2778 w 5865"/>
              <a:gd name="T73" fmla="*/ 5247 h 6482"/>
              <a:gd name="T74" fmla="*/ 1235 w 5865"/>
              <a:gd name="T75" fmla="*/ 3704 h 6482"/>
              <a:gd name="T76" fmla="*/ 1235 w 5865"/>
              <a:gd name="T77" fmla="*/ 1234 h 6482"/>
              <a:gd name="T78" fmla="*/ 4630 w 5865"/>
              <a:gd name="T79" fmla="*/ 1234 h 6482"/>
              <a:gd name="T80" fmla="*/ 4630 w 5865"/>
              <a:gd name="T81" fmla="*/ 3704 h 6482"/>
              <a:gd name="T82" fmla="*/ 3087 w 5865"/>
              <a:gd name="T83" fmla="*/ 4013 h 6482"/>
              <a:gd name="T84" fmla="*/ 2470 w 5865"/>
              <a:gd name="T85" fmla="*/ 3395 h 6482"/>
              <a:gd name="T86" fmla="*/ 2778 w 5865"/>
              <a:gd name="T87" fmla="*/ 2160 h 6482"/>
              <a:gd name="T88" fmla="*/ 3704 w 5865"/>
              <a:gd name="T89" fmla="*/ 2160 h 6482"/>
              <a:gd name="T90" fmla="*/ 3704 w 5865"/>
              <a:gd name="T91" fmla="*/ 2778 h 6482"/>
              <a:gd name="T92" fmla="*/ 3704 w 5865"/>
              <a:gd name="T93" fmla="*/ 3704 h 6482"/>
              <a:gd name="T94" fmla="*/ 3396 w 5865"/>
              <a:gd name="T95" fmla="*/ 2469 h 6482"/>
              <a:gd name="T96" fmla="*/ 3396 w 5865"/>
              <a:gd name="T97" fmla="*/ 3704 h 6482"/>
              <a:gd name="T98" fmla="*/ 2161 w 5865"/>
              <a:gd name="T99" fmla="*/ 2469 h 6482"/>
              <a:gd name="T100" fmla="*/ 2161 w 5865"/>
              <a:gd name="T101" fmla="*/ 3704 h 6482"/>
              <a:gd name="T102" fmla="*/ 2778 w 5865"/>
              <a:gd name="T103" fmla="*/ 4321 h 6482"/>
              <a:gd name="T104" fmla="*/ 2778 w 5865"/>
              <a:gd name="T105" fmla="*/ 4939 h 6482"/>
              <a:gd name="T106" fmla="*/ 4013 w 5865"/>
              <a:gd name="T107" fmla="*/ 3704 h 6482"/>
              <a:gd name="T108" fmla="*/ 4013 w 5865"/>
              <a:gd name="T109" fmla="*/ 1852 h 6482"/>
              <a:gd name="T110" fmla="*/ 1852 w 5865"/>
              <a:gd name="T111" fmla="*/ 1852 h 6482"/>
              <a:gd name="T112" fmla="*/ 1852 w 5865"/>
              <a:gd name="T113" fmla="*/ 2160 h 6482"/>
              <a:gd name="T114" fmla="*/ 1852 w 5865"/>
              <a:gd name="T115" fmla="*/ 3704 h 6482"/>
              <a:gd name="T116" fmla="*/ 2778 w 5865"/>
              <a:gd name="T117" fmla="*/ 4630 h 6482"/>
              <a:gd name="T118" fmla="*/ 3087 w 5865"/>
              <a:gd name="T119" fmla="*/ 2778 h 6482"/>
              <a:gd name="T120" fmla="*/ 2470 w 5865"/>
              <a:gd name="T121" fmla="*/ 2160 h 6482"/>
              <a:gd name="T122" fmla="*/ 2161 w 5865"/>
              <a:gd name="T123" fmla="*/ 2160 h 6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65" h="6482">
                <a:moveTo>
                  <a:pt x="1543" y="3704"/>
                </a:moveTo>
                <a:cubicBezTo>
                  <a:pt x="1543" y="1543"/>
                  <a:pt x="1543" y="1543"/>
                  <a:pt x="1543" y="1543"/>
                </a:cubicBezTo>
                <a:cubicBezTo>
                  <a:pt x="4322" y="1543"/>
                  <a:pt x="4322" y="1543"/>
                  <a:pt x="4322" y="1543"/>
                </a:cubicBezTo>
                <a:cubicBezTo>
                  <a:pt x="4322" y="3704"/>
                  <a:pt x="4322" y="3704"/>
                  <a:pt x="4322" y="3704"/>
                </a:cubicBezTo>
                <a:moveTo>
                  <a:pt x="2778" y="4939"/>
                </a:moveTo>
                <a:cubicBezTo>
                  <a:pt x="2096" y="4939"/>
                  <a:pt x="1543" y="4386"/>
                  <a:pt x="1543" y="3704"/>
                </a:cubicBezTo>
                <a:moveTo>
                  <a:pt x="4322" y="3704"/>
                </a:moveTo>
                <a:cubicBezTo>
                  <a:pt x="4322" y="4556"/>
                  <a:pt x="3631" y="5247"/>
                  <a:pt x="2778" y="5247"/>
                </a:cubicBezTo>
                <a:moveTo>
                  <a:pt x="4630" y="3704"/>
                </a:moveTo>
                <a:cubicBezTo>
                  <a:pt x="4630" y="4727"/>
                  <a:pt x="3801" y="5556"/>
                  <a:pt x="2778" y="5556"/>
                </a:cubicBezTo>
                <a:moveTo>
                  <a:pt x="2778" y="5556"/>
                </a:moveTo>
                <a:cubicBezTo>
                  <a:pt x="1755" y="5556"/>
                  <a:pt x="926" y="4727"/>
                  <a:pt x="926" y="3704"/>
                </a:cubicBezTo>
                <a:cubicBezTo>
                  <a:pt x="926" y="926"/>
                  <a:pt x="926" y="926"/>
                  <a:pt x="926" y="926"/>
                </a:cubicBezTo>
                <a:cubicBezTo>
                  <a:pt x="4939" y="926"/>
                  <a:pt x="4939" y="926"/>
                  <a:pt x="4939" y="926"/>
                </a:cubicBezTo>
                <a:cubicBezTo>
                  <a:pt x="4939" y="3704"/>
                  <a:pt x="4939" y="3704"/>
                  <a:pt x="4939" y="3704"/>
                </a:cubicBezTo>
                <a:cubicBezTo>
                  <a:pt x="4939" y="4897"/>
                  <a:pt x="3972" y="5865"/>
                  <a:pt x="2778" y="5865"/>
                </a:cubicBezTo>
                <a:moveTo>
                  <a:pt x="2778" y="5865"/>
                </a:moveTo>
                <a:cubicBezTo>
                  <a:pt x="1585" y="5865"/>
                  <a:pt x="617" y="4897"/>
                  <a:pt x="617" y="3704"/>
                </a:cubicBezTo>
                <a:moveTo>
                  <a:pt x="2778" y="6173"/>
                </a:moveTo>
                <a:cubicBezTo>
                  <a:pt x="4142" y="6173"/>
                  <a:pt x="5248" y="5068"/>
                  <a:pt x="5248" y="3704"/>
                </a:cubicBezTo>
                <a:cubicBezTo>
                  <a:pt x="5248" y="617"/>
                  <a:pt x="5248" y="617"/>
                  <a:pt x="5248" y="617"/>
                </a:cubicBezTo>
                <a:cubicBezTo>
                  <a:pt x="617" y="617"/>
                  <a:pt x="617" y="617"/>
                  <a:pt x="617" y="617"/>
                </a:cubicBezTo>
                <a:cubicBezTo>
                  <a:pt x="617" y="3704"/>
                  <a:pt x="617" y="3704"/>
                  <a:pt x="617" y="3704"/>
                </a:cubicBezTo>
                <a:moveTo>
                  <a:pt x="2778" y="6173"/>
                </a:moveTo>
                <a:cubicBezTo>
                  <a:pt x="1414" y="6173"/>
                  <a:pt x="309" y="5068"/>
                  <a:pt x="309" y="3704"/>
                </a:cubicBezTo>
                <a:moveTo>
                  <a:pt x="2778" y="6482"/>
                </a:moveTo>
                <a:cubicBezTo>
                  <a:pt x="4313" y="6482"/>
                  <a:pt x="5556" y="5238"/>
                  <a:pt x="5556" y="3704"/>
                </a:cubicBezTo>
                <a:cubicBezTo>
                  <a:pt x="5556" y="308"/>
                  <a:pt x="5556" y="308"/>
                  <a:pt x="5556" y="308"/>
                </a:cubicBezTo>
                <a:cubicBezTo>
                  <a:pt x="309" y="308"/>
                  <a:pt x="309" y="308"/>
                  <a:pt x="309" y="308"/>
                </a:cubicBezTo>
                <a:cubicBezTo>
                  <a:pt x="309" y="3704"/>
                  <a:pt x="309" y="3704"/>
                  <a:pt x="309" y="3704"/>
                </a:cubicBezTo>
                <a:moveTo>
                  <a:pt x="2778" y="6482"/>
                </a:moveTo>
                <a:cubicBezTo>
                  <a:pt x="1244" y="6482"/>
                  <a:pt x="0" y="5238"/>
                  <a:pt x="0" y="3704"/>
                </a:cubicBezTo>
                <a:cubicBezTo>
                  <a:pt x="0" y="0"/>
                  <a:pt x="0" y="0"/>
                  <a:pt x="0" y="0"/>
                </a:cubicBezTo>
                <a:cubicBezTo>
                  <a:pt x="5865" y="0"/>
                  <a:pt x="5865" y="0"/>
                  <a:pt x="5865" y="0"/>
                </a:cubicBezTo>
                <a:moveTo>
                  <a:pt x="3704" y="3704"/>
                </a:moveTo>
                <a:cubicBezTo>
                  <a:pt x="3704" y="4215"/>
                  <a:pt x="3290" y="4630"/>
                  <a:pt x="2778" y="4630"/>
                </a:cubicBezTo>
                <a:moveTo>
                  <a:pt x="2778" y="5247"/>
                </a:moveTo>
                <a:cubicBezTo>
                  <a:pt x="1926" y="5247"/>
                  <a:pt x="1235" y="4556"/>
                  <a:pt x="1235" y="3704"/>
                </a:cubicBezTo>
                <a:cubicBezTo>
                  <a:pt x="1235" y="1234"/>
                  <a:pt x="1235" y="1234"/>
                  <a:pt x="1235" y="1234"/>
                </a:cubicBezTo>
                <a:cubicBezTo>
                  <a:pt x="4630" y="1234"/>
                  <a:pt x="4630" y="1234"/>
                  <a:pt x="4630" y="1234"/>
                </a:cubicBezTo>
                <a:cubicBezTo>
                  <a:pt x="4630" y="3704"/>
                  <a:pt x="4630" y="3704"/>
                  <a:pt x="4630" y="3704"/>
                </a:cubicBezTo>
                <a:moveTo>
                  <a:pt x="3087" y="4013"/>
                </a:moveTo>
                <a:cubicBezTo>
                  <a:pt x="2470" y="3395"/>
                  <a:pt x="2470" y="3395"/>
                  <a:pt x="2470" y="3395"/>
                </a:cubicBezTo>
                <a:moveTo>
                  <a:pt x="2778" y="2160"/>
                </a:moveTo>
                <a:cubicBezTo>
                  <a:pt x="3704" y="2160"/>
                  <a:pt x="3704" y="2160"/>
                  <a:pt x="3704" y="2160"/>
                </a:cubicBezTo>
                <a:cubicBezTo>
                  <a:pt x="3704" y="2778"/>
                  <a:pt x="3704" y="2778"/>
                  <a:pt x="3704" y="2778"/>
                </a:cubicBezTo>
                <a:cubicBezTo>
                  <a:pt x="3704" y="3704"/>
                  <a:pt x="3704" y="3704"/>
                  <a:pt x="3704" y="3704"/>
                </a:cubicBezTo>
                <a:moveTo>
                  <a:pt x="3396" y="2469"/>
                </a:moveTo>
                <a:cubicBezTo>
                  <a:pt x="3396" y="3704"/>
                  <a:pt x="3396" y="3704"/>
                  <a:pt x="3396" y="3704"/>
                </a:cubicBezTo>
                <a:cubicBezTo>
                  <a:pt x="2161" y="2469"/>
                  <a:pt x="2161" y="2469"/>
                  <a:pt x="2161" y="2469"/>
                </a:cubicBezTo>
                <a:cubicBezTo>
                  <a:pt x="2161" y="3704"/>
                  <a:pt x="2161" y="3704"/>
                  <a:pt x="2161" y="3704"/>
                </a:cubicBezTo>
                <a:cubicBezTo>
                  <a:pt x="2778" y="4321"/>
                  <a:pt x="2778" y="4321"/>
                  <a:pt x="2778" y="4321"/>
                </a:cubicBezTo>
                <a:moveTo>
                  <a:pt x="2778" y="4939"/>
                </a:moveTo>
                <a:cubicBezTo>
                  <a:pt x="3460" y="4939"/>
                  <a:pt x="4013" y="4386"/>
                  <a:pt x="4013" y="3704"/>
                </a:cubicBezTo>
                <a:cubicBezTo>
                  <a:pt x="4013" y="1852"/>
                  <a:pt x="4013" y="1852"/>
                  <a:pt x="4013" y="1852"/>
                </a:cubicBezTo>
                <a:cubicBezTo>
                  <a:pt x="1852" y="1852"/>
                  <a:pt x="1852" y="1852"/>
                  <a:pt x="1852" y="1852"/>
                </a:cubicBezTo>
                <a:cubicBezTo>
                  <a:pt x="1852" y="2160"/>
                  <a:pt x="1852" y="2160"/>
                  <a:pt x="1852" y="2160"/>
                </a:cubicBezTo>
                <a:cubicBezTo>
                  <a:pt x="1852" y="3704"/>
                  <a:pt x="1852" y="3704"/>
                  <a:pt x="1852" y="3704"/>
                </a:cubicBezTo>
                <a:cubicBezTo>
                  <a:pt x="1852" y="4215"/>
                  <a:pt x="2267" y="4630"/>
                  <a:pt x="2778" y="4630"/>
                </a:cubicBezTo>
                <a:moveTo>
                  <a:pt x="3087" y="2778"/>
                </a:moveTo>
                <a:cubicBezTo>
                  <a:pt x="2470" y="2160"/>
                  <a:pt x="2470" y="2160"/>
                  <a:pt x="2470" y="2160"/>
                </a:cubicBezTo>
                <a:cubicBezTo>
                  <a:pt x="2161" y="2160"/>
                  <a:pt x="2161" y="2160"/>
                  <a:pt x="2161" y="2160"/>
                </a:cubicBezTo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32" name="Group 31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33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38" name="Picture 3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224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Freeform 5"/>
          <p:cNvSpPr>
            <a:spLocks noEditPoints="1"/>
          </p:cNvSpPr>
          <p:nvPr/>
        </p:nvSpPr>
        <p:spPr bwMode="auto">
          <a:xfrm>
            <a:off x="5162552" y="-523875"/>
            <a:ext cx="4268788" cy="4710113"/>
          </a:xfrm>
          <a:custGeom>
            <a:avLst/>
            <a:gdLst>
              <a:gd name="T0" fmla="*/ 1543 w 5865"/>
              <a:gd name="T1" fmla="*/ 3704 h 6482"/>
              <a:gd name="T2" fmla="*/ 1543 w 5865"/>
              <a:gd name="T3" fmla="*/ 1543 h 6482"/>
              <a:gd name="T4" fmla="*/ 4322 w 5865"/>
              <a:gd name="T5" fmla="*/ 1543 h 6482"/>
              <a:gd name="T6" fmla="*/ 4322 w 5865"/>
              <a:gd name="T7" fmla="*/ 3704 h 6482"/>
              <a:gd name="T8" fmla="*/ 2778 w 5865"/>
              <a:gd name="T9" fmla="*/ 4939 h 6482"/>
              <a:gd name="T10" fmla="*/ 1543 w 5865"/>
              <a:gd name="T11" fmla="*/ 3704 h 6482"/>
              <a:gd name="T12" fmla="*/ 4322 w 5865"/>
              <a:gd name="T13" fmla="*/ 3704 h 6482"/>
              <a:gd name="T14" fmla="*/ 2778 w 5865"/>
              <a:gd name="T15" fmla="*/ 5247 h 6482"/>
              <a:gd name="T16" fmla="*/ 4630 w 5865"/>
              <a:gd name="T17" fmla="*/ 3704 h 6482"/>
              <a:gd name="T18" fmla="*/ 2778 w 5865"/>
              <a:gd name="T19" fmla="*/ 5556 h 6482"/>
              <a:gd name="T20" fmla="*/ 2778 w 5865"/>
              <a:gd name="T21" fmla="*/ 5556 h 6482"/>
              <a:gd name="T22" fmla="*/ 926 w 5865"/>
              <a:gd name="T23" fmla="*/ 3704 h 6482"/>
              <a:gd name="T24" fmla="*/ 926 w 5865"/>
              <a:gd name="T25" fmla="*/ 926 h 6482"/>
              <a:gd name="T26" fmla="*/ 4939 w 5865"/>
              <a:gd name="T27" fmla="*/ 926 h 6482"/>
              <a:gd name="T28" fmla="*/ 4939 w 5865"/>
              <a:gd name="T29" fmla="*/ 3704 h 6482"/>
              <a:gd name="T30" fmla="*/ 2778 w 5865"/>
              <a:gd name="T31" fmla="*/ 5865 h 6482"/>
              <a:gd name="T32" fmla="*/ 2778 w 5865"/>
              <a:gd name="T33" fmla="*/ 5865 h 6482"/>
              <a:gd name="T34" fmla="*/ 617 w 5865"/>
              <a:gd name="T35" fmla="*/ 3704 h 6482"/>
              <a:gd name="T36" fmla="*/ 2778 w 5865"/>
              <a:gd name="T37" fmla="*/ 6173 h 6482"/>
              <a:gd name="T38" fmla="*/ 5248 w 5865"/>
              <a:gd name="T39" fmla="*/ 3704 h 6482"/>
              <a:gd name="T40" fmla="*/ 5248 w 5865"/>
              <a:gd name="T41" fmla="*/ 617 h 6482"/>
              <a:gd name="T42" fmla="*/ 617 w 5865"/>
              <a:gd name="T43" fmla="*/ 617 h 6482"/>
              <a:gd name="T44" fmla="*/ 617 w 5865"/>
              <a:gd name="T45" fmla="*/ 3704 h 6482"/>
              <a:gd name="T46" fmla="*/ 2778 w 5865"/>
              <a:gd name="T47" fmla="*/ 6173 h 6482"/>
              <a:gd name="T48" fmla="*/ 309 w 5865"/>
              <a:gd name="T49" fmla="*/ 3704 h 6482"/>
              <a:gd name="T50" fmla="*/ 2778 w 5865"/>
              <a:gd name="T51" fmla="*/ 6482 h 6482"/>
              <a:gd name="T52" fmla="*/ 5556 w 5865"/>
              <a:gd name="T53" fmla="*/ 3704 h 6482"/>
              <a:gd name="T54" fmla="*/ 5556 w 5865"/>
              <a:gd name="T55" fmla="*/ 308 h 6482"/>
              <a:gd name="T56" fmla="*/ 309 w 5865"/>
              <a:gd name="T57" fmla="*/ 308 h 6482"/>
              <a:gd name="T58" fmla="*/ 309 w 5865"/>
              <a:gd name="T59" fmla="*/ 3704 h 6482"/>
              <a:gd name="T60" fmla="*/ 2778 w 5865"/>
              <a:gd name="T61" fmla="*/ 6482 h 6482"/>
              <a:gd name="T62" fmla="*/ 0 w 5865"/>
              <a:gd name="T63" fmla="*/ 3704 h 6482"/>
              <a:gd name="T64" fmla="*/ 0 w 5865"/>
              <a:gd name="T65" fmla="*/ 0 h 6482"/>
              <a:gd name="T66" fmla="*/ 5865 w 5865"/>
              <a:gd name="T67" fmla="*/ 0 h 6482"/>
              <a:gd name="T68" fmla="*/ 3704 w 5865"/>
              <a:gd name="T69" fmla="*/ 3704 h 6482"/>
              <a:gd name="T70" fmla="*/ 2778 w 5865"/>
              <a:gd name="T71" fmla="*/ 4630 h 6482"/>
              <a:gd name="T72" fmla="*/ 2778 w 5865"/>
              <a:gd name="T73" fmla="*/ 5247 h 6482"/>
              <a:gd name="T74" fmla="*/ 1235 w 5865"/>
              <a:gd name="T75" fmla="*/ 3704 h 6482"/>
              <a:gd name="T76" fmla="*/ 1235 w 5865"/>
              <a:gd name="T77" fmla="*/ 1234 h 6482"/>
              <a:gd name="T78" fmla="*/ 4630 w 5865"/>
              <a:gd name="T79" fmla="*/ 1234 h 6482"/>
              <a:gd name="T80" fmla="*/ 4630 w 5865"/>
              <a:gd name="T81" fmla="*/ 3704 h 6482"/>
              <a:gd name="T82" fmla="*/ 3087 w 5865"/>
              <a:gd name="T83" fmla="*/ 4013 h 6482"/>
              <a:gd name="T84" fmla="*/ 2470 w 5865"/>
              <a:gd name="T85" fmla="*/ 3395 h 6482"/>
              <a:gd name="T86" fmla="*/ 2778 w 5865"/>
              <a:gd name="T87" fmla="*/ 2160 h 6482"/>
              <a:gd name="T88" fmla="*/ 3704 w 5865"/>
              <a:gd name="T89" fmla="*/ 2160 h 6482"/>
              <a:gd name="T90" fmla="*/ 3704 w 5865"/>
              <a:gd name="T91" fmla="*/ 2778 h 6482"/>
              <a:gd name="T92" fmla="*/ 3704 w 5865"/>
              <a:gd name="T93" fmla="*/ 3704 h 6482"/>
              <a:gd name="T94" fmla="*/ 3396 w 5865"/>
              <a:gd name="T95" fmla="*/ 2469 h 6482"/>
              <a:gd name="T96" fmla="*/ 3396 w 5865"/>
              <a:gd name="T97" fmla="*/ 3704 h 6482"/>
              <a:gd name="T98" fmla="*/ 2161 w 5865"/>
              <a:gd name="T99" fmla="*/ 2469 h 6482"/>
              <a:gd name="T100" fmla="*/ 2161 w 5865"/>
              <a:gd name="T101" fmla="*/ 3704 h 6482"/>
              <a:gd name="T102" fmla="*/ 2778 w 5865"/>
              <a:gd name="T103" fmla="*/ 4321 h 6482"/>
              <a:gd name="T104" fmla="*/ 2778 w 5865"/>
              <a:gd name="T105" fmla="*/ 4939 h 6482"/>
              <a:gd name="T106" fmla="*/ 4013 w 5865"/>
              <a:gd name="T107" fmla="*/ 3704 h 6482"/>
              <a:gd name="T108" fmla="*/ 4013 w 5865"/>
              <a:gd name="T109" fmla="*/ 1852 h 6482"/>
              <a:gd name="T110" fmla="*/ 1852 w 5865"/>
              <a:gd name="T111" fmla="*/ 1852 h 6482"/>
              <a:gd name="T112" fmla="*/ 1852 w 5865"/>
              <a:gd name="T113" fmla="*/ 2160 h 6482"/>
              <a:gd name="T114" fmla="*/ 1852 w 5865"/>
              <a:gd name="T115" fmla="*/ 3704 h 6482"/>
              <a:gd name="T116" fmla="*/ 2778 w 5865"/>
              <a:gd name="T117" fmla="*/ 4630 h 6482"/>
              <a:gd name="T118" fmla="*/ 3087 w 5865"/>
              <a:gd name="T119" fmla="*/ 2778 h 6482"/>
              <a:gd name="T120" fmla="*/ 2470 w 5865"/>
              <a:gd name="T121" fmla="*/ 2160 h 6482"/>
              <a:gd name="T122" fmla="*/ 2161 w 5865"/>
              <a:gd name="T123" fmla="*/ 2160 h 6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65" h="6482">
                <a:moveTo>
                  <a:pt x="1543" y="3704"/>
                </a:moveTo>
                <a:cubicBezTo>
                  <a:pt x="1543" y="1543"/>
                  <a:pt x="1543" y="1543"/>
                  <a:pt x="1543" y="1543"/>
                </a:cubicBezTo>
                <a:cubicBezTo>
                  <a:pt x="4322" y="1543"/>
                  <a:pt x="4322" y="1543"/>
                  <a:pt x="4322" y="1543"/>
                </a:cubicBezTo>
                <a:cubicBezTo>
                  <a:pt x="4322" y="3704"/>
                  <a:pt x="4322" y="3704"/>
                  <a:pt x="4322" y="3704"/>
                </a:cubicBezTo>
                <a:moveTo>
                  <a:pt x="2778" y="4939"/>
                </a:moveTo>
                <a:cubicBezTo>
                  <a:pt x="2096" y="4939"/>
                  <a:pt x="1543" y="4386"/>
                  <a:pt x="1543" y="3704"/>
                </a:cubicBezTo>
                <a:moveTo>
                  <a:pt x="4322" y="3704"/>
                </a:moveTo>
                <a:cubicBezTo>
                  <a:pt x="4322" y="4556"/>
                  <a:pt x="3631" y="5247"/>
                  <a:pt x="2778" y="5247"/>
                </a:cubicBezTo>
                <a:moveTo>
                  <a:pt x="4630" y="3704"/>
                </a:moveTo>
                <a:cubicBezTo>
                  <a:pt x="4630" y="4727"/>
                  <a:pt x="3801" y="5556"/>
                  <a:pt x="2778" y="5556"/>
                </a:cubicBezTo>
                <a:moveTo>
                  <a:pt x="2778" y="5556"/>
                </a:moveTo>
                <a:cubicBezTo>
                  <a:pt x="1755" y="5556"/>
                  <a:pt x="926" y="4727"/>
                  <a:pt x="926" y="3704"/>
                </a:cubicBezTo>
                <a:cubicBezTo>
                  <a:pt x="926" y="926"/>
                  <a:pt x="926" y="926"/>
                  <a:pt x="926" y="926"/>
                </a:cubicBezTo>
                <a:cubicBezTo>
                  <a:pt x="4939" y="926"/>
                  <a:pt x="4939" y="926"/>
                  <a:pt x="4939" y="926"/>
                </a:cubicBezTo>
                <a:cubicBezTo>
                  <a:pt x="4939" y="3704"/>
                  <a:pt x="4939" y="3704"/>
                  <a:pt x="4939" y="3704"/>
                </a:cubicBezTo>
                <a:cubicBezTo>
                  <a:pt x="4939" y="4897"/>
                  <a:pt x="3972" y="5865"/>
                  <a:pt x="2778" y="5865"/>
                </a:cubicBezTo>
                <a:moveTo>
                  <a:pt x="2778" y="5865"/>
                </a:moveTo>
                <a:cubicBezTo>
                  <a:pt x="1585" y="5865"/>
                  <a:pt x="617" y="4897"/>
                  <a:pt x="617" y="3704"/>
                </a:cubicBezTo>
                <a:moveTo>
                  <a:pt x="2778" y="6173"/>
                </a:moveTo>
                <a:cubicBezTo>
                  <a:pt x="4142" y="6173"/>
                  <a:pt x="5248" y="5068"/>
                  <a:pt x="5248" y="3704"/>
                </a:cubicBezTo>
                <a:cubicBezTo>
                  <a:pt x="5248" y="617"/>
                  <a:pt x="5248" y="617"/>
                  <a:pt x="5248" y="617"/>
                </a:cubicBezTo>
                <a:cubicBezTo>
                  <a:pt x="617" y="617"/>
                  <a:pt x="617" y="617"/>
                  <a:pt x="617" y="617"/>
                </a:cubicBezTo>
                <a:cubicBezTo>
                  <a:pt x="617" y="3704"/>
                  <a:pt x="617" y="3704"/>
                  <a:pt x="617" y="3704"/>
                </a:cubicBezTo>
                <a:moveTo>
                  <a:pt x="2778" y="6173"/>
                </a:moveTo>
                <a:cubicBezTo>
                  <a:pt x="1414" y="6173"/>
                  <a:pt x="309" y="5068"/>
                  <a:pt x="309" y="3704"/>
                </a:cubicBezTo>
                <a:moveTo>
                  <a:pt x="2778" y="6482"/>
                </a:moveTo>
                <a:cubicBezTo>
                  <a:pt x="4313" y="6482"/>
                  <a:pt x="5556" y="5238"/>
                  <a:pt x="5556" y="3704"/>
                </a:cubicBezTo>
                <a:cubicBezTo>
                  <a:pt x="5556" y="308"/>
                  <a:pt x="5556" y="308"/>
                  <a:pt x="5556" y="308"/>
                </a:cubicBezTo>
                <a:cubicBezTo>
                  <a:pt x="309" y="308"/>
                  <a:pt x="309" y="308"/>
                  <a:pt x="309" y="308"/>
                </a:cubicBezTo>
                <a:cubicBezTo>
                  <a:pt x="309" y="3704"/>
                  <a:pt x="309" y="3704"/>
                  <a:pt x="309" y="3704"/>
                </a:cubicBezTo>
                <a:moveTo>
                  <a:pt x="2778" y="6482"/>
                </a:moveTo>
                <a:cubicBezTo>
                  <a:pt x="1244" y="6482"/>
                  <a:pt x="0" y="5238"/>
                  <a:pt x="0" y="3704"/>
                </a:cubicBezTo>
                <a:cubicBezTo>
                  <a:pt x="0" y="0"/>
                  <a:pt x="0" y="0"/>
                  <a:pt x="0" y="0"/>
                </a:cubicBezTo>
                <a:cubicBezTo>
                  <a:pt x="5865" y="0"/>
                  <a:pt x="5865" y="0"/>
                  <a:pt x="5865" y="0"/>
                </a:cubicBezTo>
                <a:moveTo>
                  <a:pt x="3704" y="3704"/>
                </a:moveTo>
                <a:cubicBezTo>
                  <a:pt x="3704" y="4215"/>
                  <a:pt x="3290" y="4630"/>
                  <a:pt x="2778" y="4630"/>
                </a:cubicBezTo>
                <a:moveTo>
                  <a:pt x="2778" y="5247"/>
                </a:moveTo>
                <a:cubicBezTo>
                  <a:pt x="1926" y="5247"/>
                  <a:pt x="1235" y="4556"/>
                  <a:pt x="1235" y="3704"/>
                </a:cubicBezTo>
                <a:cubicBezTo>
                  <a:pt x="1235" y="1234"/>
                  <a:pt x="1235" y="1234"/>
                  <a:pt x="1235" y="1234"/>
                </a:cubicBezTo>
                <a:cubicBezTo>
                  <a:pt x="4630" y="1234"/>
                  <a:pt x="4630" y="1234"/>
                  <a:pt x="4630" y="1234"/>
                </a:cubicBezTo>
                <a:cubicBezTo>
                  <a:pt x="4630" y="3704"/>
                  <a:pt x="4630" y="3704"/>
                  <a:pt x="4630" y="3704"/>
                </a:cubicBezTo>
                <a:moveTo>
                  <a:pt x="3087" y="4013"/>
                </a:moveTo>
                <a:cubicBezTo>
                  <a:pt x="2470" y="3395"/>
                  <a:pt x="2470" y="3395"/>
                  <a:pt x="2470" y="3395"/>
                </a:cubicBezTo>
                <a:moveTo>
                  <a:pt x="2778" y="2160"/>
                </a:moveTo>
                <a:cubicBezTo>
                  <a:pt x="3704" y="2160"/>
                  <a:pt x="3704" y="2160"/>
                  <a:pt x="3704" y="2160"/>
                </a:cubicBezTo>
                <a:cubicBezTo>
                  <a:pt x="3704" y="2778"/>
                  <a:pt x="3704" y="2778"/>
                  <a:pt x="3704" y="2778"/>
                </a:cubicBezTo>
                <a:cubicBezTo>
                  <a:pt x="3704" y="3704"/>
                  <a:pt x="3704" y="3704"/>
                  <a:pt x="3704" y="3704"/>
                </a:cubicBezTo>
                <a:moveTo>
                  <a:pt x="3396" y="2469"/>
                </a:moveTo>
                <a:cubicBezTo>
                  <a:pt x="3396" y="3704"/>
                  <a:pt x="3396" y="3704"/>
                  <a:pt x="3396" y="3704"/>
                </a:cubicBezTo>
                <a:cubicBezTo>
                  <a:pt x="2161" y="2469"/>
                  <a:pt x="2161" y="2469"/>
                  <a:pt x="2161" y="2469"/>
                </a:cubicBezTo>
                <a:cubicBezTo>
                  <a:pt x="2161" y="3704"/>
                  <a:pt x="2161" y="3704"/>
                  <a:pt x="2161" y="3704"/>
                </a:cubicBezTo>
                <a:cubicBezTo>
                  <a:pt x="2778" y="4321"/>
                  <a:pt x="2778" y="4321"/>
                  <a:pt x="2778" y="4321"/>
                </a:cubicBezTo>
                <a:moveTo>
                  <a:pt x="2778" y="4939"/>
                </a:moveTo>
                <a:cubicBezTo>
                  <a:pt x="3460" y="4939"/>
                  <a:pt x="4013" y="4386"/>
                  <a:pt x="4013" y="3704"/>
                </a:cubicBezTo>
                <a:cubicBezTo>
                  <a:pt x="4013" y="1852"/>
                  <a:pt x="4013" y="1852"/>
                  <a:pt x="4013" y="1852"/>
                </a:cubicBezTo>
                <a:cubicBezTo>
                  <a:pt x="1852" y="1852"/>
                  <a:pt x="1852" y="1852"/>
                  <a:pt x="1852" y="1852"/>
                </a:cubicBezTo>
                <a:cubicBezTo>
                  <a:pt x="1852" y="2160"/>
                  <a:pt x="1852" y="2160"/>
                  <a:pt x="1852" y="2160"/>
                </a:cubicBezTo>
                <a:cubicBezTo>
                  <a:pt x="1852" y="3704"/>
                  <a:pt x="1852" y="3704"/>
                  <a:pt x="1852" y="3704"/>
                </a:cubicBezTo>
                <a:cubicBezTo>
                  <a:pt x="1852" y="4215"/>
                  <a:pt x="2267" y="4630"/>
                  <a:pt x="2778" y="4630"/>
                </a:cubicBezTo>
                <a:moveTo>
                  <a:pt x="3087" y="2778"/>
                </a:moveTo>
                <a:cubicBezTo>
                  <a:pt x="2470" y="2160"/>
                  <a:pt x="2470" y="2160"/>
                  <a:pt x="2470" y="2160"/>
                </a:cubicBezTo>
                <a:cubicBezTo>
                  <a:pt x="2161" y="2160"/>
                  <a:pt x="2161" y="2160"/>
                  <a:pt x="2161" y="2160"/>
                </a:cubicBezTo>
              </a:path>
            </a:pathLst>
          </a:custGeom>
          <a:noFill/>
          <a:ln w="15875" cap="flat">
            <a:solidFill>
              <a:srgbClr val="A4CBE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32" name="Group 31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33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38" name="Picture 3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810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399" y="985500"/>
            <a:ext cx="39258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400" y="1571400"/>
            <a:ext cx="39258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78800" y="985500"/>
            <a:ext cx="39501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78800" y="1571400"/>
            <a:ext cx="39501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73205" y="1088122"/>
            <a:ext cx="0" cy="3637087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48916884-1D9A-4D5F-96E1-2E3E8204D374}" type="datetime1">
              <a:rPr lang="en-GB" smtClean="0"/>
              <a:t>24/01/2018</a:t>
            </a:fld>
            <a:endParaRPr lang="en-GB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74014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re 2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2" y="935715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38"/>
          </p:nvPr>
        </p:nvSpPr>
        <p:spPr bwMode="auto">
          <a:xfrm>
            <a:off x="842459" y="2866853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3"/>
          </p:nvPr>
        </p:nvSpPr>
        <p:spPr bwMode="auto">
          <a:xfrm>
            <a:off x="4992673" y="923759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40"/>
          </p:nvPr>
        </p:nvSpPr>
        <p:spPr bwMode="auto">
          <a:xfrm>
            <a:off x="4992670" y="2873531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54"/>
          </p:nvPr>
        </p:nvSpPr>
        <p:spPr>
          <a:xfrm>
            <a:off x="842401" y="1374031"/>
            <a:ext cx="3913259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5"/>
          </p:nvPr>
        </p:nvSpPr>
        <p:spPr>
          <a:xfrm>
            <a:off x="4992670" y="1374031"/>
            <a:ext cx="3913200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56"/>
          </p:nvPr>
        </p:nvSpPr>
        <p:spPr>
          <a:xfrm>
            <a:off x="4992291" y="3305175"/>
            <a:ext cx="3913584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57"/>
          </p:nvPr>
        </p:nvSpPr>
        <p:spPr>
          <a:xfrm>
            <a:off x="842401" y="3305175"/>
            <a:ext cx="3912956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58"/>
          </p:nvPr>
        </p:nvSpPr>
        <p:spPr/>
        <p:txBody>
          <a:bodyPr/>
          <a:lstStyle/>
          <a:p>
            <a:pPr algn="ctr"/>
            <a:fld id="{08E30103-928F-4469-9BB2-A454458DC7FD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25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2-Spli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8" name="Objec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re 1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72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52"/>
          </p:nvPr>
        </p:nvSpPr>
        <p:spPr bwMode="auto">
          <a:xfrm>
            <a:off x="4992683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58"/>
          </p:nvPr>
        </p:nvSpPr>
        <p:spPr>
          <a:xfrm>
            <a:off x="842401" y="1373981"/>
            <a:ext cx="3912956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9"/>
          </p:nvPr>
        </p:nvSpPr>
        <p:spPr>
          <a:xfrm>
            <a:off x="4992683" y="1373981"/>
            <a:ext cx="3913200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60"/>
          </p:nvPr>
        </p:nvSpPr>
        <p:spPr>
          <a:xfrm>
            <a:off x="4992684" y="3137608"/>
            <a:ext cx="3913192" cy="1587983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61"/>
          </p:nvPr>
        </p:nvSpPr>
        <p:spPr>
          <a:xfrm>
            <a:off x="842963" y="3137298"/>
            <a:ext cx="3912394" cy="158829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62"/>
          </p:nvPr>
        </p:nvSpPr>
        <p:spPr/>
        <p:txBody>
          <a:bodyPr/>
          <a:lstStyle/>
          <a:p>
            <a:pPr algn="ctr"/>
            <a:fld id="{15969E67-BF35-4E0F-B82B-9E17DADC30C3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5862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F2F1FC36-E43F-483C-ACAC-F3677A3314CD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31268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34"/>
          </p:nvPr>
        </p:nvSpPr>
        <p:spPr bwMode="auto">
          <a:xfrm>
            <a:off x="3573370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32"/>
          </p:nvPr>
        </p:nvSpPr>
        <p:spPr bwMode="auto">
          <a:xfrm>
            <a:off x="630907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fr-FR" noProof="0" smtClean="0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8"/>
          </p:nvPr>
        </p:nvSpPr>
        <p:spPr>
          <a:xfrm>
            <a:off x="840338" y="1376208"/>
            <a:ext cx="2589326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9"/>
          </p:nvPr>
        </p:nvSpPr>
        <p:spPr>
          <a:xfrm>
            <a:off x="3573370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50"/>
          </p:nvPr>
        </p:nvSpPr>
        <p:spPr>
          <a:xfrm>
            <a:off x="6309075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pPr algn="ctr"/>
            <a:fld id="{B26C164B-84C4-47C3-92C5-601C640A18D0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0625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 noEditPoints="1"/>
          </p:cNvSpPr>
          <p:nvPr userDrawn="1"/>
        </p:nvSpPr>
        <p:spPr bwMode="gray">
          <a:xfrm>
            <a:off x="237982" y="801688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" name="Group 4"/>
          <p:cNvGrpSpPr>
            <a:grpSpLocks noChangeAspect="1"/>
          </p:cNvGrpSpPr>
          <p:nvPr userDrawn="1"/>
        </p:nvGrpSpPr>
        <p:grpSpPr bwMode="auto">
          <a:xfrm>
            <a:off x="237384" y="227981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08006" y="226219"/>
            <a:ext cx="2020491" cy="4499372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42963" y="226219"/>
            <a:ext cx="5950744" cy="4499372"/>
          </a:xfrm>
        </p:spPr>
        <p:txBody>
          <a:bodyPr vert="vert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Modifier les styles du texte du masque</a:t>
            </a:r>
          </a:p>
          <a:p>
            <a:pPr marL="179996" lvl="1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Deuxième niveau</a:t>
            </a:r>
          </a:p>
          <a:p>
            <a:pPr marL="179996" lvl="2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Troisième niveau</a:t>
            </a:r>
          </a:p>
          <a:p>
            <a:pPr marL="179996" lvl="3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Quatrième niveau</a:t>
            </a:r>
          </a:p>
          <a:p>
            <a:pPr marL="179996" lvl="4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68FE1AFF-F31E-4DB0-80A8-EF1DE35CEB73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0796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Freeform 5"/>
          <p:cNvSpPr>
            <a:spLocks noEditPoints="1"/>
          </p:cNvSpPr>
          <p:nvPr userDrawn="1"/>
        </p:nvSpPr>
        <p:spPr bwMode="gray">
          <a:xfrm>
            <a:off x="237982" y="801688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8" name="Group 4"/>
          <p:cNvGrpSpPr>
            <a:grpSpLocks noChangeAspect="1"/>
          </p:cNvGrpSpPr>
          <p:nvPr userDrawn="1"/>
        </p:nvGrpSpPr>
        <p:grpSpPr bwMode="auto">
          <a:xfrm>
            <a:off x="237384" y="227981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grpSp>
        <p:nvGrpSpPr>
          <p:cNvPr id="14" name="Group 8"/>
          <p:cNvGrpSpPr>
            <a:grpSpLocks noChangeAspect="1"/>
          </p:cNvGrpSpPr>
          <p:nvPr/>
        </p:nvGrpSpPr>
        <p:grpSpPr bwMode="auto">
          <a:xfrm>
            <a:off x="856918" y="2362886"/>
            <a:ext cx="8288755" cy="2780615"/>
            <a:chOff x="1243" y="1097"/>
            <a:chExt cx="3272" cy="1048"/>
          </a:xfrm>
        </p:grpSpPr>
        <p:sp>
          <p:nvSpPr>
            <p:cNvPr id="15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6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7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3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4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5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6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0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1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2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3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96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A8A73790-012E-4B40-98E3-18ACEC7EB9FE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4" name="Slide Number Placeholder 9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33270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8"/>
          <p:cNvGrpSpPr>
            <a:grpSpLocks noChangeAspect="1"/>
          </p:cNvGrpSpPr>
          <p:nvPr/>
        </p:nvGrpSpPr>
        <p:grpSpPr bwMode="auto">
          <a:xfrm rot="10800000">
            <a:off x="-19616" y="-11832"/>
            <a:ext cx="8288755" cy="2780615"/>
            <a:chOff x="1243" y="1097"/>
            <a:chExt cx="3272" cy="1048"/>
          </a:xfrm>
        </p:grpSpPr>
        <p:sp>
          <p:nvSpPr>
            <p:cNvPr id="47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0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1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2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3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4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5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6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7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8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9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0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1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2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3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4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5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6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7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8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9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0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1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2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3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4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5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6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7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8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9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0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1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2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3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4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5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6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7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8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9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0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1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2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3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4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5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6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7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8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9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0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1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2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3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4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5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6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7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8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9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0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1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2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3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4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rgbClr val="FFFFFF"/>
                </a:solidFill>
              </a:rPr>
              <a:t>CONTACT</a:t>
            </a:r>
            <a:endParaRPr lang="en-US" sz="1100" b="0" noProof="0" dirty="0">
              <a:solidFill>
                <a:srgbClr val="FFFFFF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26" name="Group 25"/>
          <p:cNvGrpSpPr/>
          <p:nvPr/>
        </p:nvGrpSpPr>
        <p:grpSpPr bwMode="black">
          <a:xfrm>
            <a:off x="3547269" y="32587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27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9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0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1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157" name="Picture 15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049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8"/>
          <p:cNvGrpSpPr>
            <a:grpSpLocks noChangeAspect="1"/>
          </p:cNvGrpSpPr>
          <p:nvPr/>
        </p:nvGrpSpPr>
        <p:grpSpPr bwMode="auto">
          <a:xfrm rot="10800000">
            <a:off x="-19616" y="-11832"/>
            <a:ext cx="8288755" cy="2780615"/>
            <a:chOff x="1243" y="1097"/>
            <a:chExt cx="3272" cy="1048"/>
          </a:xfrm>
        </p:grpSpPr>
        <p:sp>
          <p:nvSpPr>
            <p:cNvPr id="56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0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1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2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3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4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5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6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7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8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9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0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1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2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3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4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5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6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7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8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9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0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1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2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3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4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5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6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7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8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9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0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1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2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3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4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5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6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7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8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9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0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1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2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3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4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22" name="Group 21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136" name="Picture 1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  <p:grpSp>
        <p:nvGrpSpPr>
          <p:cNvPr id="135" name="Group 8"/>
          <p:cNvGrpSpPr>
            <a:grpSpLocks noChangeAspect="1"/>
          </p:cNvGrpSpPr>
          <p:nvPr/>
        </p:nvGrpSpPr>
        <p:grpSpPr bwMode="auto">
          <a:xfrm rot="10800000">
            <a:off x="-19617" y="-11833"/>
            <a:ext cx="8288755" cy="2780615"/>
            <a:chOff x="1243" y="1097"/>
            <a:chExt cx="3272" cy="1048"/>
          </a:xfrm>
        </p:grpSpPr>
        <p:sp>
          <p:nvSpPr>
            <p:cNvPr id="137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rgbClr val="430099">
                  <a:alpha val="34902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16" name="TextBox 215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bg2"/>
                </a:solidFill>
              </a:rPr>
              <a:t>CONTACT</a:t>
            </a:r>
            <a:endParaRPr lang="en-US" sz="1100" b="0" noProof="0" dirty="0">
              <a:solidFill>
                <a:schemeClr val="bg2"/>
              </a:solidFill>
            </a:endParaRPr>
          </a:p>
        </p:txBody>
      </p:sp>
      <p:pic>
        <p:nvPicPr>
          <p:cNvPr id="217" name="Picture 2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1"/>
            <a:ext cx="2144232" cy="503200"/>
          </a:xfrm>
          <a:prstGeom prst="rect">
            <a:avLst/>
          </a:prstGeom>
        </p:spPr>
      </p:pic>
      <p:pic>
        <p:nvPicPr>
          <p:cNvPr id="218" name="Picture 2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5420" y="3258726"/>
            <a:ext cx="2073160" cy="51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973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for background picture">
    <p:bg>
      <p:bgPr>
        <a:solidFill>
          <a:srgbClr val="FBC9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5"/>
          <p:cNvSpPr>
            <a:spLocks noEditPoints="1"/>
          </p:cNvSpPr>
          <p:nvPr/>
        </p:nvSpPr>
        <p:spPr bwMode="auto">
          <a:xfrm>
            <a:off x="4700587" y="-96838"/>
            <a:ext cx="5149850" cy="3983038"/>
          </a:xfrm>
          <a:custGeom>
            <a:avLst/>
            <a:gdLst>
              <a:gd name="T0" fmla="*/ 1980 w 8401"/>
              <a:gd name="T1" fmla="*/ 612 h 6505"/>
              <a:gd name="T2" fmla="*/ 4200 w 8401"/>
              <a:gd name="T3" fmla="*/ 5149 h 6505"/>
              <a:gd name="T4" fmla="*/ 6811 w 8401"/>
              <a:gd name="T5" fmla="*/ 3609 h 6505"/>
              <a:gd name="T6" fmla="*/ 1590 w 8401"/>
              <a:gd name="T7" fmla="*/ 2897 h 6505"/>
              <a:gd name="T8" fmla="*/ 1590 w 8401"/>
              <a:gd name="T9" fmla="*/ 2897 h 6505"/>
              <a:gd name="T10" fmla="*/ 7100 w 8401"/>
              <a:gd name="T11" fmla="*/ 2864 h 6505"/>
              <a:gd name="T12" fmla="*/ 7169 w 8401"/>
              <a:gd name="T13" fmla="*/ 2441 h 6505"/>
              <a:gd name="T14" fmla="*/ 7176 w 8401"/>
              <a:gd name="T15" fmla="*/ 1984 h 6505"/>
              <a:gd name="T16" fmla="*/ 1692 w 8401"/>
              <a:gd name="T17" fmla="*/ 1139 h 6505"/>
              <a:gd name="T18" fmla="*/ 1794 w 8401"/>
              <a:gd name="T19" fmla="*/ 3927 h 6505"/>
              <a:gd name="T20" fmla="*/ 1759 w 8401"/>
              <a:gd name="T21" fmla="*/ 4315 h 6505"/>
              <a:gd name="T22" fmla="*/ 7100 w 8401"/>
              <a:gd name="T23" fmla="*/ 3642 h 6505"/>
              <a:gd name="T24" fmla="*/ 7169 w 8401"/>
              <a:gd name="T25" fmla="*/ 2441 h 6505"/>
              <a:gd name="T26" fmla="*/ 7176 w 8401"/>
              <a:gd name="T27" fmla="*/ 1984 h 6505"/>
              <a:gd name="T28" fmla="*/ 961 w 8401"/>
              <a:gd name="T29" fmla="*/ 1882 h 6505"/>
              <a:gd name="T30" fmla="*/ 1048 w 8401"/>
              <a:gd name="T31" fmla="*/ 1360 h 6505"/>
              <a:gd name="T32" fmla="*/ 4200 w 8401"/>
              <a:gd name="T33" fmla="*/ 5692 h 6505"/>
              <a:gd name="T34" fmla="*/ 6909 w 8401"/>
              <a:gd name="T35" fmla="*/ 4421 h 6505"/>
              <a:gd name="T36" fmla="*/ 1791 w 8401"/>
              <a:gd name="T37" fmla="*/ 4738 h 6505"/>
              <a:gd name="T38" fmla="*/ 1492 w 8401"/>
              <a:gd name="T39" fmla="*/ 4421 h 6505"/>
              <a:gd name="T40" fmla="*/ 1134 w 8401"/>
              <a:gd name="T41" fmla="*/ 3253 h 6505"/>
              <a:gd name="T42" fmla="*/ 1015 w 8401"/>
              <a:gd name="T43" fmla="*/ 2830 h 6505"/>
              <a:gd name="T44" fmla="*/ 954 w 8401"/>
              <a:gd name="T45" fmla="*/ 2371 h 6505"/>
              <a:gd name="T46" fmla="*/ 698 w 8401"/>
              <a:gd name="T47" fmla="*/ 1781 h 6505"/>
              <a:gd name="T48" fmla="*/ 4200 w 8401"/>
              <a:gd name="T49" fmla="*/ 5963 h 6505"/>
              <a:gd name="T50" fmla="*/ 1492 w 8401"/>
              <a:gd name="T51" fmla="*/ 4421 h 6505"/>
              <a:gd name="T52" fmla="*/ 1543 w 8401"/>
              <a:gd name="T53" fmla="*/ 4876 h 6505"/>
              <a:gd name="T54" fmla="*/ 1225 w 8401"/>
              <a:gd name="T55" fmla="*/ 4521 h 6505"/>
              <a:gd name="T56" fmla="*/ 954 w 8401"/>
              <a:gd name="T57" fmla="*/ 4135 h 6505"/>
              <a:gd name="T58" fmla="*/ 7668 w 8401"/>
              <a:gd name="T59" fmla="*/ 2795 h 6505"/>
              <a:gd name="T60" fmla="*/ 452 w 8401"/>
              <a:gd name="T61" fmla="*/ 2761 h 6505"/>
              <a:gd name="T62" fmla="*/ 7949 w 8401"/>
              <a:gd name="T63" fmla="*/ 2761 h 6505"/>
              <a:gd name="T64" fmla="*/ 1543 w 8401"/>
              <a:gd name="T65" fmla="*/ 4876 h 6505"/>
              <a:gd name="T66" fmla="*/ 6858 w 8401"/>
              <a:gd name="T67" fmla="*/ 4876 h 6505"/>
              <a:gd name="T68" fmla="*/ 7176 w 8401"/>
              <a:gd name="T69" fmla="*/ 4521 h 6505"/>
              <a:gd name="T70" fmla="*/ 961 w 8401"/>
              <a:gd name="T71" fmla="*/ 4624 h 6505"/>
              <a:gd name="T72" fmla="*/ 563 w 8401"/>
              <a:gd name="T73" fmla="*/ 3253 h 6505"/>
              <a:gd name="T74" fmla="*/ 7949 w 8401"/>
              <a:gd name="T75" fmla="*/ 3745 h 6505"/>
              <a:gd name="T76" fmla="*/ 452 w 8401"/>
              <a:gd name="T77" fmla="*/ 2761 h 6505"/>
              <a:gd name="T78" fmla="*/ 2163 w 8401"/>
              <a:gd name="T79" fmla="*/ 5686 h 6505"/>
              <a:gd name="T80" fmla="*/ 6238 w 8401"/>
              <a:gd name="T81" fmla="*/ 5686 h 6505"/>
              <a:gd name="T82" fmla="*/ 6709 w 8401"/>
              <a:gd name="T83" fmla="*/ 5367 h 6505"/>
              <a:gd name="T84" fmla="*/ 7105 w 8401"/>
              <a:gd name="T85" fmla="*/ 5012 h 6505"/>
              <a:gd name="T86" fmla="*/ 7721 w 8401"/>
              <a:gd name="T87" fmla="*/ 4201 h 6505"/>
              <a:gd name="T88" fmla="*/ 8228 w 8401"/>
              <a:gd name="T89" fmla="*/ 3779 h 6505"/>
              <a:gd name="T90" fmla="*/ 8228 w 8401"/>
              <a:gd name="T91" fmla="*/ 3779 h 6505"/>
              <a:gd name="T92" fmla="*/ 2633 w 8401"/>
              <a:gd name="T93" fmla="*/ 6212 h 6505"/>
              <a:gd name="T94" fmla="*/ 1469 w 8401"/>
              <a:gd name="T95" fmla="*/ 5537 h 6505"/>
              <a:gd name="T96" fmla="*/ 3929 w 8401"/>
              <a:gd name="T97" fmla="*/ 3253 h 6505"/>
              <a:gd name="T98" fmla="*/ 5014 w 8401"/>
              <a:gd name="T99" fmla="*/ 3253 h 6505"/>
              <a:gd name="T100" fmla="*/ 4200 w 8401"/>
              <a:gd name="T101" fmla="*/ 2168 h 6505"/>
              <a:gd name="T102" fmla="*/ 4200 w 8401"/>
              <a:gd name="T103" fmla="*/ 1897 h 6505"/>
              <a:gd name="T104" fmla="*/ 6607 w 8401"/>
              <a:gd name="T105" fmla="*/ 2579 h 6505"/>
              <a:gd name="T106" fmla="*/ 4200 w 8401"/>
              <a:gd name="T107" fmla="*/ 814 h 6505"/>
              <a:gd name="T108" fmla="*/ 1913 w 8401"/>
              <a:gd name="T109" fmla="*/ 1310 h 6505"/>
              <a:gd name="T110" fmla="*/ 6238 w 8401"/>
              <a:gd name="T111" fmla="*/ 819 h 6505"/>
              <a:gd name="T112" fmla="*/ 1717 w 8401"/>
              <a:gd name="T113" fmla="*/ 3253 h 6505"/>
              <a:gd name="T114" fmla="*/ 1717 w 8401"/>
              <a:gd name="T115" fmla="*/ 3253 h 6505"/>
              <a:gd name="T116" fmla="*/ 6889 w 8401"/>
              <a:gd name="T117" fmla="*/ 2507 h 6505"/>
              <a:gd name="T118" fmla="*/ 1543 w 8401"/>
              <a:gd name="T119" fmla="*/ 1630 h 6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01" h="6505">
                <a:moveTo>
                  <a:pt x="6709" y="1139"/>
                </a:moveTo>
                <a:cubicBezTo>
                  <a:pt x="6560" y="1022"/>
                  <a:pt x="6403" y="915"/>
                  <a:pt x="6238" y="819"/>
                </a:cubicBezTo>
                <a:moveTo>
                  <a:pt x="2163" y="819"/>
                </a:moveTo>
                <a:cubicBezTo>
                  <a:pt x="1998" y="915"/>
                  <a:pt x="1841" y="1022"/>
                  <a:pt x="1692" y="1139"/>
                </a:cubicBezTo>
                <a:moveTo>
                  <a:pt x="1543" y="1630"/>
                </a:moveTo>
                <a:cubicBezTo>
                  <a:pt x="1659" y="1516"/>
                  <a:pt x="1783" y="1409"/>
                  <a:pt x="1913" y="1310"/>
                </a:cubicBezTo>
                <a:moveTo>
                  <a:pt x="2633" y="294"/>
                </a:moveTo>
                <a:cubicBezTo>
                  <a:pt x="2406" y="382"/>
                  <a:pt x="2187" y="488"/>
                  <a:pt x="1980" y="612"/>
                </a:cubicBezTo>
                <a:moveTo>
                  <a:pt x="1692" y="1139"/>
                </a:moveTo>
                <a:cubicBezTo>
                  <a:pt x="1841" y="1022"/>
                  <a:pt x="1998" y="915"/>
                  <a:pt x="2163" y="819"/>
                </a:cubicBezTo>
                <a:moveTo>
                  <a:pt x="6421" y="612"/>
                </a:moveTo>
                <a:cubicBezTo>
                  <a:pt x="6214" y="488"/>
                  <a:pt x="5995" y="382"/>
                  <a:pt x="5768" y="294"/>
                </a:cubicBezTo>
                <a:moveTo>
                  <a:pt x="6238" y="819"/>
                </a:moveTo>
                <a:cubicBezTo>
                  <a:pt x="6403" y="915"/>
                  <a:pt x="6560" y="1022"/>
                  <a:pt x="6709" y="1139"/>
                </a:cubicBezTo>
                <a:moveTo>
                  <a:pt x="1794" y="3927"/>
                </a:moveTo>
                <a:cubicBezTo>
                  <a:pt x="2336" y="4668"/>
                  <a:pt x="3212" y="5149"/>
                  <a:pt x="4200" y="5149"/>
                </a:cubicBezTo>
                <a:cubicBezTo>
                  <a:pt x="5189" y="5149"/>
                  <a:pt x="6065" y="4668"/>
                  <a:pt x="6607" y="3927"/>
                </a:cubicBezTo>
                <a:moveTo>
                  <a:pt x="6519" y="3572"/>
                </a:moveTo>
                <a:cubicBezTo>
                  <a:pt x="6044" y="4355"/>
                  <a:pt x="5183" y="4878"/>
                  <a:pt x="4200" y="4878"/>
                </a:cubicBezTo>
                <a:cubicBezTo>
                  <a:pt x="3218" y="4878"/>
                  <a:pt x="2357" y="4355"/>
                  <a:pt x="1882" y="3572"/>
                </a:cubicBezTo>
                <a:moveTo>
                  <a:pt x="6684" y="3253"/>
                </a:moveTo>
                <a:cubicBezTo>
                  <a:pt x="6636" y="3363"/>
                  <a:pt x="6581" y="3470"/>
                  <a:pt x="6519" y="3572"/>
                </a:cubicBezTo>
                <a:moveTo>
                  <a:pt x="6607" y="3927"/>
                </a:moveTo>
                <a:cubicBezTo>
                  <a:pt x="6682" y="3825"/>
                  <a:pt x="6750" y="3719"/>
                  <a:pt x="6811" y="3609"/>
                </a:cubicBezTo>
                <a:moveTo>
                  <a:pt x="1882" y="3572"/>
                </a:moveTo>
                <a:cubicBezTo>
                  <a:pt x="1820" y="3470"/>
                  <a:pt x="1765" y="3363"/>
                  <a:pt x="1717" y="3253"/>
                </a:cubicBezTo>
                <a:moveTo>
                  <a:pt x="1590" y="3609"/>
                </a:moveTo>
                <a:cubicBezTo>
                  <a:pt x="1651" y="3719"/>
                  <a:pt x="1719" y="3825"/>
                  <a:pt x="1794" y="3927"/>
                </a:cubicBezTo>
                <a:moveTo>
                  <a:pt x="6811" y="3609"/>
                </a:moveTo>
                <a:cubicBezTo>
                  <a:pt x="6874" y="3494"/>
                  <a:pt x="6929" y="3376"/>
                  <a:pt x="6977" y="3253"/>
                </a:cubicBezTo>
                <a:cubicBezTo>
                  <a:pt x="6929" y="3130"/>
                  <a:pt x="6874" y="3011"/>
                  <a:pt x="6811" y="2897"/>
                </a:cubicBezTo>
                <a:moveTo>
                  <a:pt x="1590" y="2897"/>
                </a:moveTo>
                <a:cubicBezTo>
                  <a:pt x="1527" y="3011"/>
                  <a:pt x="1472" y="3130"/>
                  <a:pt x="1424" y="3253"/>
                </a:cubicBezTo>
                <a:cubicBezTo>
                  <a:pt x="1472" y="3376"/>
                  <a:pt x="1527" y="3494"/>
                  <a:pt x="1590" y="3609"/>
                </a:cubicBezTo>
                <a:moveTo>
                  <a:pt x="7100" y="2864"/>
                </a:moveTo>
                <a:cubicBezTo>
                  <a:pt x="7037" y="2740"/>
                  <a:pt x="6967" y="2621"/>
                  <a:pt x="6889" y="2507"/>
                </a:cubicBezTo>
                <a:moveTo>
                  <a:pt x="6811" y="2897"/>
                </a:moveTo>
                <a:cubicBezTo>
                  <a:pt x="6874" y="3011"/>
                  <a:pt x="6929" y="3130"/>
                  <a:pt x="6977" y="3253"/>
                </a:cubicBezTo>
                <a:moveTo>
                  <a:pt x="1424" y="3253"/>
                </a:moveTo>
                <a:cubicBezTo>
                  <a:pt x="1472" y="3130"/>
                  <a:pt x="1527" y="3011"/>
                  <a:pt x="1590" y="2897"/>
                </a:cubicBezTo>
                <a:moveTo>
                  <a:pt x="1512" y="2507"/>
                </a:moveTo>
                <a:cubicBezTo>
                  <a:pt x="1434" y="2621"/>
                  <a:pt x="1364" y="2740"/>
                  <a:pt x="1301" y="2864"/>
                </a:cubicBezTo>
                <a:moveTo>
                  <a:pt x="1492" y="2084"/>
                </a:moveTo>
                <a:cubicBezTo>
                  <a:pt x="1398" y="2197"/>
                  <a:pt x="1311" y="2317"/>
                  <a:pt x="1232" y="2441"/>
                </a:cubicBezTo>
                <a:moveTo>
                  <a:pt x="1301" y="2864"/>
                </a:moveTo>
                <a:cubicBezTo>
                  <a:pt x="1364" y="2740"/>
                  <a:pt x="1434" y="2621"/>
                  <a:pt x="1512" y="2507"/>
                </a:cubicBezTo>
                <a:moveTo>
                  <a:pt x="6889" y="2507"/>
                </a:moveTo>
                <a:cubicBezTo>
                  <a:pt x="6967" y="2621"/>
                  <a:pt x="7037" y="2740"/>
                  <a:pt x="7100" y="2864"/>
                </a:cubicBezTo>
                <a:moveTo>
                  <a:pt x="7169" y="2441"/>
                </a:moveTo>
                <a:cubicBezTo>
                  <a:pt x="7090" y="2317"/>
                  <a:pt x="7003" y="2197"/>
                  <a:pt x="6909" y="2084"/>
                </a:cubicBezTo>
                <a:moveTo>
                  <a:pt x="1543" y="1630"/>
                </a:moveTo>
                <a:cubicBezTo>
                  <a:pt x="1430" y="1741"/>
                  <a:pt x="1323" y="1860"/>
                  <a:pt x="1225" y="1984"/>
                </a:cubicBezTo>
                <a:moveTo>
                  <a:pt x="1232" y="2441"/>
                </a:moveTo>
                <a:cubicBezTo>
                  <a:pt x="1311" y="2317"/>
                  <a:pt x="1398" y="2197"/>
                  <a:pt x="1492" y="2084"/>
                </a:cubicBezTo>
                <a:moveTo>
                  <a:pt x="6909" y="2084"/>
                </a:moveTo>
                <a:cubicBezTo>
                  <a:pt x="7003" y="2197"/>
                  <a:pt x="7090" y="2317"/>
                  <a:pt x="7169" y="2441"/>
                </a:cubicBezTo>
                <a:moveTo>
                  <a:pt x="7176" y="1984"/>
                </a:moveTo>
                <a:cubicBezTo>
                  <a:pt x="7078" y="1860"/>
                  <a:pt x="6971" y="1741"/>
                  <a:pt x="6858" y="1630"/>
                </a:cubicBezTo>
                <a:moveTo>
                  <a:pt x="1225" y="1984"/>
                </a:moveTo>
                <a:cubicBezTo>
                  <a:pt x="1323" y="1860"/>
                  <a:pt x="1430" y="1741"/>
                  <a:pt x="1543" y="1630"/>
                </a:cubicBezTo>
                <a:moveTo>
                  <a:pt x="1692" y="1139"/>
                </a:moveTo>
                <a:cubicBezTo>
                  <a:pt x="1552" y="1249"/>
                  <a:pt x="1420" y="1367"/>
                  <a:pt x="1296" y="1494"/>
                </a:cubicBezTo>
                <a:moveTo>
                  <a:pt x="6858" y="1630"/>
                </a:moveTo>
                <a:cubicBezTo>
                  <a:pt x="6971" y="1741"/>
                  <a:pt x="7078" y="1860"/>
                  <a:pt x="7176" y="1984"/>
                </a:cubicBezTo>
                <a:moveTo>
                  <a:pt x="7105" y="1494"/>
                </a:moveTo>
                <a:cubicBezTo>
                  <a:pt x="6981" y="1367"/>
                  <a:pt x="6849" y="1249"/>
                  <a:pt x="6709" y="1139"/>
                </a:cubicBezTo>
                <a:moveTo>
                  <a:pt x="6932" y="969"/>
                </a:moveTo>
                <a:cubicBezTo>
                  <a:pt x="6770" y="838"/>
                  <a:pt x="6600" y="719"/>
                  <a:pt x="6421" y="612"/>
                </a:cubicBezTo>
                <a:moveTo>
                  <a:pt x="6709" y="1139"/>
                </a:moveTo>
                <a:cubicBezTo>
                  <a:pt x="6849" y="1249"/>
                  <a:pt x="6981" y="1367"/>
                  <a:pt x="7105" y="1494"/>
                </a:cubicBezTo>
                <a:moveTo>
                  <a:pt x="1296" y="1494"/>
                </a:moveTo>
                <a:cubicBezTo>
                  <a:pt x="1420" y="1367"/>
                  <a:pt x="1552" y="1249"/>
                  <a:pt x="1692" y="1139"/>
                </a:cubicBezTo>
                <a:moveTo>
                  <a:pt x="1980" y="612"/>
                </a:moveTo>
                <a:cubicBezTo>
                  <a:pt x="1801" y="719"/>
                  <a:pt x="1630" y="838"/>
                  <a:pt x="1469" y="969"/>
                </a:cubicBezTo>
                <a:moveTo>
                  <a:pt x="1759" y="4315"/>
                </a:moveTo>
                <a:cubicBezTo>
                  <a:pt x="2355" y="4993"/>
                  <a:pt x="3228" y="5420"/>
                  <a:pt x="4200" y="5420"/>
                </a:cubicBezTo>
                <a:cubicBezTo>
                  <a:pt x="5173" y="5420"/>
                  <a:pt x="6046" y="4993"/>
                  <a:pt x="6642" y="4315"/>
                </a:cubicBezTo>
                <a:moveTo>
                  <a:pt x="6607" y="3927"/>
                </a:moveTo>
                <a:cubicBezTo>
                  <a:pt x="6065" y="4668"/>
                  <a:pt x="5189" y="5149"/>
                  <a:pt x="4200" y="5149"/>
                </a:cubicBezTo>
                <a:cubicBezTo>
                  <a:pt x="3212" y="5149"/>
                  <a:pt x="2336" y="4668"/>
                  <a:pt x="1794" y="3927"/>
                </a:cubicBezTo>
                <a:moveTo>
                  <a:pt x="6811" y="3609"/>
                </a:moveTo>
                <a:cubicBezTo>
                  <a:pt x="6750" y="3719"/>
                  <a:pt x="6682" y="3825"/>
                  <a:pt x="6607" y="3927"/>
                </a:cubicBezTo>
                <a:moveTo>
                  <a:pt x="6642" y="4315"/>
                </a:moveTo>
                <a:cubicBezTo>
                  <a:pt x="6731" y="4215"/>
                  <a:pt x="6813" y="4109"/>
                  <a:pt x="6889" y="3998"/>
                </a:cubicBezTo>
                <a:moveTo>
                  <a:pt x="1794" y="3927"/>
                </a:moveTo>
                <a:cubicBezTo>
                  <a:pt x="1719" y="3825"/>
                  <a:pt x="1651" y="3719"/>
                  <a:pt x="1590" y="3609"/>
                </a:cubicBezTo>
                <a:moveTo>
                  <a:pt x="1512" y="3998"/>
                </a:moveTo>
                <a:cubicBezTo>
                  <a:pt x="1588" y="4109"/>
                  <a:pt x="1670" y="4215"/>
                  <a:pt x="1759" y="4315"/>
                </a:cubicBezTo>
                <a:moveTo>
                  <a:pt x="1301" y="3642"/>
                </a:moveTo>
                <a:cubicBezTo>
                  <a:pt x="1364" y="3765"/>
                  <a:pt x="1434" y="3885"/>
                  <a:pt x="1512" y="3998"/>
                </a:cubicBezTo>
                <a:moveTo>
                  <a:pt x="1590" y="3609"/>
                </a:moveTo>
                <a:cubicBezTo>
                  <a:pt x="1527" y="3494"/>
                  <a:pt x="1472" y="3376"/>
                  <a:pt x="1424" y="3253"/>
                </a:cubicBezTo>
                <a:moveTo>
                  <a:pt x="6977" y="3253"/>
                </a:moveTo>
                <a:cubicBezTo>
                  <a:pt x="6929" y="3376"/>
                  <a:pt x="6874" y="3494"/>
                  <a:pt x="6811" y="3609"/>
                </a:cubicBezTo>
                <a:moveTo>
                  <a:pt x="6889" y="3998"/>
                </a:moveTo>
                <a:cubicBezTo>
                  <a:pt x="6967" y="3885"/>
                  <a:pt x="7037" y="3765"/>
                  <a:pt x="7100" y="3642"/>
                </a:cubicBezTo>
                <a:moveTo>
                  <a:pt x="1301" y="2864"/>
                </a:moveTo>
                <a:cubicBezTo>
                  <a:pt x="1237" y="2989"/>
                  <a:pt x="1181" y="3119"/>
                  <a:pt x="1134" y="3253"/>
                </a:cubicBezTo>
                <a:cubicBezTo>
                  <a:pt x="1181" y="3387"/>
                  <a:pt x="1237" y="3517"/>
                  <a:pt x="1301" y="3642"/>
                </a:cubicBezTo>
                <a:moveTo>
                  <a:pt x="7100" y="3642"/>
                </a:moveTo>
                <a:cubicBezTo>
                  <a:pt x="7163" y="3517"/>
                  <a:pt x="7220" y="3387"/>
                  <a:pt x="7267" y="3253"/>
                </a:cubicBezTo>
                <a:cubicBezTo>
                  <a:pt x="7220" y="3119"/>
                  <a:pt x="7163" y="2989"/>
                  <a:pt x="7100" y="2864"/>
                </a:cubicBezTo>
                <a:moveTo>
                  <a:pt x="7386" y="2830"/>
                </a:moveTo>
                <a:cubicBezTo>
                  <a:pt x="7322" y="2695"/>
                  <a:pt x="7249" y="2565"/>
                  <a:pt x="7169" y="2441"/>
                </a:cubicBezTo>
                <a:moveTo>
                  <a:pt x="7100" y="2864"/>
                </a:moveTo>
                <a:cubicBezTo>
                  <a:pt x="7163" y="2989"/>
                  <a:pt x="7220" y="3119"/>
                  <a:pt x="7267" y="3253"/>
                </a:cubicBezTo>
                <a:moveTo>
                  <a:pt x="1134" y="3253"/>
                </a:moveTo>
                <a:cubicBezTo>
                  <a:pt x="1181" y="3119"/>
                  <a:pt x="1237" y="2989"/>
                  <a:pt x="1301" y="2864"/>
                </a:cubicBezTo>
                <a:moveTo>
                  <a:pt x="1232" y="2441"/>
                </a:moveTo>
                <a:cubicBezTo>
                  <a:pt x="1152" y="2565"/>
                  <a:pt x="1079" y="2695"/>
                  <a:pt x="1015" y="2830"/>
                </a:cubicBezTo>
                <a:moveTo>
                  <a:pt x="7447" y="2371"/>
                </a:moveTo>
                <a:cubicBezTo>
                  <a:pt x="7365" y="2236"/>
                  <a:pt x="7274" y="2107"/>
                  <a:pt x="7176" y="1984"/>
                </a:cubicBezTo>
                <a:moveTo>
                  <a:pt x="7169" y="2441"/>
                </a:moveTo>
                <a:cubicBezTo>
                  <a:pt x="7249" y="2565"/>
                  <a:pt x="7322" y="2695"/>
                  <a:pt x="7386" y="2830"/>
                </a:cubicBezTo>
                <a:moveTo>
                  <a:pt x="1225" y="1984"/>
                </a:moveTo>
                <a:cubicBezTo>
                  <a:pt x="1127" y="2107"/>
                  <a:pt x="1036" y="2236"/>
                  <a:pt x="954" y="2371"/>
                </a:cubicBezTo>
                <a:moveTo>
                  <a:pt x="1015" y="2830"/>
                </a:moveTo>
                <a:cubicBezTo>
                  <a:pt x="1079" y="2695"/>
                  <a:pt x="1152" y="2565"/>
                  <a:pt x="1232" y="2441"/>
                </a:cubicBezTo>
                <a:moveTo>
                  <a:pt x="1296" y="1494"/>
                </a:moveTo>
                <a:cubicBezTo>
                  <a:pt x="1176" y="1616"/>
                  <a:pt x="1064" y="1745"/>
                  <a:pt x="961" y="1882"/>
                </a:cubicBezTo>
                <a:moveTo>
                  <a:pt x="954" y="2371"/>
                </a:moveTo>
                <a:cubicBezTo>
                  <a:pt x="1036" y="2236"/>
                  <a:pt x="1127" y="2107"/>
                  <a:pt x="1225" y="1984"/>
                </a:cubicBezTo>
                <a:moveTo>
                  <a:pt x="7176" y="1984"/>
                </a:moveTo>
                <a:cubicBezTo>
                  <a:pt x="7274" y="2107"/>
                  <a:pt x="7365" y="2236"/>
                  <a:pt x="7447" y="2371"/>
                </a:cubicBezTo>
                <a:moveTo>
                  <a:pt x="7440" y="1882"/>
                </a:moveTo>
                <a:cubicBezTo>
                  <a:pt x="7337" y="1745"/>
                  <a:pt x="7225" y="1616"/>
                  <a:pt x="7105" y="1494"/>
                </a:cubicBezTo>
                <a:moveTo>
                  <a:pt x="1469" y="969"/>
                </a:moveTo>
                <a:cubicBezTo>
                  <a:pt x="1320" y="1090"/>
                  <a:pt x="1180" y="1221"/>
                  <a:pt x="1048" y="1360"/>
                </a:cubicBezTo>
                <a:moveTo>
                  <a:pt x="961" y="1882"/>
                </a:moveTo>
                <a:cubicBezTo>
                  <a:pt x="1064" y="1745"/>
                  <a:pt x="1176" y="1616"/>
                  <a:pt x="1296" y="1494"/>
                </a:cubicBezTo>
                <a:moveTo>
                  <a:pt x="7353" y="1360"/>
                </a:moveTo>
                <a:cubicBezTo>
                  <a:pt x="7221" y="1221"/>
                  <a:pt x="7081" y="1090"/>
                  <a:pt x="6932" y="969"/>
                </a:cubicBezTo>
                <a:moveTo>
                  <a:pt x="7105" y="1494"/>
                </a:moveTo>
                <a:cubicBezTo>
                  <a:pt x="7225" y="1616"/>
                  <a:pt x="7337" y="1745"/>
                  <a:pt x="7440" y="1882"/>
                </a:cubicBezTo>
                <a:moveTo>
                  <a:pt x="1791" y="4738"/>
                </a:moveTo>
                <a:cubicBezTo>
                  <a:pt x="2421" y="5329"/>
                  <a:pt x="3268" y="5692"/>
                  <a:pt x="4200" y="5692"/>
                </a:cubicBezTo>
                <a:cubicBezTo>
                  <a:pt x="5133" y="5692"/>
                  <a:pt x="5980" y="5329"/>
                  <a:pt x="6610" y="4738"/>
                </a:cubicBezTo>
                <a:moveTo>
                  <a:pt x="6643" y="4339"/>
                </a:moveTo>
                <a:cubicBezTo>
                  <a:pt x="6643" y="4331"/>
                  <a:pt x="6642" y="4323"/>
                  <a:pt x="6642" y="4315"/>
                </a:cubicBezTo>
                <a:cubicBezTo>
                  <a:pt x="6046" y="4993"/>
                  <a:pt x="5173" y="5420"/>
                  <a:pt x="4200" y="5420"/>
                </a:cubicBezTo>
                <a:cubicBezTo>
                  <a:pt x="3228" y="5420"/>
                  <a:pt x="2355" y="4993"/>
                  <a:pt x="1759" y="4315"/>
                </a:cubicBezTo>
                <a:cubicBezTo>
                  <a:pt x="1759" y="4323"/>
                  <a:pt x="1758" y="4331"/>
                  <a:pt x="1758" y="4339"/>
                </a:cubicBezTo>
                <a:moveTo>
                  <a:pt x="6610" y="4738"/>
                </a:moveTo>
                <a:cubicBezTo>
                  <a:pt x="6716" y="4639"/>
                  <a:pt x="6816" y="4533"/>
                  <a:pt x="6909" y="4421"/>
                </a:cubicBezTo>
                <a:moveTo>
                  <a:pt x="6889" y="3998"/>
                </a:moveTo>
                <a:cubicBezTo>
                  <a:pt x="6813" y="4109"/>
                  <a:pt x="6731" y="4215"/>
                  <a:pt x="6642" y="4315"/>
                </a:cubicBezTo>
                <a:cubicBezTo>
                  <a:pt x="6642" y="4323"/>
                  <a:pt x="6643" y="4331"/>
                  <a:pt x="6643" y="4339"/>
                </a:cubicBezTo>
                <a:moveTo>
                  <a:pt x="1758" y="4339"/>
                </a:moveTo>
                <a:cubicBezTo>
                  <a:pt x="1758" y="4331"/>
                  <a:pt x="1759" y="4323"/>
                  <a:pt x="1759" y="4315"/>
                </a:cubicBezTo>
                <a:cubicBezTo>
                  <a:pt x="1670" y="4215"/>
                  <a:pt x="1588" y="4109"/>
                  <a:pt x="1512" y="3998"/>
                </a:cubicBezTo>
                <a:moveTo>
                  <a:pt x="1492" y="4421"/>
                </a:moveTo>
                <a:cubicBezTo>
                  <a:pt x="1585" y="4533"/>
                  <a:pt x="1685" y="4639"/>
                  <a:pt x="1791" y="4738"/>
                </a:cubicBezTo>
                <a:moveTo>
                  <a:pt x="7100" y="3642"/>
                </a:moveTo>
                <a:cubicBezTo>
                  <a:pt x="7037" y="3765"/>
                  <a:pt x="6967" y="3885"/>
                  <a:pt x="6889" y="3998"/>
                </a:cubicBezTo>
                <a:moveTo>
                  <a:pt x="6909" y="4421"/>
                </a:moveTo>
                <a:cubicBezTo>
                  <a:pt x="7003" y="4308"/>
                  <a:pt x="7090" y="4189"/>
                  <a:pt x="7169" y="4065"/>
                </a:cubicBezTo>
                <a:moveTo>
                  <a:pt x="1512" y="3998"/>
                </a:moveTo>
                <a:cubicBezTo>
                  <a:pt x="1434" y="3885"/>
                  <a:pt x="1364" y="3765"/>
                  <a:pt x="1301" y="3642"/>
                </a:cubicBezTo>
                <a:moveTo>
                  <a:pt x="1232" y="4065"/>
                </a:moveTo>
                <a:cubicBezTo>
                  <a:pt x="1311" y="4189"/>
                  <a:pt x="1398" y="4308"/>
                  <a:pt x="1492" y="4421"/>
                </a:cubicBezTo>
                <a:moveTo>
                  <a:pt x="7267" y="3253"/>
                </a:moveTo>
                <a:cubicBezTo>
                  <a:pt x="7220" y="3387"/>
                  <a:pt x="7163" y="3517"/>
                  <a:pt x="7100" y="3642"/>
                </a:cubicBezTo>
                <a:moveTo>
                  <a:pt x="7169" y="4065"/>
                </a:moveTo>
                <a:cubicBezTo>
                  <a:pt x="7249" y="3940"/>
                  <a:pt x="7322" y="3811"/>
                  <a:pt x="7386" y="3676"/>
                </a:cubicBezTo>
                <a:moveTo>
                  <a:pt x="1015" y="3676"/>
                </a:moveTo>
                <a:cubicBezTo>
                  <a:pt x="1079" y="3811"/>
                  <a:pt x="1152" y="3940"/>
                  <a:pt x="1232" y="4065"/>
                </a:cubicBezTo>
                <a:moveTo>
                  <a:pt x="1301" y="3642"/>
                </a:moveTo>
                <a:cubicBezTo>
                  <a:pt x="1237" y="3517"/>
                  <a:pt x="1181" y="3387"/>
                  <a:pt x="1134" y="3253"/>
                </a:cubicBezTo>
                <a:moveTo>
                  <a:pt x="7386" y="3676"/>
                </a:moveTo>
                <a:cubicBezTo>
                  <a:pt x="7450" y="3540"/>
                  <a:pt x="7506" y="3398"/>
                  <a:pt x="7553" y="3253"/>
                </a:cubicBezTo>
                <a:cubicBezTo>
                  <a:pt x="7506" y="3108"/>
                  <a:pt x="7450" y="2966"/>
                  <a:pt x="7386" y="2830"/>
                </a:cubicBezTo>
                <a:moveTo>
                  <a:pt x="1015" y="2830"/>
                </a:moveTo>
                <a:cubicBezTo>
                  <a:pt x="950" y="2966"/>
                  <a:pt x="895" y="3108"/>
                  <a:pt x="847" y="3253"/>
                </a:cubicBezTo>
                <a:cubicBezTo>
                  <a:pt x="895" y="3398"/>
                  <a:pt x="950" y="3540"/>
                  <a:pt x="1015" y="3676"/>
                </a:cubicBezTo>
                <a:moveTo>
                  <a:pt x="847" y="3253"/>
                </a:moveTo>
                <a:cubicBezTo>
                  <a:pt x="895" y="3108"/>
                  <a:pt x="950" y="2966"/>
                  <a:pt x="1015" y="2830"/>
                </a:cubicBezTo>
                <a:moveTo>
                  <a:pt x="954" y="2371"/>
                </a:moveTo>
                <a:cubicBezTo>
                  <a:pt x="872" y="2507"/>
                  <a:pt x="798" y="2649"/>
                  <a:pt x="733" y="2795"/>
                </a:cubicBezTo>
                <a:moveTo>
                  <a:pt x="7668" y="2795"/>
                </a:moveTo>
                <a:cubicBezTo>
                  <a:pt x="7602" y="2649"/>
                  <a:pt x="7529" y="2507"/>
                  <a:pt x="7447" y="2371"/>
                </a:cubicBezTo>
                <a:moveTo>
                  <a:pt x="7386" y="2830"/>
                </a:moveTo>
                <a:cubicBezTo>
                  <a:pt x="7450" y="2966"/>
                  <a:pt x="7506" y="3108"/>
                  <a:pt x="7553" y="3253"/>
                </a:cubicBezTo>
                <a:moveTo>
                  <a:pt x="733" y="2795"/>
                </a:moveTo>
                <a:cubicBezTo>
                  <a:pt x="798" y="2649"/>
                  <a:pt x="872" y="2507"/>
                  <a:pt x="954" y="2371"/>
                </a:cubicBezTo>
                <a:moveTo>
                  <a:pt x="961" y="1882"/>
                </a:moveTo>
                <a:cubicBezTo>
                  <a:pt x="858" y="2016"/>
                  <a:pt x="765" y="2158"/>
                  <a:pt x="680" y="2305"/>
                </a:cubicBezTo>
                <a:moveTo>
                  <a:pt x="7447" y="2371"/>
                </a:moveTo>
                <a:cubicBezTo>
                  <a:pt x="7529" y="2507"/>
                  <a:pt x="7602" y="2649"/>
                  <a:pt x="7668" y="2795"/>
                </a:cubicBezTo>
                <a:moveTo>
                  <a:pt x="7721" y="2305"/>
                </a:moveTo>
                <a:cubicBezTo>
                  <a:pt x="7636" y="2158"/>
                  <a:pt x="7543" y="2016"/>
                  <a:pt x="7440" y="1882"/>
                </a:cubicBezTo>
                <a:moveTo>
                  <a:pt x="1048" y="1360"/>
                </a:moveTo>
                <a:cubicBezTo>
                  <a:pt x="923" y="1493"/>
                  <a:pt x="805" y="1633"/>
                  <a:pt x="698" y="1781"/>
                </a:cubicBezTo>
                <a:moveTo>
                  <a:pt x="680" y="2305"/>
                </a:moveTo>
                <a:cubicBezTo>
                  <a:pt x="765" y="2158"/>
                  <a:pt x="858" y="2016"/>
                  <a:pt x="961" y="1882"/>
                </a:cubicBezTo>
                <a:moveTo>
                  <a:pt x="7703" y="1781"/>
                </a:moveTo>
                <a:cubicBezTo>
                  <a:pt x="7595" y="1633"/>
                  <a:pt x="7478" y="1493"/>
                  <a:pt x="7353" y="1360"/>
                </a:cubicBezTo>
                <a:moveTo>
                  <a:pt x="7440" y="1882"/>
                </a:moveTo>
                <a:cubicBezTo>
                  <a:pt x="7543" y="2016"/>
                  <a:pt x="7636" y="2158"/>
                  <a:pt x="7721" y="2305"/>
                </a:cubicBezTo>
                <a:moveTo>
                  <a:pt x="1913" y="5196"/>
                </a:moveTo>
                <a:cubicBezTo>
                  <a:pt x="2549" y="5677"/>
                  <a:pt x="3341" y="5963"/>
                  <a:pt x="4200" y="5963"/>
                </a:cubicBezTo>
                <a:cubicBezTo>
                  <a:pt x="5060" y="5963"/>
                  <a:pt x="5852" y="5677"/>
                  <a:pt x="6488" y="5196"/>
                </a:cubicBezTo>
                <a:moveTo>
                  <a:pt x="6610" y="4738"/>
                </a:moveTo>
                <a:cubicBezTo>
                  <a:pt x="5980" y="5329"/>
                  <a:pt x="5133" y="5692"/>
                  <a:pt x="4200" y="5692"/>
                </a:cubicBezTo>
                <a:cubicBezTo>
                  <a:pt x="3268" y="5692"/>
                  <a:pt x="2421" y="5329"/>
                  <a:pt x="1791" y="4738"/>
                </a:cubicBezTo>
                <a:moveTo>
                  <a:pt x="1543" y="4876"/>
                </a:moveTo>
                <a:cubicBezTo>
                  <a:pt x="1659" y="4990"/>
                  <a:pt x="1783" y="5097"/>
                  <a:pt x="1913" y="5196"/>
                </a:cubicBezTo>
                <a:moveTo>
                  <a:pt x="1791" y="4738"/>
                </a:moveTo>
                <a:cubicBezTo>
                  <a:pt x="1685" y="4639"/>
                  <a:pt x="1585" y="4533"/>
                  <a:pt x="1492" y="4421"/>
                </a:cubicBezTo>
                <a:moveTo>
                  <a:pt x="6909" y="4421"/>
                </a:moveTo>
                <a:cubicBezTo>
                  <a:pt x="6816" y="4533"/>
                  <a:pt x="6716" y="4639"/>
                  <a:pt x="6610" y="4738"/>
                </a:cubicBezTo>
                <a:moveTo>
                  <a:pt x="6488" y="5196"/>
                </a:moveTo>
                <a:cubicBezTo>
                  <a:pt x="6618" y="5097"/>
                  <a:pt x="6742" y="4990"/>
                  <a:pt x="6858" y="4876"/>
                </a:cubicBezTo>
                <a:moveTo>
                  <a:pt x="7169" y="4065"/>
                </a:moveTo>
                <a:cubicBezTo>
                  <a:pt x="7090" y="4189"/>
                  <a:pt x="7003" y="4308"/>
                  <a:pt x="6909" y="4421"/>
                </a:cubicBezTo>
                <a:moveTo>
                  <a:pt x="1225" y="4521"/>
                </a:moveTo>
                <a:cubicBezTo>
                  <a:pt x="1323" y="4646"/>
                  <a:pt x="1430" y="4765"/>
                  <a:pt x="1543" y="4876"/>
                </a:cubicBezTo>
                <a:moveTo>
                  <a:pt x="1492" y="4421"/>
                </a:moveTo>
                <a:cubicBezTo>
                  <a:pt x="1398" y="4308"/>
                  <a:pt x="1311" y="4189"/>
                  <a:pt x="1232" y="4065"/>
                </a:cubicBezTo>
                <a:moveTo>
                  <a:pt x="7386" y="3676"/>
                </a:moveTo>
                <a:cubicBezTo>
                  <a:pt x="7322" y="3811"/>
                  <a:pt x="7249" y="3940"/>
                  <a:pt x="7169" y="4065"/>
                </a:cubicBezTo>
                <a:moveTo>
                  <a:pt x="7176" y="4521"/>
                </a:moveTo>
                <a:cubicBezTo>
                  <a:pt x="7274" y="4398"/>
                  <a:pt x="7365" y="4270"/>
                  <a:pt x="7447" y="4135"/>
                </a:cubicBezTo>
                <a:moveTo>
                  <a:pt x="954" y="4135"/>
                </a:moveTo>
                <a:cubicBezTo>
                  <a:pt x="1036" y="4270"/>
                  <a:pt x="1127" y="4398"/>
                  <a:pt x="1225" y="4521"/>
                </a:cubicBezTo>
                <a:moveTo>
                  <a:pt x="1232" y="4065"/>
                </a:moveTo>
                <a:cubicBezTo>
                  <a:pt x="1152" y="3940"/>
                  <a:pt x="1079" y="3811"/>
                  <a:pt x="1015" y="3676"/>
                </a:cubicBezTo>
                <a:moveTo>
                  <a:pt x="7553" y="3253"/>
                </a:moveTo>
                <a:cubicBezTo>
                  <a:pt x="7506" y="3398"/>
                  <a:pt x="7450" y="3540"/>
                  <a:pt x="7386" y="3676"/>
                </a:cubicBezTo>
                <a:moveTo>
                  <a:pt x="7447" y="4135"/>
                </a:moveTo>
                <a:cubicBezTo>
                  <a:pt x="7529" y="3999"/>
                  <a:pt x="7602" y="3857"/>
                  <a:pt x="7668" y="3710"/>
                </a:cubicBezTo>
                <a:moveTo>
                  <a:pt x="733" y="3710"/>
                </a:moveTo>
                <a:cubicBezTo>
                  <a:pt x="798" y="3857"/>
                  <a:pt x="872" y="3999"/>
                  <a:pt x="954" y="4135"/>
                </a:cubicBezTo>
                <a:moveTo>
                  <a:pt x="1015" y="3676"/>
                </a:moveTo>
                <a:cubicBezTo>
                  <a:pt x="950" y="3540"/>
                  <a:pt x="895" y="3398"/>
                  <a:pt x="847" y="3253"/>
                </a:cubicBezTo>
                <a:moveTo>
                  <a:pt x="733" y="2795"/>
                </a:moveTo>
                <a:cubicBezTo>
                  <a:pt x="667" y="2943"/>
                  <a:pt x="610" y="3096"/>
                  <a:pt x="563" y="3253"/>
                </a:cubicBezTo>
                <a:cubicBezTo>
                  <a:pt x="610" y="3410"/>
                  <a:pt x="667" y="3563"/>
                  <a:pt x="733" y="3710"/>
                </a:cubicBezTo>
                <a:moveTo>
                  <a:pt x="7668" y="3710"/>
                </a:moveTo>
                <a:cubicBezTo>
                  <a:pt x="7734" y="3563"/>
                  <a:pt x="7791" y="3410"/>
                  <a:pt x="7837" y="3253"/>
                </a:cubicBezTo>
                <a:cubicBezTo>
                  <a:pt x="7791" y="3096"/>
                  <a:pt x="7734" y="2943"/>
                  <a:pt x="7668" y="2795"/>
                </a:cubicBezTo>
                <a:moveTo>
                  <a:pt x="7949" y="2761"/>
                </a:moveTo>
                <a:cubicBezTo>
                  <a:pt x="7883" y="2603"/>
                  <a:pt x="7806" y="2451"/>
                  <a:pt x="7721" y="2305"/>
                </a:cubicBezTo>
                <a:moveTo>
                  <a:pt x="7668" y="2795"/>
                </a:moveTo>
                <a:cubicBezTo>
                  <a:pt x="7734" y="2943"/>
                  <a:pt x="7791" y="3096"/>
                  <a:pt x="7837" y="3253"/>
                </a:cubicBezTo>
                <a:moveTo>
                  <a:pt x="563" y="3253"/>
                </a:moveTo>
                <a:cubicBezTo>
                  <a:pt x="610" y="3096"/>
                  <a:pt x="667" y="2943"/>
                  <a:pt x="733" y="2795"/>
                </a:cubicBezTo>
                <a:moveTo>
                  <a:pt x="680" y="2305"/>
                </a:moveTo>
                <a:cubicBezTo>
                  <a:pt x="595" y="2451"/>
                  <a:pt x="518" y="2603"/>
                  <a:pt x="452" y="2761"/>
                </a:cubicBezTo>
                <a:moveTo>
                  <a:pt x="698" y="1781"/>
                </a:moveTo>
                <a:cubicBezTo>
                  <a:pt x="592" y="1926"/>
                  <a:pt x="494" y="2078"/>
                  <a:pt x="407" y="2235"/>
                </a:cubicBezTo>
                <a:moveTo>
                  <a:pt x="452" y="2761"/>
                </a:moveTo>
                <a:cubicBezTo>
                  <a:pt x="518" y="2603"/>
                  <a:pt x="595" y="2451"/>
                  <a:pt x="680" y="2305"/>
                </a:cubicBezTo>
                <a:moveTo>
                  <a:pt x="7994" y="2235"/>
                </a:moveTo>
                <a:cubicBezTo>
                  <a:pt x="7907" y="2078"/>
                  <a:pt x="7809" y="1926"/>
                  <a:pt x="7703" y="1781"/>
                </a:cubicBezTo>
                <a:moveTo>
                  <a:pt x="7721" y="2305"/>
                </a:moveTo>
                <a:cubicBezTo>
                  <a:pt x="7806" y="2451"/>
                  <a:pt x="7883" y="2603"/>
                  <a:pt x="7949" y="2761"/>
                </a:cubicBezTo>
                <a:moveTo>
                  <a:pt x="2163" y="5686"/>
                </a:moveTo>
                <a:cubicBezTo>
                  <a:pt x="2763" y="6034"/>
                  <a:pt x="3458" y="6234"/>
                  <a:pt x="4200" y="6234"/>
                </a:cubicBezTo>
                <a:cubicBezTo>
                  <a:pt x="4943" y="6234"/>
                  <a:pt x="5638" y="6034"/>
                  <a:pt x="6238" y="5686"/>
                </a:cubicBezTo>
                <a:moveTo>
                  <a:pt x="6488" y="5196"/>
                </a:moveTo>
                <a:cubicBezTo>
                  <a:pt x="5852" y="5677"/>
                  <a:pt x="5060" y="5963"/>
                  <a:pt x="4200" y="5963"/>
                </a:cubicBezTo>
                <a:cubicBezTo>
                  <a:pt x="3341" y="5963"/>
                  <a:pt x="2549" y="5677"/>
                  <a:pt x="1913" y="5196"/>
                </a:cubicBezTo>
                <a:moveTo>
                  <a:pt x="1913" y="5196"/>
                </a:moveTo>
                <a:cubicBezTo>
                  <a:pt x="1783" y="5097"/>
                  <a:pt x="1659" y="4990"/>
                  <a:pt x="1543" y="4876"/>
                </a:cubicBezTo>
                <a:moveTo>
                  <a:pt x="1692" y="5367"/>
                </a:moveTo>
                <a:cubicBezTo>
                  <a:pt x="1841" y="5484"/>
                  <a:pt x="1998" y="5591"/>
                  <a:pt x="2163" y="5686"/>
                </a:cubicBezTo>
                <a:moveTo>
                  <a:pt x="6858" y="4876"/>
                </a:moveTo>
                <a:cubicBezTo>
                  <a:pt x="6742" y="4990"/>
                  <a:pt x="6618" y="5097"/>
                  <a:pt x="6488" y="5196"/>
                </a:cubicBezTo>
                <a:moveTo>
                  <a:pt x="6238" y="5686"/>
                </a:moveTo>
                <a:cubicBezTo>
                  <a:pt x="6403" y="5591"/>
                  <a:pt x="6560" y="5484"/>
                  <a:pt x="6709" y="5367"/>
                </a:cubicBezTo>
                <a:moveTo>
                  <a:pt x="7176" y="4521"/>
                </a:moveTo>
                <a:cubicBezTo>
                  <a:pt x="7078" y="4646"/>
                  <a:pt x="6971" y="4765"/>
                  <a:pt x="6858" y="4876"/>
                </a:cubicBezTo>
                <a:moveTo>
                  <a:pt x="6709" y="5367"/>
                </a:moveTo>
                <a:cubicBezTo>
                  <a:pt x="6849" y="5257"/>
                  <a:pt x="6981" y="5139"/>
                  <a:pt x="7105" y="5012"/>
                </a:cubicBezTo>
                <a:moveTo>
                  <a:pt x="1543" y="4876"/>
                </a:moveTo>
                <a:cubicBezTo>
                  <a:pt x="1430" y="4765"/>
                  <a:pt x="1323" y="4646"/>
                  <a:pt x="1225" y="4521"/>
                </a:cubicBezTo>
                <a:moveTo>
                  <a:pt x="1296" y="5012"/>
                </a:moveTo>
                <a:cubicBezTo>
                  <a:pt x="1420" y="5139"/>
                  <a:pt x="1552" y="5257"/>
                  <a:pt x="1692" y="5367"/>
                </a:cubicBezTo>
                <a:moveTo>
                  <a:pt x="7447" y="4135"/>
                </a:moveTo>
                <a:cubicBezTo>
                  <a:pt x="7365" y="4270"/>
                  <a:pt x="7274" y="4398"/>
                  <a:pt x="7176" y="4521"/>
                </a:cubicBezTo>
                <a:moveTo>
                  <a:pt x="7105" y="5012"/>
                </a:moveTo>
                <a:cubicBezTo>
                  <a:pt x="7225" y="4890"/>
                  <a:pt x="7337" y="4761"/>
                  <a:pt x="7440" y="4624"/>
                </a:cubicBezTo>
                <a:moveTo>
                  <a:pt x="961" y="4624"/>
                </a:moveTo>
                <a:cubicBezTo>
                  <a:pt x="1064" y="4761"/>
                  <a:pt x="1176" y="4890"/>
                  <a:pt x="1296" y="5012"/>
                </a:cubicBezTo>
                <a:moveTo>
                  <a:pt x="954" y="4135"/>
                </a:moveTo>
                <a:cubicBezTo>
                  <a:pt x="872" y="3999"/>
                  <a:pt x="798" y="3857"/>
                  <a:pt x="733" y="3710"/>
                </a:cubicBezTo>
                <a:moveTo>
                  <a:pt x="680" y="4201"/>
                </a:moveTo>
                <a:cubicBezTo>
                  <a:pt x="765" y="4348"/>
                  <a:pt x="858" y="4490"/>
                  <a:pt x="961" y="4624"/>
                </a:cubicBezTo>
                <a:moveTo>
                  <a:pt x="7668" y="3710"/>
                </a:moveTo>
                <a:cubicBezTo>
                  <a:pt x="7602" y="3857"/>
                  <a:pt x="7529" y="3999"/>
                  <a:pt x="7447" y="4135"/>
                </a:cubicBezTo>
                <a:moveTo>
                  <a:pt x="7440" y="4624"/>
                </a:moveTo>
                <a:cubicBezTo>
                  <a:pt x="7543" y="4490"/>
                  <a:pt x="7636" y="4348"/>
                  <a:pt x="7721" y="4201"/>
                </a:cubicBezTo>
                <a:moveTo>
                  <a:pt x="452" y="3745"/>
                </a:moveTo>
                <a:cubicBezTo>
                  <a:pt x="518" y="3903"/>
                  <a:pt x="595" y="4055"/>
                  <a:pt x="680" y="4201"/>
                </a:cubicBezTo>
                <a:moveTo>
                  <a:pt x="733" y="3710"/>
                </a:moveTo>
                <a:cubicBezTo>
                  <a:pt x="667" y="3563"/>
                  <a:pt x="610" y="3410"/>
                  <a:pt x="563" y="3253"/>
                </a:cubicBezTo>
                <a:moveTo>
                  <a:pt x="7837" y="3253"/>
                </a:moveTo>
                <a:cubicBezTo>
                  <a:pt x="7791" y="3410"/>
                  <a:pt x="7734" y="3563"/>
                  <a:pt x="7668" y="3710"/>
                </a:cubicBezTo>
                <a:moveTo>
                  <a:pt x="7721" y="4201"/>
                </a:moveTo>
                <a:cubicBezTo>
                  <a:pt x="7806" y="4055"/>
                  <a:pt x="7883" y="3903"/>
                  <a:pt x="7949" y="3745"/>
                </a:cubicBezTo>
                <a:moveTo>
                  <a:pt x="452" y="2761"/>
                </a:moveTo>
                <a:cubicBezTo>
                  <a:pt x="384" y="2920"/>
                  <a:pt x="328" y="3084"/>
                  <a:pt x="282" y="3253"/>
                </a:cubicBezTo>
                <a:cubicBezTo>
                  <a:pt x="328" y="3422"/>
                  <a:pt x="384" y="3586"/>
                  <a:pt x="452" y="3745"/>
                </a:cubicBezTo>
                <a:moveTo>
                  <a:pt x="7949" y="3745"/>
                </a:moveTo>
                <a:cubicBezTo>
                  <a:pt x="8016" y="3586"/>
                  <a:pt x="8073" y="3422"/>
                  <a:pt x="8119" y="3253"/>
                </a:cubicBezTo>
                <a:cubicBezTo>
                  <a:pt x="8073" y="3084"/>
                  <a:pt x="8016" y="2920"/>
                  <a:pt x="7949" y="2761"/>
                </a:cubicBezTo>
                <a:moveTo>
                  <a:pt x="8228" y="2727"/>
                </a:moveTo>
                <a:cubicBezTo>
                  <a:pt x="8160" y="2558"/>
                  <a:pt x="8082" y="2393"/>
                  <a:pt x="7994" y="2235"/>
                </a:cubicBezTo>
                <a:moveTo>
                  <a:pt x="7949" y="2761"/>
                </a:moveTo>
                <a:cubicBezTo>
                  <a:pt x="8016" y="2920"/>
                  <a:pt x="8073" y="3084"/>
                  <a:pt x="8119" y="3253"/>
                </a:cubicBezTo>
                <a:moveTo>
                  <a:pt x="282" y="3253"/>
                </a:moveTo>
                <a:cubicBezTo>
                  <a:pt x="328" y="3084"/>
                  <a:pt x="384" y="2920"/>
                  <a:pt x="452" y="2761"/>
                </a:cubicBezTo>
                <a:moveTo>
                  <a:pt x="407" y="2235"/>
                </a:moveTo>
                <a:cubicBezTo>
                  <a:pt x="319" y="2393"/>
                  <a:pt x="241" y="2558"/>
                  <a:pt x="173" y="2727"/>
                </a:cubicBezTo>
                <a:moveTo>
                  <a:pt x="2633" y="6212"/>
                </a:moveTo>
                <a:cubicBezTo>
                  <a:pt x="3119" y="6401"/>
                  <a:pt x="3647" y="6505"/>
                  <a:pt x="4200" y="6505"/>
                </a:cubicBezTo>
                <a:cubicBezTo>
                  <a:pt x="4753" y="6505"/>
                  <a:pt x="5282" y="6401"/>
                  <a:pt x="5768" y="6212"/>
                </a:cubicBezTo>
                <a:moveTo>
                  <a:pt x="6238" y="5686"/>
                </a:moveTo>
                <a:cubicBezTo>
                  <a:pt x="5638" y="6034"/>
                  <a:pt x="4943" y="6234"/>
                  <a:pt x="4200" y="6234"/>
                </a:cubicBezTo>
                <a:cubicBezTo>
                  <a:pt x="3458" y="6234"/>
                  <a:pt x="2763" y="6034"/>
                  <a:pt x="2163" y="5686"/>
                </a:cubicBezTo>
                <a:moveTo>
                  <a:pt x="1980" y="5894"/>
                </a:moveTo>
                <a:cubicBezTo>
                  <a:pt x="2187" y="6018"/>
                  <a:pt x="2406" y="6124"/>
                  <a:pt x="2633" y="6212"/>
                </a:cubicBezTo>
                <a:moveTo>
                  <a:pt x="2163" y="5686"/>
                </a:moveTo>
                <a:cubicBezTo>
                  <a:pt x="1998" y="5591"/>
                  <a:pt x="1841" y="5484"/>
                  <a:pt x="1692" y="5367"/>
                </a:cubicBezTo>
                <a:moveTo>
                  <a:pt x="5768" y="6212"/>
                </a:moveTo>
                <a:cubicBezTo>
                  <a:pt x="5995" y="6124"/>
                  <a:pt x="6214" y="6018"/>
                  <a:pt x="6421" y="5894"/>
                </a:cubicBezTo>
                <a:moveTo>
                  <a:pt x="6709" y="5367"/>
                </a:moveTo>
                <a:cubicBezTo>
                  <a:pt x="6560" y="5484"/>
                  <a:pt x="6403" y="5591"/>
                  <a:pt x="6238" y="5686"/>
                </a:cubicBezTo>
                <a:moveTo>
                  <a:pt x="1469" y="5537"/>
                </a:moveTo>
                <a:cubicBezTo>
                  <a:pt x="1630" y="5668"/>
                  <a:pt x="1801" y="5787"/>
                  <a:pt x="1980" y="5894"/>
                </a:cubicBezTo>
                <a:moveTo>
                  <a:pt x="1692" y="5367"/>
                </a:moveTo>
                <a:cubicBezTo>
                  <a:pt x="1552" y="5257"/>
                  <a:pt x="1420" y="5139"/>
                  <a:pt x="1296" y="5012"/>
                </a:cubicBezTo>
                <a:moveTo>
                  <a:pt x="6421" y="5894"/>
                </a:moveTo>
                <a:cubicBezTo>
                  <a:pt x="6600" y="5787"/>
                  <a:pt x="6770" y="5668"/>
                  <a:pt x="6932" y="5537"/>
                </a:cubicBezTo>
                <a:moveTo>
                  <a:pt x="7105" y="5012"/>
                </a:moveTo>
                <a:cubicBezTo>
                  <a:pt x="6981" y="5139"/>
                  <a:pt x="6849" y="5257"/>
                  <a:pt x="6709" y="5367"/>
                </a:cubicBezTo>
                <a:moveTo>
                  <a:pt x="1048" y="5145"/>
                </a:moveTo>
                <a:cubicBezTo>
                  <a:pt x="1180" y="5285"/>
                  <a:pt x="1320" y="5416"/>
                  <a:pt x="1469" y="5537"/>
                </a:cubicBezTo>
                <a:moveTo>
                  <a:pt x="1296" y="5012"/>
                </a:moveTo>
                <a:cubicBezTo>
                  <a:pt x="1176" y="4890"/>
                  <a:pt x="1064" y="4761"/>
                  <a:pt x="961" y="4624"/>
                </a:cubicBezTo>
                <a:moveTo>
                  <a:pt x="6932" y="5537"/>
                </a:moveTo>
                <a:cubicBezTo>
                  <a:pt x="7081" y="5416"/>
                  <a:pt x="7221" y="5285"/>
                  <a:pt x="7353" y="5145"/>
                </a:cubicBezTo>
                <a:moveTo>
                  <a:pt x="7440" y="4624"/>
                </a:moveTo>
                <a:cubicBezTo>
                  <a:pt x="7337" y="4761"/>
                  <a:pt x="7225" y="4890"/>
                  <a:pt x="7105" y="5012"/>
                </a:cubicBezTo>
                <a:moveTo>
                  <a:pt x="7353" y="5145"/>
                </a:moveTo>
                <a:cubicBezTo>
                  <a:pt x="7478" y="5013"/>
                  <a:pt x="7595" y="4872"/>
                  <a:pt x="7703" y="4725"/>
                </a:cubicBezTo>
                <a:moveTo>
                  <a:pt x="7721" y="4201"/>
                </a:moveTo>
                <a:cubicBezTo>
                  <a:pt x="7636" y="4348"/>
                  <a:pt x="7543" y="4490"/>
                  <a:pt x="7440" y="4624"/>
                </a:cubicBezTo>
                <a:moveTo>
                  <a:pt x="7703" y="4725"/>
                </a:moveTo>
                <a:cubicBezTo>
                  <a:pt x="7809" y="4580"/>
                  <a:pt x="7907" y="4428"/>
                  <a:pt x="7994" y="4270"/>
                </a:cubicBezTo>
                <a:moveTo>
                  <a:pt x="7949" y="3745"/>
                </a:moveTo>
                <a:cubicBezTo>
                  <a:pt x="7883" y="3903"/>
                  <a:pt x="7806" y="4055"/>
                  <a:pt x="7721" y="4201"/>
                </a:cubicBezTo>
                <a:moveTo>
                  <a:pt x="407" y="4270"/>
                </a:moveTo>
                <a:cubicBezTo>
                  <a:pt x="494" y="4428"/>
                  <a:pt x="592" y="4580"/>
                  <a:pt x="698" y="4725"/>
                </a:cubicBezTo>
                <a:moveTo>
                  <a:pt x="680" y="4201"/>
                </a:moveTo>
                <a:cubicBezTo>
                  <a:pt x="595" y="4055"/>
                  <a:pt x="518" y="3903"/>
                  <a:pt x="452" y="3745"/>
                </a:cubicBezTo>
                <a:moveTo>
                  <a:pt x="8119" y="3253"/>
                </a:moveTo>
                <a:cubicBezTo>
                  <a:pt x="8073" y="3422"/>
                  <a:pt x="8016" y="3586"/>
                  <a:pt x="7949" y="3745"/>
                </a:cubicBezTo>
                <a:moveTo>
                  <a:pt x="7994" y="4270"/>
                </a:moveTo>
                <a:cubicBezTo>
                  <a:pt x="8082" y="4112"/>
                  <a:pt x="8160" y="3948"/>
                  <a:pt x="8228" y="3779"/>
                </a:cubicBezTo>
                <a:moveTo>
                  <a:pt x="173" y="3779"/>
                </a:moveTo>
                <a:cubicBezTo>
                  <a:pt x="241" y="3948"/>
                  <a:pt x="319" y="4112"/>
                  <a:pt x="407" y="4270"/>
                </a:cubicBezTo>
                <a:moveTo>
                  <a:pt x="452" y="3745"/>
                </a:moveTo>
                <a:cubicBezTo>
                  <a:pt x="384" y="3586"/>
                  <a:pt x="328" y="3422"/>
                  <a:pt x="282" y="3253"/>
                </a:cubicBezTo>
                <a:moveTo>
                  <a:pt x="173" y="2727"/>
                </a:moveTo>
                <a:cubicBezTo>
                  <a:pt x="105" y="2898"/>
                  <a:pt x="46" y="3073"/>
                  <a:pt x="0" y="3253"/>
                </a:cubicBezTo>
                <a:cubicBezTo>
                  <a:pt x="46" y="3433"/>
                  <a:pt x="105" y="3608"/>
                  <a:pt x="173" y="3779"/>
                </a:cubicBezTo>
                <a:moveTo>
                  <a:pt x="8228" y="3779"/>
                </a:moveTo>
                <a:cubicBezTo>
                  <a:pt x="8296" y="3608"/>
                  <a:pt x="8355" y="3433"/>
                  <a:pt x="8401" y="3253"/>
                </a:cubicBezTo>
                <a:cubicBezTo>
                  <a:pt x="8355" y="3073"/>
                  <a:pt x="8296" y="2898"/>
                  <a:pt x="8228" y="2727"/>
                </a:cubicBezTo>
                <a:moveTo>
                  <a:pt x="5768" y="6212"/>
                </a:moveTo>
                <a:cubicBezTo>
                  <a:pt x="5282" y="6401"/>
                  <a:pt x="4753" y="6505"/>
                  <a:pt x="4200" y="6505"/>
                </a:cubicBezTo>
                <a:cubicBezTo>
                  <a:pt x="3647" y="6505"/>
                  <a:pt x="3119" y="6401"/>
                  <a:pt x="2633" y="6212"/>
                </a:cubicBezTo>
                <a:moveTo>
                  <a:pt x="6421" y="5894"/>
                </a:moveTo>
                <a:cubicBezTo>
                  <a:pt x="6214" y="6018"/>
                  <a:pt x="5995" y="6124"/>
                  <a:pt x="5768" y="6212"/>
                </a:cubicBezTo>
                <a:moveTo>
                  <a:pt x="2633" y="6212"/>
                </a:moveTo>
                <a:cubicBezTo>
                  <a:pt x="2406" y="6124"/>
                  <a:pt x="2187" y="6018"/>
                  <a:pt x="1980" y="5894"/>
                </a:cubicBezTo>
                <a:moveTo>
                  <a:pt x="6932" y="5537"/>
                </a:moveTo>
                <a:cubicBezTo>
                  <a:pt x="6770" y="5668"/>
                  <a:pt x="6600" y="5787"/>
                  <a:pt x="6421" y="5894"/>
                </a:cubicBezTo>
                <a:moveTo>
                  <a:pt x="1980" y="5894"/>
                </a:moveTo>
                <a:cubicBezTo>
                  <a:pt x="1801" y="5787"/>
                  <a:pt x="1630" y="5668"/>
                  <a:pt x="1469" y="5537"/>
                </a:cubicBezTo>
                <a:moveTo>
                  <a:pt x="7353" y="5145"/>
                </a:moveTo>
                <a:cubicBezTo>
                  <a:pt x="7221" y="5285"/>
                  <a:pt x="7081" y="5416"/>
                  <a:pt x="6932" y="5537"/>
                </a:cubicBezTo>
                <a:moveTo>
                  <a:pt x="1469" y="5537"/>
                </a:moveTo>
                <a:cubicBezTo>
                  <a:pt x="1320" y="5416"/>
                  <a:pt x="1180" y="5285"/>
                  <a:pt x="1048" y="5145"/>
                </a:cubicBezTo>
                <a:moveTo>
                  <a:pt x="7703" y="4725"/>
                </a:moveTo>
                <a:cubicBezTo>
                  <a:pt x="7595" y="4872"/>
                  <a:pt x="7478" y="5013"/>
                  <a:pt x="7353" y="5145"/>
                </a:cubicBezTo>
                <a:moveTo>
                  <a:pt x="1048" y="5145"/>
                </a:moveTo>
                <a:cubicBezTo>
                  <a:pt x="923" y="5013"/>
                  <a:pt x="805" y="4872"/>
                  <a:pt x="698" y="4725"/>
                </a:cubicBezTo>
                <a:moveTo>
                  <a:pt x="4472" y="3253"/>
                </a:moveTo>
                <a:cubicBezTo>
                  <a:pt x="4472" y="3403"/>
                  <a:pt x="4350" y="3524"/>
                  <a:pt x="4200" y="3524"/>
                </a:cubicBezTo>
                <a:cubicBezTo>
                  <a:pt x="4051" y="3524"/>
                  <a:pt x="3929" y="3403"/>
                  <a:pt x="3929" y="3253"/>
                </a:cubicBezTo>
                <a:cubicBezTo>
                  <a:pt x="3929" y="3103"/>
                  <a:pt x="4051" y="2982"/>
                  <a:pt x="4200" y="2982"/>
                </a:cubicBezTo>
                <a:cubicBezTo>
                  <a:pt x="4350" y="2982"/>
                  <a:pt x="4472" y="3103"/>
                  <a:pt x="4472" y="3253"/>
                </a:cubicBezTo>
                <a:close/>
                <a:moveTo>
                  <a:pt x="4743" y="3253"/>
                </a:moveTo>
                <a:cubicBezTo>
                  <a:pt x="4743" y="3553"/>
                  <a:pt x="4500" y="3795"/>
                  <a:pt x="4200" y="3795"/>
                </a:cubicBezTo>
                <a:cubicBezTo>
                  <a:pt x="3901" y="3795"/>
                  <a:pt x="3658" y="3553"/>
                  <a:pt x="3658" y="3253"/>
                </a:cubicBezTo>
                <a:cubicBezTo>
                  <a:pt x="3658" y="2953"/>
                  <a:pt x="3901" y="2710"/>
                  <a:pt x="4200" y="2710"/>
                </a:cubicBezTo>
                <a:cubicBezTo>
                  <a:pt x="4500" y="2710"/>
                  <a:pt x="4743" y="2953"/>
                  <a:pt x="4743" y="3253"/>
                </a:cubicBezTo>
                <a:close/>
                <a:moveTo>
                  <a:pt x="5014" y="3253"/>
                </a:moveTo>
                <a:cubicBezTo>
                  <a:pt x="5014" y="3702"/>
                  <a:pt x="4650" y="4067"/>
                  <a:pt x="4200" y="4067"/>
                </a:cubicBezTo>
                <a:cubicBezTo>
                  <a:pt x="3751" y="4067"/>
                  <a:pt x="3387" y="3702"/>
                  <a:pt x="3387" y="3253"/>
                </a:cubicBezTo>
                <a:cubicBezTo>
                  <a:pt x="3387" y="2803"/>
                  <a:pt x="3751" y="2439"/>
                  <a:pt x="4200" y="2439"/>
                </a:cubicBezTo>
                <a:cubicBezTo>
                  <a:pt x="4650" y="2439"/>
                  <a:pt x="5014" y="2803"/>
                  <a:pt x="5014" y="3253"/>
                </a:cubicBezTo>
                <a:close/>
                <a:moveTo>
                  <a:pt x="5285" y="3253"/>
                </a:moveTo>
                <a:cubicBezTo>
                  <a:pt x="5285" y="3852"/>
                  <a:pt x="4800" y="4338"/>
                  <a:pt x="4200" y="4338"/>
                </a:cubicBezTo>
                <a:cubicBezTo>
                  <a:pt x="3601" y="4338"/>
                  <a:pt x="3116" y="3852"/>
                  <a:pt x="3116" y="3253"/>
                </a:cubicBezTo>
                <a:cubicBezTo>
                  <a:pt x="3116" y="2654"/>
                  <a:pt x="3601" y="2168"/>
                  <a:pt x="4200" y="2168"/>
                </a:cubicBezTo>
                <a:cubicBezTo>
                  <a:pt x="4800" y="2168"/>
                  <a:pt x="5285" y="2654"/>
                  <a:pt x="5285" y="3253"/>
                </a:cubicBezTo>
                <a:close/>
                <a:moveTo>
                  <a:pt x="4200" y="4609"/>
                </a:moveTo>
                <a:cubicBezTo>
                  <a:pt x="5159" y="4609"/>
                  <a:pt x="5988" y="4057"/>
                  <a:pt x="6388" y="3253"/>
                </a:cubicBezTo>
                <a:cubicBezTo>
                  <a:pt x="5988" y="2449"/>
                  <a:pt x="5159" y="1897"/>
                  <a:pt x="4200" y="1897"/>
                </a:cubicBezTo>
                <a:cubicBezTo>
                  <a:pt x="3242" y="1897"/>
                  <a:pt x="2413" y="2449"/>
                  <a:pt x="2013" y="3253"/>
                </a:cubicBezTo>
                <a:cubicBezTo>
                  <a:pt x="2413" y="4057"/>
                  <a:pt x="3242" y="4609"/>
                  <a:pt x="4200" y="4609"/>
                </a:cubicBezTo>
                <a:close/>
                <a:moveTo>
                  <a:pt x="2013" y="3253"/>
                </a:moveTo>
                <a:cubicBezTo>
                  <a:pt x="2413" y="2449"/>
                  <a:pt x="3242" y="1897"/>
                  <a:pt x="4200" y="1897"/>
                </a:cubicBezTo>
                <a:cubicBezTo>
                  <a:pt x="5159" y="1897"/>
                  <a:pt x="5988" y="2449"/>
                  <a:pt x="6388" y="3253"/>
                </a:cubicBezTo>
                <a:moveTo>
                  <a:pt x="6519" y="2934"/>
                </a:moveTo>
                <a:cubicBezTo>
                  <a:pt x="6044" y="2151"/>
                  <a:pt x="5183" y="1628"/>
                  <a:pt x="4200" y="1628"/>
                </a:cubicBezTo>
                <a:cubicBezTo>
                  <a:pt x="3218" y="1628"/>
                  <a:pt x="2357" y="2151"/>
                  <a:pt x="1882" y="2934"/>
                </a:cubicBezTo>
                <a:moveTo>
                  <a:pt x="1882" y="2934"/>
                </a:moveTo>
                <a:cubicBezTo>
                  <a:pt x="2357" y="2151"/>
                  <a:pt x="3218" y="1628"/>
                  <a:pt x="4200" y="1628"/>
                </a:cubicBezTo>
                <a:cubicBezTo>
                  <a:pt x="5183" y="1628"/>
                  <a:pt x="6044" y="2151"/>
                  <a:pt x="6519" y="2934"/>
                </a:cubicBezTo>
                <a:moveTo>
                  <a:pt x="6607" y="2579"/>
                </a:moveTo>
                <a:cubicBezTo>
                  <a:pt x="6065" y="1838"/>
                  <a:pt x="5189" y="1357"/>
                  <a:pt x="4200" y="1357"/>
                </a:cubicBezTo>
                <a:cubicBezTo>
                  <a:pt x="3212" y="1357"/>
                  <a:pt x="2336" y="1838"/>
                  <a:pt x="1794" y="2579"/>
                </a:cubicBezTo>
                <a:moveTo>
                  <a:pt x="1758" y="2166"/>
                </a:moveTo>
                <a:cubicBezTo>
                  <a:pt x="1758" y="2174"/>
                  <a:pt x="1759" y="2182"/>
                  <a:pt x="1759" y="2190"/>
                </a:cubicBezTo>
                <a:cubicBezTo>
                  <a:pt x="2355" y="1513"/>
                  <a:pt x="3228" y="1085"/>
                  <a:pt x="4200" y="1085"/>
                </a:cubicBezTo>
                <a:cubicBezTo>
                  <a:pt x="5173" y="1085"/>
                  <a:pt x="6046" y="1513"/>
                  <a:pt x="6642" y="2190"/>
                </a:cubicBezTo>
                <a:moveTo>
                  <a:pt x="6610" y="1768"/>
                </a:moveTo>
                <a:cubicBezTo>
                  <a:pt x="5980" y="1177"/>
                  <a:pt x="5133" y="814"/>
                  <a:pt x="4200" y="814"/>
                </a:cubicBezTo>
                <a:cubicBezTo>
                  <a:pt x="3268" y="814"/>
                  <a:pt x="2421" y="1177"/>
                  <a:pt x="1791" y="1768"/>
                </a:cubicBezTo>
                <a:moveTo>
                  <a:pt x="1791" y="1768"/>
                </a:moveTo>
                <a:cubicBezTo>
                  <a:pt x="2421" y="1177"/>
                  <a:pt x="3268" y="814"/>
                  <a:pt x="4200" y="814"/>
                </a:cubicBezTo>
                <a:cubicBezTo>
                  <a:pt x="5133" y="814"/>
                  <a:pt x="5980" y="1177"/>
                  <a:pt x="6610" y="1768"/>
                </a:cubicBezTo>
                <a:moveTo>
                  <a:pt x="6488" y="1310"/>
                </a:moveTo>
                <a:cubicBezTo>
                  <a:pt x="5852" y="829"/>
                  <a:pt x="5060" y="543"/>
                  <a:pt x="4200" y="543"/>
                </a:cubicBezTo>
                <a:cubicBezTo>
                  <a:pt x="3341" y="543"/>
                  <a:pt x="2549" y="829"/>
                  <a:pt x="1913" y="1310"/>
                </a:cubicBezTo>
                <a:moveTo>
                  <a:pt x="1913" y="1310"/>
                </a:moveTo>
                <a:cubicBezTo>
                  <a:pt x="2549" y="829"/>
                  <a:pt x="3341" y="543"/>
                  <a:pt x="4200" y="543"/>
                </a:cubicBezTo>
                <a:cubicBezTo>
                  <a:pt x="5060" y="543"/>
                  <a:pt x="5852" y="829"/>
                  <a:pt x="6488" y="1310"/>
                </a:cubicBezTo>
                <a:moveTo>
                  <a:pt x="6238" y="819"/>
                </a:moveTo>
                <a:cubicBezTo>
                  <a:pt x="5638" y="472"/>
                  <a:pt x="4943" y="272"/>
                  <a:pt x="4200" y="272"/>
                </a:cubicBezTo>
                <a:cubicBezTo>
                  <a:pt x="3458" y="272"/>
                  <a:pt x="2762" y="472"/>
                  <a:pt x="2163" y="819"/>
                </a:cubicBezTo>
                <a:moveTo>
                  <a:pt x="2163" y="819"/>
                </a:moveTo>
                <a:cubicBezTo>
                  <a:pt x="2762" y="472"/>
                  <a:pt x="3458" y="272"/>
                  <a:pt x="4200" y="272"/>
                </a:cubicBezTo>
                <a:cubicBezTo>
                  <a:pt x="4943" y="272"/>
                  <a:pt x="5638" y="472"/>
                  <a:pt x="6238" y="819"/>
                </a:cubicBezTo>
                <a:moveTo>
                  <a:pt x="5768" y="294"/>
                </a:moveTo>
                <a:cubicBezTo>
                  <a:pt x="5282" y="105"/>
                  <a:pt x="4753" y="0"/>
                  <a:pt x="4200" y="0"/>
                </a:cubicBezTo>
                <a:cubicBezTo>
                  <a:pt x="3647" y="0"/>
                  <a:pt x="3119" y="105"/>
                  <a:pt x="2633" y="294"/>
                </a:cubicBezTo>
                <a:moveTo>
                  <a:pt x="2633" y="294"/>
                </a:moveTo>
                <a:cubicBezTo>
                  <a:pt x="3119" y="105"/>
                  <a:pt x="3647" y="0"/>
                  <a:pt x="4200" y="0"/>
                </a:cubicBezTo>
                <a:cubicBezTo>
                  <a:pt x="4753" y="0"/>
                  <a:pt x="5282" y="105"/>
                  <a:pt x="5768" y="294"/>
                </a:cubicBezTo>
                <a:moveTo>
                  <a:pt x="1882" y="2934"/>
                </a:moveTo>
                <a:cubicBezTo>
                  <a:pt x="1820" y="3036"/>
                  <a:pt x="1765" y="3143"/>
                  <a:pt x="1717" y="3253"/>
                </a:cubicBezTo>
                <a:cubicBezTo>
                  <a:pt x="1765" y="3363"/>
                  <a:pt x="1820" y="3470"/>
                  <a:pt x="1882" y="3572"/>
                </a:cubicBezTo>
                <a:moveTo>
                  <a:pt x="6811" y="2897"/>
                </a:moveTo>
                <a:cubicBezTo>
                  <a:pt x="6750" y="2787"/>
                  <a:pt x="6682" y="2681"/>
                  <a:pt x="6607" y="2579"/>
                </a:cubicBezTo>
                <a:moveTo>
                  <a:pt x="6519" y="2934"/>
                </a:moveTo>
                <a:cubicBezTo>
                  <a:pt x="6581" y="3036"/>
                  <a:pt x="6636" y="3143"/>
                  <a:pt x="6684" y="3253"/>
                </a:cubicBezTo>
                <a:moveTo>
                  <a:pt x="1794" y="2579"/>
                </a:moveTo>
                <a:cubicBezTo>
                  <a:pt x="1719" y="2681"/>
                  <a:pt x="1651" y="2787"/>
                  <a:pt x="1590" y="2897"/>
                </a:cubicBezTo>
                <a:moveTo>
                  <a:pt x="1717" y="3253"/>
                </a:moveTo>
                <a:cubicBezTo>
                  <a:pt x="1765" y="3143"/>
                  <a:pt x="1820" y="3036"/>
                  <a:pt x="1882" y="2934"/>
                </a:cubicBezTo>
                <a:moveTo>
                  <a:pt x="6607" y="2579"/>
                </a:moveTo>
                <a:cubicBezTo>
                  <a:pt x="6682" y="2681"/>
                  <a:pt x="6750" y="2787"/>
                  <a:pt x="6811" y="2897"/>
                </a:cubicBezTo>
                <a:moveTo>
                  <a:pt x="1512" y="2507"/>
                </a:moveTo>
                <a:cubicBezTo>
                  <a:pt x="1588" y="2397"/>
                  <a:pt x="1670" y="2291"/>
                  <a:pt x="1759" y="2190"/>
                </a:cubicBezTo>
                <a:cubicBezTo>
                  <a:pt x="1759" y="2182"/>
                  <a:pt x="1758" y="2174"/>
                  <a:pt x="1758" y="2166"/>
                </a:cubicBezTo>
                <a:moveTo>
                  <a:pt x="6642" y="2190"/>
                </a:moveTo>
                <a:cubicBezTo>
                  <a:pt x="6731" y="2291"/>
                  <a:pt x="6813" y="2397"/>
                  <a:pt x="6889" y="2507"/>
                </a:cubicBezTo>
                <a:moveTo>
                  <a:pt x="6610" y="1768"/>
                </a:moveTo>
                <a:cubicBezTo>
                  <a:pt x="6716" y="1867"/>
                  <a:pt x="6816" y="1973"/>
                  <a:pt x="6909" y="2084"/>
                </a:cubicBezTo>
                <a:moveTo>
                  <a:pt x="6858" y="1630"/>
                </a:moveTo>
                <a:cubicBezTo>
                  <a:pt x="6742" y="1516"/>
                  <a:pt x="6618" y="1409"/>
                  <a:pt x="6488" y="1310"/>
                </a:cubicBezTo>
                <a:moveTo>
                  <a:pt x="1492" y="2084"/>
                </a:moveTo>
                <a:cubicBezTo>
                  <a:pt x="1585" y="1973"/>
                  <a:pt x="1685" y="1867"/>
                  <a:pt x="1791" y="1768"/>
                </a:cubicBezTo>
                <a:moveTo>
                  <a:pt x="1913" y="1310"/>
                </a:moveTo>
                <a:cubicBezTo>
                  <a:pt x="1783" y="1409"/>
                  <a:pt x="1659" y="1516"/>
                  <a:pt x="1543" y="1630"/>
                </a:cubicBezTo>
                <a:moveTo>
                  <a:pt x="6488" y="1310"/>
                </a:moveTo>
                <a:cubicBezTo>
                  <a:pt x="6618" y="1409"/>
                  <a:pt x="6742" y="1516"/>
                  <a:pt x="6858" y="1630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0239" y="1245428"/>
            <a:ext cx="7872484" cy="445241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dirty="0" smtClean="0"/>
              <a:t>Insert subtitle here. Right click on slide background to set picture.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922752B9-FC0B-412E-B711-04E55F2355B8}" type="datetime1">
              <a:rPr lang="en-GB" smtClean="0"/>
              <a:t>24/01/2018</a:t>
            </a:fld>
            <a:endParaRPr lang="en-GB"/>
          </a:p>
        </p:txBody>
      </p:sp>
      <p:cxnSp>
        <p:nvCxnSpPr>
          <p:cNvPr id="16" name="Straight Connector 15"/>
          <p:cNvCxnSpPr/>
          <p:nvPr/>
        </p:nvCxnSpPr>
        <p:spPr>
          <a:xfrm>
            <a:off x="646925" y="470735"/>
            <a:ext cx="7855798" cy="0"/>
          </a:xfrm>
          <a:prstGeom prst="line">
            <a:avLst/>
          </a:prstGeom>
          <a:ln w="381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239" y="470734"/>
            <a:ext cx="7872484" cy="698501"/>
          </a:xfrm>
        </p:spPr>
        <p:txBody>
          <a:bodyPr vert="horz" lIns="36000" tIns="0" rIns="36000" bIns="0" rtlCol="0" anchor="ctr">
            <a:normAutofit/>
          </a:bodyPr>
          <a:lstStyle>
            <a:lvl1pPr>
              <a:defRPr lang="en-US" sz="48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>
              <a:spcBef>
                <a:spcPts val="0"/>
              </a:spcBef>
              <a:buFont typeface="Arial" panose="020B0604020202020204" pitchFamily="34" charset="0"/>
            </a:pPr>
            <a:r>
              <a:rPr lang="en-US" dirty="0" smtClean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792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1BB8E27E-B3F0-4911-AD16-18360C43B6F5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4096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FBC9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 noEditPoints="1"/>
          </p:cNvSpPr>
          <p:nvPr/>
        </p:nvSpPr>
        <p:spPr bwMode="auto">
          <a:xfrm>
            <a:off x="4700587" y="-96838"/>
            <a:ext cx="5149850" cy="3983038"/>
          </a:xfrm>
          <a:custGeom>
            <a:avLst/>
            <a:gdLst>
              <a:gd name="T0" fmla="*/ 1980 w 8401"/>
              <a:gd name="T1" fmla="*/ 612 h 6505"/>
              <a:gd name="T2" fmla="*/ 4200 w 8401"/>
              <a:gd name="T3" fmla="*/ 5149 h 6505"/>
              <a:gd name="T4" fmla="*/ 6811 w 8401"/>
              <a:gd name="T5" fmla="*/ 3609 h 6505"/>
              <a:gd name="T6" fmla="*/ 1590 w 8401"/>
              <a:gd name="T7" fmla="*/ 2897 h 6505"/>
              <a:gd name="T8" fmla="*/ 1590 w 8401"/>
              <a:gd name="T9" fmla="*/ 2897 h 6505"/>
              <a:gd name="T10" fmla="*/ 7100 w 8401"/>
              <a:gd name="T11" fmla="*/ 2864 h 6505"/>
              <a:gd name="T12" fmla="*/ 7169 w 8401"/>
              <a:gd name="T13" fmla="*/ 2441 h 6505"/>
              <a:gd name="T14" fmla="*/ 7176 w 8401"/>
              <a:gd name="T15" fmla="*/ 1984 h 6505"/>
              <a:gd name="T16" fmla="*/ 1692 w 8401"/>
              <a:gd name="T17" fmla="*/ 1139 h 6505"/>
              <a:gd name="T18" fmla="*/ 1794 w 8401"/>
              <a:gd name="T19" fmla="*/ 3927 h 6505"/>
              <a:gd name="T20" fmla="*/ 1759 w 8401"/>
              <a:gd name="T21" fmla="*/ 4315 h 6505"/>
              <a:gd name="T22" fmla="*/ 7100 w 8401"/>
              <a:gd name="T23" fmla="*/ 3642 h 6505"/>
              <a:gd name="T24" fmla="*/ 7169 w 8401"/>
              <a:gd name="T25" fmla="*/ 2441 h 6505"/>
              <a:gd name="T26" fmla="*/ 7176 w 8401"/>
              <a:gd name="T27" fmla="*/ 1984 h 6505"/>
              <a:gd name="T28" fmla="*/ 961 w 8401"/>
              <a:gd name="T29" fmla="*/ 1882 h 6505"/>
              <a:gd name="T30" fmla="*/ 1048 w 8401"/>
              <a:gd name="T31" fmla="*/ 1360 h 6505"/>
              <a:gd name="T32" fmla="*/ 4200 w 8401"/>
              <a:gd name="T33" fmla="*/ 5692 h 6505"/>
              <a:gd name="T34" fmla="*/ 6909 w 8401"/>
              <a:gd name="T35" fmla="*/ 4421 h 6505"/>
              <a:gd name="T36" fmla="*/ 1791 w 8401"/>
              <a:gd name="T37" fmla="*/ 4738 h 6505"/>
              <a:gd name="T38" fmla="*/ 1492 w 8401"/>
              <a:gd name="T39" fmla="*/ 4421 h 6505"/>
              <a:gd name="T40" fmla="*/ 1134 w 8401"/>
              <a:gd name="T41" fmla="*/ 3253 h 6505"/>
              <a:gd name="T42" fmla="*/ 1015 w 8401"/>
              <a:gd name="T43" fmla="*/ 2830 h 6505"/>
              <a:gd name="T44" fmla="*/ 954 w 8401"/>
              <a:gd name="T45" fmla="*/ 2371 h 6505"/>
              <a:gd name="T46" fmla="*/ 698 w 8401"/>
              <a:gd name="T47" fmla="*/ 1781 h 6505"/>
              <a:gd name="T48" fmla="*/ 4200 w 8401"/>
              <a:gd name="T49" fmla="*/ 5963 h 6505"/>
              <a:gd name="T50" fmla="*/ 1492 w 8401"/>
              <a:gd name="T51" fmla="*/ 4421 h 6505"/>
              <a:gd name="T52" fmla="*/ 1543 w 8401"/>
              <a:gd name="T53" fmla="*/ 4876 h 6505"/>
              <a:gd name="T54" fmla="*/ 1225 w 8401"/>
              <a:gd name="T55" fmla="*/ 4521 h 6505"/>
              <a:gd name="T56" fmla="*/ 954 w 8401"/>
              <a:gd name="T57" fmla="*/ 4135 h 6505"/>
              <a:gd name="T58" fmla="*/ 7668 w 8401"/>
              <a:gd name="T59" fmla="*/ 2795 h 6505"/>
              <a:gd name="T60" fmla="*/ 452 w 8401"/>
              <a:gd name="T61" fmla="*/ 2761 h 6505"/>
              <a:gd name="T62" fmla="*/ 7949 w 8401"/>
              <a:gd name="T63" fmla="*/ 2761 h 6505"/>
              <a:gd name="T64" fmla="*/ 1543 w 8401"/>
              <a:gd name="T65" fmla="*/ 4876 h 6505"/>
              <a:gd name="T66" fmla="*/ 6858 w 8401"/>
              <a:gd name="T67" fmla="*/ 4876 h 6505"/>
              <a:gd name="T68" fmla="*/ 7176 w 8401"/>
              <a:gd name="T69" fmla="*/ 4521 h 6505"/>
              <a:gd name="T70" fmla="*/ 961 w 8401"/>
              <a:gd name="T71" fmla="*/ 4624 h 6505"/>
              <a:gd name="T72" fmla="*/ 563 w 8401"/>
              <a:gd name="T73" fmla="*/ 3253 h 6505"/>
              <a:gd name="T74" fmla="*/ 7949 w 8401"/>
              <a:gd name="T75" fmla="*/ 3745 h 6505"/>
              <a:gd name="T76" fmla="*/ 452 w 8401"/>
              <a:gd name="T77" fmla="*/ 2761 h 6505"/>
              <a:gd name="T78" fmla="*/ 2163 w 8401"/>
              <a:gd name="T79" fmla="*/ 5686 h 6505"/>
              <a:gd name="T80" fmla="*/ 6238 w 8401"/>
              <a:gd name="T81" fmla="*/ 5686 h 6505"/>
              <a:gd name="T82" fmla="*/ 6709 w 8401"/>
              <a:gd name="T83" fmla="*/ 5367 h 6505"/>
              <a:gd name="T84" fmla="*/ 7105 w 8401"/>
              <a:gd name="T85" fmla="*/ 5012 h 6505"/>
              <a:gd name="T86" fmla="*/ 7721 w 8401"/>
              <a:gd name="T87" fmla="*/ 4201 h 6505"/>
              <a:gd name="T88" fmla="*/ 8228 w 8401"/>
              <a:gd name="T89" fmla="*/ 3779 h 6505"/>
              <a:gd name="T90" fmla="*/ 8228 w 8401"/>
              <a:gd name="T91" fmla="*/ 3779 h 6505"/>
              <a:gd name="T92" fmla="*/ 2633 w 8401"/>
              <a:gd name="T93" fmla="*/ 6212 h 6505"/>
              <a:gd name="T94" fmla="*/ 1469 w 8401"/>
              <a:gd name="T95" fmla="*/ 5537 h 6505"/>
              <a:gd name="T96" fmla="*/ 3929 w 8401"/>
              <a:gd name="T97" fmla="*/ 3253 h 6505"/>
              <a:gd name="T98" fmla="*/ 5014 w 8401"/>
              <a:gd name="T99" fmla="*/ 3253 h 6505"/>
              <a:gd name="T100" fmla="*/ 4200 w 8401"/>
              <a:gd name="T101" fmla="*/ 2168 h 6505"/>
              <a:gd name="T102" fmla="*/ 4200 w 8401"/>
              <a:gd name="T103" fmla="*/ 1897 h 6505"/>
              <a:gd name="T104" fmla="*/ 6607 w 8401"/>
              <a:gd name="T105" fmla="*/ 2579 h 6505"/>
              <a:gd name="T106" fmla="*/ 4200 w 8401"/>
              <a:gd name="T107" fmla="*/ 814 h 6505"/>
              <a:gd name="T108" fmla="*/ 1913 w 8401"/>
              <a:gd name="T109" fmla="*/ 1310 h 6505"/>
              <a:gd name="T110" fmla="*/ 6238 w 8401"/>
              <a:gd name="T111" fmla="*/ 819 h 6505"/>
              <a:gd name="T112" fmla="*/ 1717 w 8401"/>
              <a:gd name="T113" fmla="*/ 3253 h 6505"/>
              <a:gd name="T114" fmla="*/ 1717 w 8401"/>
              <a:gd name="T115" fmla="*/ 3253 h 6505"/>
              <a:gd name="T116" fmla="*/ 6889 w 8401"/>
              <a:gd name="T117" fmla="*/ 2507 h 6505"/>
              <a:gd name="T118" fmla="*/ 1543 w 8401"/>
              <a:gd name="T119" fmla="*/ 1630 h 6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01" h="6505">
                <a:moveTo>
                  <a:pt x="6709" y="1139"/>
                </a:moveTo>
                <a:cubicBezTo>
                  <a:pt x="6560" y="1022"/>
                  <a:pt x="6403" y="915"/>
                  <a:pt x="6238" y="819"/>
                </a:cubicBezTo>
                <a:moveTo>
                  <a:pt x="2163" y="819"/>
                </a:moveTo>
                <a:cubicBezTo>
                  <a:pt x="1998" y="915"/>
                  <a:pt x="1841" y="1022"/>
                  <a:pt x="1692" y="1139"/>
                </a:cubicBezTo>
                <a:moveTo>
                  <a:pt x="1543" y="1630"/>
                </a:moveTo>
                <a:cubicBezTo>
                  <a:pt x="1659" y="1516"/>
                  <a:pt x="1783" y="1409"/>
                  <a:pt x="1913" y="1310"/>
                </a:cubicBezTo>
                <a:moveTo>
                  <a:pt x="2633" y="294"/>
                </a:moveTo>
                <a:cubicBezTo>
                  <a:pt x="2406" y="382"/>
                  <a:pt x="2187" y="488"/>
                  <a:pt x="1980" y="612"/>
                </a:cubicBezTo>
                <a:moveTo>
                  <a:pt x="1692" y="1139"/>
                </a:moveTo>
                <a:cubicBezTo>
                  <a:pt x="1841" y="1022"/>
                  <a:pt x="1998" y="915"/>
                  <a:pt x="2163" y="819"/>
                </a:cubicBezTo>
                <a:moveTo>
                  <a:pt x="6421" y="612"/>
                </a:moveTo>
                <a:cubicBezTo>
                  <a:pt x="6214" y="488"/>
                  <a:pt x="5995" y="382"/>
                  <a:pt x="5768" y="294"/>
                </a:cubicBezTo>
                <a:moveTo>
                  <a:pt x="6238" y="819"/>
                </a:moveTo>
                <a:cubicBezTo>
                  <a:pt x="6403" y="915"/>
                  <a:pt x="6560" y="1022"/>
                  <a:pt x="6709" y="1139"/>
                </a:cubicBezTo>
                <a:moveTo>
                  <a:pt x="1794" y="3927"/>
                </a:moveTo>
                <a:cubicBezTo>
                  <a:pt x="2336" y="4668"/>
                  <a:pt x="3212" y="5149"/>
                  <a:pt x="4200" y="5149"/>
                </a:cubicBezTo>
                <a:cubicBezTo>
                  <a:pt x="5189" y="5149"/>
                  <a:pt x="6065" y="4668"/>
                  <a:pt x="6607" y="3927"/>
                </a:cubicBezTo>
                <a:moveTo>
                  <a:pt x="6519" y="3572"/>
                </a:moveTo>
                <a:cubicBezTo>
                  <a:pt x="6044" y="4355"/>
                  <a:pt x="5183" y="4878"/>
                  <a:pt x="4200" y="4878"/>
                </a:cubicBezTo>
                <a:cubicBezTo>
                  <a:pt x="3218" y="4878"/>
                  <a:pt x="2357" y="4355"/>
                  <a:pt x="1882" y="3572"/>
                </a:cubicBezTo>
                <a:moveTo>
                  <a:pt x="6684" y="3253"/>
                </a:moveTo>
                <a:cubicBezTo>
                  <a:pt x="6636" y="3363"/>
                  <a:pt x="6581" y="3470"/>
                  <a:pt x="6519" y="3572"/>
                </a:cubicBezTo>
                <a:moveTo>
                  <a:pt x="6607" y="3927"/>
                </a:moveTo>
                <a:cubicBezTo>
                  <a:pt x="6682" y="3825"/>
                  <a:pt x="6750" y="3719"/>
                  <a:pt x="6811" y="3609"/>
                </a:cubicBezTo>
                <a:moveTo>
                  <a:pt x="1882" y="3572"/>
                </a:moveTo>
                <a:cubicBezTo>
                  <a:pt x="1820" y="3470"/>
                  <a:pt x="1765" y="3363"/>
                  <a:pt x="1717" y="3253"/>
                </a:cubicBezTo>
                <a:moveTo>
                  <a:pt x="1590" y="3609"/>
                </a:moveTo>
                <a:cubicBezTo>
                  <a:pt x="1651" y="3719"/>
                  <a:pt x="1719" y="3825"/>
                  <a:pt x="1794" y="3927"/>
                </a:cubicBezTo>
                <a:moveTo>
                  <a:pt x="6811" y="3609"/>
                </a:moveTo>
                <a:cubicBezTo>
                  <a:pt x="6874" y="3494"/>
                  <a:pt x="6929" y="3376"/>
                  <a:pt x="6977" y="3253"/>
                </a:cubicBezTo>
                <a:cubicBezTo>
                  <a:pt x="6929" y="3130"/>
                  <a:pt x="6874" y="3011"/>
                  <a:pt x="6811" y="2897"/>
                </a:cubicBezTo>
                <a:moveTo>
                  <a:pt x="1590" y="2897"/>
                </a:moveTo>
                <a:cubicBezTo>
                  <a:pt x="1527" y="3011"/>
                  <a:pt x="1472" y="3130"/>
                  <a:pt x="1424" y="3253"/>
                </a:cubicBezTo>
                <a:cubicBezTo>
                  <a:pt x="1472" y="3376"/>
                  <a:pt x="1527" y="3494"/>
                  <a:pt x="1590" y="3609"/>
                </a:cubicBezTo>
                <a:moveTo>
                  <a:pt x="7100" y="2864"/>
                </a:moveTo>
                <a:cubicBezTo>
                  <a:pt x="7037" y="2740"/>
                  <a:pt x="6967" y="2621"/>
                  <a:pt x="6889" y="2507"/>
                </a:cubicBezTo>
                <a:moveTo>
                  <a:pt x="6811" y="2897"/>
                </a:moveTo>
                <a:cubicBezTo>
                  <a:pt x="6874" y="3011"/>
                  <a:pt x="6929" y="3130"/>
                  <a:pt x="6977" y="3253"/>
                </a:cubicBezTo>
                <a:moveTo>
                  <a:pt x="1424" y="3253"/>
                </a:moveTo>
                <a:cubicBezTo>
                  <a:pt x="1472" y="3130"/>
                  <a:pt x="1527" y="3011"/>
                  <a:pt x="1590" y="2897"/>
                </a:cubicBezTo>
                <a:moveTo>
                  <a:pt x="1512" y="2507"/>
                </a:moveTo>
                <a:cubicBezTo>
                  <a:pt x="1434" y="2621"/>
                  <a:pt x="1364" y="2740"/>
                  <a:pt x="1301" y="2864"/>
                </a:cubicBezTo>
                <a:moveTo>
                  <a:pt x="1492" y="2084"/>
                </a:moveTo>
                <a:cubicBezTo>
                  <a:pt x="1398" y="2197"/>
                  <a:pt x="1311" y="2317"/>
                  <a:pt x="1232" y="2441"/>
                </a:cubicBezTo>
                <a:moveTo>
                  <a:pt x="1301" y="2864"/>
                </a:moveTo>
                <a:cubicBezTo>
                  <a:pt x="1364" y="2740"/>
                  <a:pt x="1434" y="2621"/>
                  <a:pt x="1512" y="2507"/>
                </a:cubicBezTo>
                <a:moveTo>
                  <a:pt x="6889" y="2507"/>
                </a:moveTo>
                <a:cubicBezTo>
                  <a:pt x="6967" y="2621"/>
                  <a:pt x="7037" y="2740"/>
                  <a:pt x="7100" y="2864"/>
                </a:cubicBezTo>
                <a:moveTo>
                  <a:pt x="7169" y="2441"/>
                </a:moveTo>
                <a:cubicBezTo>
                  <a:pt x="7090" y="2317"/>
                  <a:pt x="7003" y="2197"/>
                  <a:pt x="6909" y="2084"/>
                </a:cubicBezTo>
                <a:moveTo>
                  <a:pt x="1543" y="1630"/>
                </a:moveTo>
                <a:cubicBezTo>
                  <a:pt x="1430" y="1741"/>
                  <a:pt x="1323" y="1860"/>
                  <a:pt x="1225" y="1984"/>
                </a:cubicBezTo>
                <a:moveTo>
                  <a:pt x="1232" y="2441"/>
                </a:moveTo>
                <a:cubicBezTo>
                  <a:pt x="1311" y="2317"/>
                  <a:pt x="1398" y="2197"/>
                  <a:pt x="1492" y="2084"/>
                </a:cubicBezTo>
                <a:moveTo>
                  <a:pt x="6909" y="2084"/>
                </a:moveTo>
                <a:cubicBezTo>
                  <a:pt x="7003" y="2197"/>
                  <a:pt x="7090" y="2317"/>
                  <a:pt x="7169" y="2441"/>
                </a:cubicBezTo>
                <a:moveTo>
                  <a:pt x="7176" y="1984"/>
                </a:moveTo>
                <a:cubicBezTo>
                  <a:pt x="7078" y="1860"/>
                  <a:pt x="6971" y="1741"/>
                  <a:pt x="6858" y="1630"/>
                </a:cubicBezTo>
                <a:moveTo>
                  <a:pt x="1225" y="1984"/>
                </a:moveTo>
                <a:cubicBezTo>
                  <a:pt x="1323" y="1860"/>
                  <a:pt x="1430" y="1741"/>
                  <a:pt x="1543" y="1630"/>
                </a:cubicBezTo>
                <a:moveTo>
                  <a:pt x="1692" y="1139"/>
                </a:moveTo>
                <a:cubicBezTo>
                  <a:pt x="1552" y="1249"/>
                  <a:pt x="1420" y="1367"/>
                  <a:pt x="1296" y="1494"/>
                </a:cubicBezTo>
                <a:moveTo>
                  <a:pt x="6858" y="1630"/>
                </a:moveTo>
                <a:cubicBezTo>
                  <a:pt x="6971" y="1741"/>
                  <a:pt x="7078" y="1860"/>
                  <a:pt x="7176" y="1984"/>
                </a:cubicBezTo>
                <a:moveTo>
                  <a:pt x="7105" y="1494"/>
                </a:moveTo>
                <a:cubicBezTo>
                  <a:pt x="6981" y="1367"/>
                  <a:pt x="6849" y="1249"/>
                  <a:pt x="6709" y="1139"/>
                </a:cubicBezTo>
                <a:moveTo>
                  <a:pt x="6932" y="969"/>
                </a:moveTo>
                <a:cubicBezTo>
                  <a:pt x="6770" y="838"/>
                  <a:pt x="6600" y="719"/>
                  <a:pt x="6421" y="612"/>
                </a:cubicBezTo>
                <a:moveTo>
                  <a:pt x="6709" y="1139"/>
                </a:moveTo>
                <a:cubicBezTo>
                  <a:pt x="6849" y="1249"/>
                  <a:pt x="6981" y="1367"/>
                  <a:pt x="7105" y="1494"/>
                </a:cubicBezTo>
                <a:moveTo>
                  <a:pt x="1296" y="1494"/>
                </a:moveTo>
                <a:cubicBezTo>
                  <a:pt x="1420" y="1367"/>
                  <a:pt x="1552" y="1249"/>
                  <a:pt x="1692" y="1139"/>
                </a:cubicBezTo>
                <a:moveTo>
                  <a:pt x="1980" y="612"/>
                </a:moveTo>
                <a:cubicBezTo>
                  <a:pt x="1801" y="719"/>
                  <a:pt x="1630" y="838"/>
                  <a:pt x="1469" y="969"/>
                </a:cubicBezTo>
                <a:moveTo>
                  <a:pt x="1759" y="4315"/>
                </a:moveTo>
                <a:cubicBezTo>
                  <a:pt x="2355" y="4993"/>
                  <a:pt x="3228" y="5420"/>
                  <a:pt x="4200" y="5420"/>
                </a:cubicBezTo>
                <a:cubicBezTo>
                  <a:pt x="5173" y="5420"/>
                  <a:pt x="6046" y="4993"/>
                  <a:pt x="6642" y="4315"/>
                </a:cubicBezTo>
                <a:moveTo>
                  <a:pt x="6607" y="3927"/>
                </a:moveTo>
                <a:cubicBezTo>
                  <a:pt x="6065" y="4668"/>
                  <a:pt x="5189" y="5149"/>
                  <a:pt x="4200" y="5149"/>
                </a:cubicBezTo>
                <a:cubicBezTo>
                  <a:pt x="3212" y="5149"/>
                  <a:pt x="2336" y="4668"/>
                  <a:pt x="1794" y="3927"/>
                </a:cubicBezTo>
                <a:moveTo>
                  <a:pt x="6811" y="3609"/>
                </a:moveTo>
                <a:cubicBezTo>
                  <a:pt x="6750" y="3719"/>
                  <a:pt x="6682" y="3825"/>
                  <a:pt x="6607" y="3927"/>
                </a:cubicBezTo>
                <a:moveTo>
                  <a:pt x="6642" y="4315"/>
                </a:moveTo>
                <a:cubicBezTo>
                  <a:pt x="6731" y="4215"/>
                  <a:pt x="6813" y="4109"/>
                  <a:pt x="6889" y="3998"/>
                </a:cubicBezTo>
                <a:moveTo>
                  <a:pt x="1794" y="3927"/>
                </a:moveTo>
                <a:cubicBezTo>
                  <a:pt x="1719" y="3825"/>
                  <a:pt x="1651" y="3719"/>
                  <a:pt x="1590" y="3609"/>
                </a:cubicBezTo>
                <a:moveTo>
                  <a:pt x="1512" y="3998"/>
                </a:moveTo>
                <a:cubicBezTo>
                  <a:pt x="1588" y="4109"/>
                  <a:pt x="1670" y="4215"/>
                  <a:pt x="1759" y="4315"/>
                </a:cubicBezTo>
                <a:moveTo>
                  <a:pt x="1301" y="3642"/>
                </a:moveTo>
                <a:cubicBezTo>
                  <a:pt x="1364" y="3765"/>
                  <a:pt x="1434" y="3885"/>
                  <a:pt x="1512" y="3998"/>
                </a:cubicBezTo>
                <a:moveTo>
                  <a:pt x="1590" y="3609"/>
                </a:moveTo>
                <a:cubicBezTo>
                  <a:pt x="1527" y="3494"/>
                  <a:pt x="1472" y="3376"/>
                  <a:pt x="1424" y="3253"/>
                </a:cubicBezTo>
                <a:moveTo>
                  <a:pt x="6977" y="3253"/>
                </a:moveTo>
                <a:cubicBezTo>
                  <a:pt x="6929" y="3376"/>
                  <a:pt x="6874" y="3494"/>
                  <a:pt x="6811" y="3609"/>
                </a:cubicBezTo>
                <a:moveTo>
                  <a:pt x="6889" y="3998"/>
                </a:moveTo>
                <a:cubicBezTo>
                  <a:pt x="6967" y="3885"/>
                  <a:pt x="7037" y="3765"/>
                  <a:pt x="7100" y="3642"/>
                </a:cubicBezTo>
                <a:moveTo>
                  <a:pt x="1301" y="2864"/>
                </a:moveTo>
                <a:cubicBezTo>
                  <a:pt x="1237" y="2989"/>
                  <a:pt x="1181" y="3119"/>
                  <a:pt x="1134" y="3253"/>
                </a:cubicBezTo>
                <a:cubicBezTo>
                  <a:pt x="1181" y="3387"/>
                  <a:pt x="1237" y="3517"/>
                  <a:pt x="1301" y="3642"/>
                </a:cubicBezTo>
                <a:moveTo>
                  <a:pt x="7100" y="3642"/>
                </a:moveTo>
                <a:cubicBezTo>
                  <a:pt x="7163" y="3517"/>
                  <a:pt x="7220" y="3387"/>
                  <a:pt x="7267" y="3253"/>
                </a:cubicBezTo>
                <a:cubicBezTo>
                  <a:pt x="7220" y="3119"/>
                  <a:pt x="7163" y="2989"/>
                  <a:pt x="7100" y="2864"/>
                </a:cubicBezTo>
                <a:moveTo>
                  <a:pt x="7386" y="2830"/>
                </a:moveTo>
                <a:cubicBezTo>
                  <a:pt x="7322" y="2695"/>
                  <a:pt x="7249" y="2565"/>
                  <a:pt x="7169" y="2441"/>
                </a:cubicBezTo>
                <a:moveTo>
                  <a:pt x="7100" y="2864"/>
                </a:moveTo>
                <a:cubicBezTo>
                  <a:pt x="7163" y="2989"/>
                  <a:pt x="7220" y="3119"/>
                  <a:pt x="7267" y="3253"/>
                </a:cubicBezTo>
                <a:moveTo>
                  <a:pt x="1134" y="3253"/>
                </a:moveTo>
                <a:cubicBezTo>
                  <a:pt x="1181" y="3119"/>
                  <a:pt x="1237" y="2989"/>
                  <a:pt x="1301" y="2864"/>
                </a:cubicBezTo>
                <a:moveTo>
                  <a:pt x="1232" y="2441"/>
                </a:moveTo>
                <a:cubicBezTo>
                  <a:pt x="1152" y="2565"/>
                  <a:pt x="1079" y="2695"/>
                  <a:pt x="1015" y="2830"/>
                </a:cubicBezTo>
                <a:moveTo>
                  <a:pt x="7447" y="2371"/>
                </a:moveTo>
                <a:cubicBezTo>
                  <a:pt x="7365" y="2236"/>
                  <a:pt x="7274" y="2107"/>
                  <a:pt x="7176" y="1984"/>
                </a:cubicBezTo>
                <a:moveTo>
                  <a:pt x="7169" y="2441"/>
                </a:moveTo>
                <a:cubicBezTo>
                  <a:pt x="7249" y="2565"/>
                  <a:pt x="7322" y="2695"/>
                  <a:pt x="7386" y="2830"/>
                </a:cubicBezTo>
                <a:moveTo>
                  <a:pt x="1225" y="1984"/>
                </a:moveTo>
                <a:cubicBezTo>
                  <a:pt x="1127" y="2107"/>
                  <a:pt x="1036" y="2236"/>
                  <a:pt x="954" y="2371"/>
                </a:cubicBezTo>
                <a:moveTo>
                  <a:pt x="1015" y="2830"/>
                </a:moveTo>
                <a:cubicBezTo>
                  <a:pt x="1079" y="2695"/>
                  <a:pt x="1152" y="2565"/>
                  <a:pt x="1232" y="2441"/>
                </a:cubicBezTo>
                <a:moveTo>
                  <a:pt x="1296" y="1494"/>
                </a:moveTo>
                <a:cubicBezTo>
                  <a:pt x="1176" y="1616"/>
                  <a:pt x="1064" y="1745"/>
                  <a:pt x="961" y="1882"/>
                </a:cubicBezTo>
                <a:moveTo>
                  <a:pt x="954" y="2371"/>
                </a:moveTo>
                <a:cubicBezTo>
                  <a:pt x="1036" y="2236"/>
                  <a:pt x="1127" y="2107"/>
                  <a:pt x="1225" y="1984"/>
                </a:cubicBezTo>
                <a:moveTo>
                  <a:pt x="7176" y="1984"/>
                </a:moveTo>
                <a:cubicBezTo>
                  <a:pt x="7274" y="2107"/>
                  <a:pt x="7365" y="2236"/>
                  <a:pt x="7447" y="2371"/>
                </a:cubicBezTo>
                <a:moveTo>
                  <a:pt x="7440" y="1882"/>
                </a:moveTo>
                <a:cubicBezTo>
                  <a:pt x="7337" y="1745"/>
                  <a:pt x="7225" y="1616"/>
                  <a:pt x="7105" y="1494"/>
                </a:cubicBezTo>
                <a:moveTo>
                  <a:pt x="1469" y="969"/>
                </a:moveTo>
                <a:cubicBezTo>
                  <a:pt x="1320" y="1090"/>
                  <a:pt x="1180" y="1221"/>
                  <a:pt x="1048" y="1360"/>
                </a:cubicBezTo>
                <a:moveTo>
                  <a:pt x="961" y="1882"/>
                </a:moveTo>
                <a:cubicBezTo>
                  <a:pt x="1064" y="1745"/>
                  <a:pt x="1176" y="1616"/>
                  <a:pt x="1296" y="1494"/>
                </a:cubicBezTo>
                <a:moveTo>
                  <a:pt x="7353" y="1360"/>
                </a:moveTo>
                <a:cubicBezTo>
                  <a:pt x="7221" y="1221"/>
                  <a:pt x="7081" y="1090"/>
                  <a:pt x="6932" y="969"/>
                </a:cubicBezTo>
                <a:moveTo>
                  <a:pt x="7105" y="1494"/>
                </a:moveTo>
                <a:cubicBezTo>
                  <a:pt x="7225" y="1616"/>
                  <a:pt x="7337" y="1745"/>
                  <a:pt x="7440" y="1882"/>
                </a:cubicBezTo>
                <a:moveTo>
                  <a:pt x="1791" y="4738"/>
                </a:moveTo>
                <a:cubicBezTo>
                  <a:pt x="2421" y="5329"/>
                  <a:pt x="3268" y="5692"/>
                  <a:pt x="4200" y="5692"/>
                </a:cubicBezTo>
                <a:cubicBezTo>
                  <a:pt x="5133" y="5692"/>
                  <a:pt x="5980" y="5329"/>
                  <a:pt x="6610" y="4738"/>
                </a:cubicBezTo>
                <a:moveTo>
                  <a:pt x="6643" y="4339"/>
                </a:moveTo>
                <a:cubicBezTo>
                  <a:pt x="6643" y="4331"/>
                  <a:pt x="6642" y="4323"/>
                  <a:pt x="6642" y="4315"/>
                </a:cubicBezTo>
                <a:cubicBezTo>
                  <a:pt x="6046" y="4993"/>
                  <a:pt x="5173" y="5420"/>
                  <a:pt x="4200" y="5420"/>
                </a:cubicBezTo>
                <a:cubicBezTo>
                  <a:pt x="3228" y="5420"/>
                  <a:pt x="2355" y="4993"/>
                  <a:pt x="1759" y="4315"/>
                </a:cubicBezTo>
                <a:cubicBezTo>
                  <a:pt x="1759" y="4323"/>
                  <a:pt x="1758" y="4331"/>
                  <a:pt x="1758" y="4339"/>
                </a:cubicBezTo>
                <a:moveTo>
                  <a:pt x="6610" y="4738"/>
                </a:moveTo>
                <a:cubicBezTo>
                  <a:pt x="6716" y="4639"/>
                  <a:pt x="6816" y="4533"/>
                  <a:pt x="6909" y="4421"/>
                </a:cubicBezTo>
                <a:moveTo>
                  <a:pt x="6889" y="3998"/>
                </a:moveTo>
                <a:cubicBezTo>
                  <a:pt x="6813" y="4109"/>
                  <a:pt x="6731" y="4215"/>
                  <a:pt x="6642" y="4315"/>
                </a:cubicBezTo>
                <a:cubicBezTo>
                  <a:pt x="6642" y="4323"/>
                  <a:pt x="6643" y="4331"/>
                  <a:pt x="6643" y="4339"/>
                </a:cubicBezTo>
                <a:moveTo>
                  <a:pt x="1758" y="4339"/>
                </a:moveTo>
                <a:cubicBezTo>
                  <a:pt x="1758" y="4331"/>
                  <a:pt x="1759" y="4323"/>
                  <a:pt x="1759" y="4315"/>
                </a:cubicBezTo>
                <a:cubicBezTo>
                  <a:pt x="1670" y="4215"/>
                  <a:pt x="1588" y="4109"/>
                  <a:pt x="1512" y="3998"/>
                </a:cubicBezTo>
                <a:moveTo>
                  <a:pt x="1492" y="4421"/>
                </a:moveTo>
                <a:cubicBezTo>
                  <a:pt x="1585" y="4533"/>
                  <a:pt x="1685" y="4639"/>
                  <a:pt x="1791" y="4738"/>
                </a:cubicBezTo>
                <a:moveTo>
                  <a:pt x="7100" y="3642"/>
                </a:moveTo>
                <a:cubicBezTo>
                  <a:pt x="7037" y="3765"/>
                  <a:pt x="6967" y="3885"/>
                  <a:pt x="6889" y="3998"/>
                </a:cubicBezTo>
                <a:moveTo>
                  <a:pt x="6909" y="4421"/>
                </a:moveTo>
                <a:cubicBezTo>
                  <a:pt x="7003" y="4308"/>
                  <a:pt x="7090" y="4189"/>
                  <a:pt x="7169" y="4065"/>
                </a:cubicBezTo>
                <a:moveTo>
                  <a:pt x="1512" y="3998"/>
                </a:moveTo>
                <a:cubicBezTo>
                  <a:pt x="1434" y="3885"/>
                  <a:pt x="1364" y="3765"/>
                  <a:pt x="1301" y="3642"/>
                </a:cubicBezTo>
                <a:moveTo>
                  <a:pt x="1232" y="4065"/>
                </a:moveTo>
                <a:cubicBezTo>
                  <a:pt x="1311" y="4189"/>
                  <a:pt x="1398" y="4308"/>
                  <a:pt x="1492" y="4421"/>
                </a:cubicBezTo>
                <a:moveTo>
                  <a:pt x="7267" y="3253"/>
                </a:moveTo>
                <a:cubicBezTo>
                  <a:pt x="7220" y="3387"/>
                  <a:pt x="7163" y="3517"/>
                  <a:pt x="7100" y="3642"/>
                </a:cubicBezTo>
                <a:moveTo>
                  <a:pt x="7169" y="4065"/>
                </a:moveTo>
                <a:cubicBezTo>
                  <a:pt x="7249" y="3940"/>
                  <a:pt x="7322" y="3811"/>
                  <a:pt x="7386" y="3676"/>
                </a:cubicBezTo>
                <a:moveTo>
                  <a:pt x="1015" y="3676"/>
                </a:moveTo>
                <a:cubicBezTo>
                  <a:pt x="1079" y="3811"/>
                  <a:pt x="1152" y="3940"/>
                  <a:pt x="1232" y="4065"/>
                </a:cubicBezTo>
                <a:moveTo>
                  <a:pt x="1301" y="3642"/>
                </a:moveTo>
                <a:cubicBezTo>
                  <a:pt x="1237" y="3517"/>
                  <a:pt x="1181" y="3387"/>
                  <a:pt x="1134" y="3253"/>
                </a:cubicBezTo>
                <a:moveTo>
                  <a:pt x="7386" y="3676"/>
                </a:moveTo>
                <a:cubicBezTo>
                  <a:pt x="7450" y="3540"/>
                  <a:pt x="7506" y="3398"/>
                  <a:pt x="7553" y="3253"/>
                </a:cubicBezTo>
                <a:cubicBezTo>
                  <a:pt x="7506" y="3108"/>
                  <a:pt x="7450" y="2966"/>
                  <a:pt x="7386" y="2830"/>
                </a:cubicBezTo>
                <a:moveTo>
                  <a:pt x="1015" y="2830"/>
                </a:moveTo>
                <a:cubicBezTo>
                  <a:pt x="950" y="2966"/>
                  <a:pt x="895" y="3108"/>
                  <a:pt x="847" y="3253"/>
                </a:cubicBezTo>
                <a:cubicBezTo>
                  <a:pt x="895" y="3398"/>
                  <a:pt x="950" y="3540"/>
                  <a:pt x="1015" y="3676"/>
                </a:cubicBezTo>
                <a:moveTo>
                  <a:pt x="847" y="3253"/>
                </a:moveTo>
                <a:cubicBezTo>
                  <a:pt x="895" y="3108"/>
                  <a:pt x="950" y="2966"/>
                  <a:pt x="1015" y="2830"/>
                </a:cubicBezTo>
                <a:moveTo>
                  <a:pt x="954" y="2371"/>
                </a:moveTo>
                <a:cubicBezTo>
                  <a:pt x="872" y="2507"/>
                  <a:pt x="798" y="2649"/>
                  <a:pt x="733" y="2795"/>
                </a:cubicBezTo>
                <a:moveTo>
                  <a:pt x="7668" y="2795"/>
                </a:moveTo>
                <a:cubicBezTo>
                  <a:pt x="7602" y="2649"/>
                  <a:pt x="7529" y="2507"/>
                  <a:pt x="7447" y="2371"/>
                </a:cubicBezTo>
                <a:moveTo>
                  <a:pt x="7386" y="2830"/>
                </a:moveTo>
                <a:cubicBezTo>
                  <a:pt x="7450" y="2966"/>
                  <a:pt x="7506" y="3108"/>
                  <a:pt x="7553" y="3253"/>
                </a:cubicBezTo>
                <a:moveTo>
                  <a:pt x="733" y="2795"/>
                </a:moveTo>
                <a:cubicBezTo>
                  <a:pt x="798" y="2649"/>
                  <a:pt x="872" y="2507"/>
                  <a:pt x="954" y="2371"/>
                </a:cubicBezTo>
                <a:moveTo>
                  <a:pt x="961" y="1882"/>
                </a:moveTo>
                <a:cubicBezTo>
                  <a:pt x="858" y="2016"/>
                  <a:pt x="765" y="2158"/>
                  <a:pt x="680" y="2305"/>
                </a:cubicBezTo>
                <a:moveTo>
                  <a:pt x="7447" y="2371"/>
                </a:moveTo>
                <a:cubicBezTo>
                  <a:pt x="7529" y="2507"/>
                  <a:pt x="7602" y="2649"/>
                  <a:pt x="7668" y="2795"/>
                </a:cubicBezTo>
                <a:moveTo>
                  <a:pt x="7721" y="2305"/>
                </a:moveTo>
                <a:cubicBezTo>
                  <a:pt x="7636" y="2158"/>
                  <a:pt x="7543" y="2016"/>
                  <a:pt x="7440" y="1882"/>
                </a:cubicBezTo>
                <a:moveTo>
                  <a:pt x="1048" y="1360"/>
                </a:moveTo>
                <a:cubicBezTo>
                  <a:pt x="923" y="1493"/>
                  <a:pt x="805" y="1633"/>
                  <a:pt x="698" y="1781"/>
                </a:cubicBezTo>
                <a:moveTo>
                  <a:pt x="680" y="2305"/>
                </a:moveTo>
                <a:cubicBezTo>
                  <a:pt x="765" y="2158"/>
                  <a:pt x="858" y="2016"/>
                  <a:pt x="961" y="1882"/>
                </a:cubicBezTo>
                <a:moveTo>
                  <a:pt x="7703" y="1781"/>
                </a:moveTo>
                <a:cubicBezTo>
                  <a:pt x="7595" y="1633"/>
                  <a:pt x="7478" y="1493"/>
                  <a:pt x="7353" y="1360"/>
                </a:cubicBezTo>
                <a:moveTo>
                  <a:pt x="7440" y="1882"/>
                </a:moveTo>
                <a:cubicBezTo>
                  <a:pt x="7543" y="2016"/>
                  <a:pt x="7636" y="2158"/>
                  <a:pt x="7721" y="2305"/>
                </a:cubicBezTo>
                <a:moveTo>
                  <a:pt x="1913" y="5196"/>
                </a:moveTo>
                <a:cubicBezTo>
                  <a:pt x="2549" y="5677"/>
                  <a:pt x="3341" y="5963"/>
                  <a:pt x="4200" y="5963"/>
                </a:cubicBezTo>
                <a:cubicBezTo>
                  <a:pt x="5060" y="5963"/>
                  <a:pt x="5852" y="5677"/>
                  <a:pt x="6488" y="5196"/>
                </a:cubicBezTo>
                <a:moveTo>
                  <a:pt x="6610" y="4738"/>
                </a:moveTo>
                <a:cubicBezTo>
                  <a:pt x="5980" y="5329"/>
                  <a:pt x="5133" y="5692"/>
                  <a:pt x="4200" y="5692"/>
                </a:cubicBezTo>
                <a:cubicBezTo>
                  <a:pt x="3268" y="5692"/>
                  <a:pt x="2421" y="5329"/>
                  <a:pt x="1791" y="4738"/>
                </a:cubicBezTo>
                <a:moveTo>
                  <a:pt x="1543" y="4876"/>
                </a:moveTo>
                <a:cubicBezTo>
                  <a:pt x="1659" y="4990"/>
                  <a:pt x="1783" y="5097"/>
                  <a:pt x="1913" y="5196"/>
                </a:cubicBezTo>
                <a:moveTo>
                  <a:pt x="1791" y="4738"/>
                </a:moveTo>
                <a:cubicBezTo>
                  <a:pt x="1685" y="4639"/>
                  <a:pt x="1585" y="4533"/>
                  <a:pt x="1492" y="4421"/>
                </a:cubicBezTo>
                <a:moveTo>
                  <a:pt x="6909" y="4421"/>
                </a:moveTo>
                <a:cubicBezTo>
                  <a:pt x="6816" y="4533"/>
                  <a:pt x="6716" y="4639"/>
                  <a:pt x="6610" y="4738"/>
                </a:cubicBezTo>
                <a:moveTo>
                  <a:pt x="6488" y="5196"/>
                </a:moveTo>
                <a:cubicBezTo>
                  <a:pt x="6618" y="5097"/>
                  <a:pt x="6742" y="4990"/>
                  <a:pt x="6858" y="4876"/>
                </a:cubicBezTo>
                <a:moveTo>
                  <a:pt x="7169" y="4065"/>
                </a:moveTo>
                <a:cubicBezTo>
                  <a:pt x="7090" y="4189"/>
                  <a:pt x="7003" y="4308"/>
                  <a:pt x="6909" y="4421"/>
                </a:cubicBezTo>
                <a:moveTo>
                  <a:pt x="1225" y="4521"/>
                </a:moveTo>
                <a:cubicBezTo>
                  <a:pt x="1323" y="4646"/>
                  <a:pt x="1430" y="4765"/>
                  <a:pt x="1543" y="4876"/>
                </a:cubicBezTo>
                <a:moveTo>
                  <a:pt x="1492" y="4421"/>
                </a:moveTo>
                <a:cubicBezTo>
                  <a:pt x="1398" y="4308"/>
                  <a:pt x="1311" y="4189"/>
                  <a:pt x="1232" y="4065"/>
                </a:cubicBezTo>
                <a:moveTo>
                  <a:pt x="7386" y="3676"/>
                </a:moveTo>
                <a:cubicBezTo>
                  <a:pt x="7322" y="3811"/>
                  <a:pt x="7249" y="3940"/>
                  <a:pt x="7169" y="4065"/>
                </a:cubicBezTo>
                <a:moveTo>
                  <a:pt x="7176" y="4521"/>
                </a:moveTo>
                <a:cubicBezTo>
                  <a:pt x="7274" y="4398"/>
                  <a:pt x="7365" y="4270"/>
                  <a:pt x="7447" y="4135"/>
                </a:cubicBezTo>
                <a:moveTo>
                  <a:pt x="954" y="4135"/>
                </a:moveTo>
                <a:cubicBezTo>
                  <a:pt x="1036" y="4270"/>
                  <a:pt x="1127" y="4398"/>
                  <a:pt x="1225" y="4521"/>
                </a:cubicBezTo>
                <a:moveTo>
                  <a:pt x="1232" y="4065"/>
                </a:moveTo>
                <a:cubicBezTo>
                  <a:pt x="1152" y="3940"/>
                  <a:pt x="1079" y="3811"/>
                  <a:pt x="1015" y="3676"/>
                </a:cubicBezTo>
                <a:moveTo>
                  <a:pt x="7553" y="3253"/>
                </a:moveTo>
                <a:cubicBezTo>
                  <a:pt x="7506" y="3398"/>
                  <a:pt x="7450" y="3540"/>
                  <a:pt x="7386" y="3676"/>
                </a:cubicBezTo>
                <a:moveTo>
                  <a:pt x="7447" y="4135"/>
                </a:moveTo>
                <a:cubicBezTo>
                  <a:pt x="7529" y="3999"/>
                  <a:pt x="7602" y="3857"/>
                  <a:pt x="7668" y="3710"/>
                </a:cubicBezTo>
                <a:moveTo>
                  <a:pt x="733" y="3710"/>
                </a:moveTo>
                <a:cubicBezTo>
                  <a:pt x="798" y="3857"/>
                  <a:pt x="872" y="3999"/>
                  <a:pt x="954" y="4135"/>
                </a:cubicBezTo>
                <a:moveTo>
                  <a:pt x="1015" y="3676"/>
                </a:moveTo>
                <a:cubicBezTo>
                  <a:pt x="950" y="3540"/>
                  <a:pt x="895" y="3398"/>
                  <a:pt x="847" y="3253"/>
                </a:cubicBezTo>
                <a:moveTo>
                  <a:pt x="733" y="2795"/>
                </a:moveTo>
                <a:cubicBezTo>
                  <a:pt x="667" y="2943"/>
                  <a:pt x="610" y="3096"/>
                  <a:pt x="563" y="3253"/>
                </a:cubicBezTo>
                <a:cubicBezTo>
                  <a:pt x="610" y="3410"/>
                  <a:pt x="667" y="3563"/>
                  <a:pt x="733" y="3710"/>
                </a:cubicBezTo>
                <a:moveTo>
                  <a:pt x="7668" y="3710"/>
                </a:moveTo>
                <a:cubicBezTo>
                  <a:pt x="7734" y="3563"/>
                  <a:pt x="7791" y="3410"/>
                  <a:pt x="7837" y="3253"/>
                </a:cubicBezTo>
                <a:cubicBezTo>
                  <a:pt x="7791" y="3096"/>
                  <a:pt x="7734" y="2943"/>
                  <a:pt x="7668" y="2795"/>
                </a:cubicBezTo>
                <a:moveTo>
                  <a:pt x="7949" y="2761"/>
                </a:moveTo>
                <a:cubicBezTo>
                  <a:pt x="7883" y="2603"/>
                  <a:pt x="7806" y="2451"/>
                  <a:pt x="7721" y="2305"/>
                </a:cubicBezTo>
                <a:moveTo>
                  <a:pt x="7668" y="2795"/>
                </a:moveTo>
                <a:cubicBezTo>
                  <a:pt x="7734" y="2943"/>
                  <a:pt x="7791" y="3096"/>
                  <a:pt x="7837" y="3253"/>
                </a:cubicBezTo>
                <a:moveTo>
                  <a:pt x="563" y="3253"/>
                </a:moveTo>
                <a:cubicBezTo>
                  <a:pt x="610" y="3096"/>
                  <a:pt x="667" y="2943"/>
                  <a:pt x="733" y="2795"/>
                </a:cubicBezTo>
                <a:moveTo>
                  <a:pt x="680" y="2305"/>
                </a:moveTo>
                <a:cubicBezTo>
                  <a:pt x="595" y="2451"/>
                  <a:pt x="518" y="2603"/>
                  <a:pt x="452" y="2761"/>
                </a:cubicBezTo>
                <a:moveTo>
                  <a:pt x="698" y="1781"/>
                </a:moveTo>
                <a:cubicBezTo>
                  <a:pt x="592" y="1926"/>
                  <a:pt x="494" y="2078"/>
                  <a:pt x="407" y="2235"/>
                </a:cubicBezTo>
                <a:moveTo>
                  <a:pt x="452" y="2761"/>
                </a:moveTo>
                <a:cubicBezTo>
                  <a:pt x="518" y="2603"/>
                  <a:pt x="595" y="2451"/>
                  <a:pt x="680" y="2305"/>
                </a:cubicBezTo>
                <a:moveTo>
                  <a:pt x="7994" y="2235"/>
                </a:moveTo>
                <a:cubicBezTo>
                  <a:pt x="7907" y="2078"/>
                  <a:pt x="7809" y="1926"/>
                  <a:pt x="7703" y="1781"/>
                </a:cubicBezTo>
                <a:moveTo>
                  <a:pt x="7721" y="2305"/>
                </a:moveTo>
                <a:cubicBezTo>
                  <a:pt x="7806" y="2451"/>
                  <a:pt x="7883" y="2603"/>
                  <a:pt x="7949" y="2761"/>
                </a:cubicBezTo>
                <a:moveTo>
                  <a:pt x="2163" y="5686"/>
                </a:moveTo>
                <a:cubicBezTo>
                  <a:pt x="2763" y="6034"/>
                  <a:pt x="3458" y="6234"/>
                  <a:pt x="4200" y="6234"/>
                </a:cubicBezTo>
                <a:cubicBezTo>
                  <a:pt x="4943" y="6234"/>
                  <a:pt x="5638" y="6034"/>
                  <a:pt x="6238" y="5686"/>
                </a:cubicBezTo>
                <a:moveTo>
                  <a:pt x="6488" y="5196"/>
                </a:moveTo>
                <a:cubicBezTo>
                  <a:pt x="5852" y="5677"/>
                  <a:pt x="5060" y="5963"/>
                  <a:pt x="4200" y="5963"/>
                </a:cubicBezTo>
                <a:cubicBezTo>
                  <a:pt x="3341" y="5963"/>
                  <a:pt x="2549" y="5677"/>
                  <a:pt x="1913" y="5196"/>
                </a:cubicBezTo>
                <a:moveTo>
                  <a:pt x="1913" y="5196"/>
                </a:moveTo>
                <a:cubicBezTo>
                  <a:pt x="1783" y="5097"/>
                  <a:pt x="1659" y="4990"/>
                  <a:pt x="1543" y="4876"/>
                </a:cubicBezTo>
                <a:moveTo>
                  <a:pt x="1692" y="5367"/>
                </a:moveTo>
                <a:cubicBezTo>
                  <a:pt x="1841" y="5484"/>
                  <a:pt x="1998" y="5591"/>
                  <a:pt x="2163" y="5686"/>
                </a:cubicBezTo>
                <a:moveTo>
                  <a:pt x="6858" y="4876"/>
                </a:moveTo>
                <a:cubicBezTo>
                  <a:pt x="6742" y="4990"/>
                  <a:pt x="6618" y="5097"/>
                  <a:pt x="6488" y="5196"/>
                </a:cubicBezTo>
                <a:moveTo>
                  <a:pt x="6238" y="5686"/>
                </a:moveTo>
                <a:cubicBezTo>
                  <a:pt x="6403" y="5591"/>
                  <a:pt x="6560" y="5484"/>
                  <a:pt x="6709" y="5367"/>
                </a:cubicBezTo>
                <a:moveTo>
                  <a:pt x="7176" y="4521"/>
                </a:moveTo>
                <a:cubicBezTo>
                  <a:pt x="7078" y="4646"/>
                  <a:pt x="6971" y="4765"/>
                  <a:pt x="6858" y="4876"/>
                </a:cubicBezTo>
                <a:moveTo>
                  <a:pt x="6709" y="5367"/>
                </a:moveTo>
                <a:cubicBezTo>
                  <a:pt x="6849" y="5257"/>
                  <a:pt x="6981" y="5139"/>
                  <a:pt x="7105" y="5012"/>
                </a:cubicBezTo>
                <a:moveTo>
                  <a:pt x="1543" y="4876"/>
                </a:moveTo>
                <a:cubicBezTo>
                  <a:pt x="1430" y="4765"/>
                  <a:pt x="1323" y="4646"/>
                  <a:pt x="1225" y="4521"/>
                </a:cubicBezTo>
                <a:moveTo>
                  <a:pt x="1296" y="5012"/>
                </a:moveTo>
                <a:cubicBezTo>
                  <a:pt x="1420" y="5139"/>
                  <a:pt x="1552" y="5257"/>
                  <a:pt x="1692" y="5367"/>
                </a:cubicBezTo>
                <a:moveTo>
                  <a:pt x="7447" y="4135"/>
                </a:moveTo>
                <a:cubicBezTo>
                  <a:pt x="7365" y="4270"/>
                  <a:pt x="7274" y="4398"/>
                  <a:pt x="7176" y="4521"/>
                </a:cubicBezTo>
                <a:moveTo>
                  <a:pt x="7105" y="5012"/>
                </a:moveTo>
                <a:cubicBezTo>
                  <a:pt x="7225" y="4890"/>
                  <a:pt x="7337" y="4761"/>
                  <a:pt x="7440" y="4624"/>
                </a:cubicBezTo>
                <a:moveTo>
                  <a:pt x="961" y="4624"/>
                </a:moveTo>
                <a:cubicBezTo>
                  <a:pt x="1064" y="4761"/>
                  <a:pt x="1176" y="4890"/>
                  <a:pt x="1296" y="5012"/>
                </a:cubicBezTo>
                <a:moveTo>
                  <a:pt x="954" y="4135"/>
                </a:moveTo>
                <a:cubicBezTo>
                  <a:pt x="872" y="3999"/>
                  <a:pt x="798" y="3857"/>
                  <a:pt x="733" y="3710"/>
                </a:cubicBezTo>
                <a:moveTo>
                  <a:pt x="680" y="4201"/>
                </a:moveTo>
                <a:cubicBezTo>
                  <a:pt x="765" y="4348"/>
                  <a:pt x="858" y="4490"/>
                  <a:pt x="961" y="4624"/>
                </a:cubicBezTo>
                <a:moveTo>
                  <a:pt x="7668" y="3710"/>
                </a:moveTo>
                <a:cubicBezTo>
                  <a:pt x="7602" y="3857"/>
                  <a:pt x="7529" y="3999"/>
                  <a:pt x="7447" y="4135"/>
                </a:cubicBezTo>
                <a:moveTo>
                  <a:pt x="7440" y="4624"/>
                </a:moveTo>
                <a:cubicBezTo>
                  <a:pt x="7543" y="4490"/>
                  <a:pt x="7636" y="4348"/>
                  <a:pt x="7721" y="4201"/>
                </a:cubicBezTo>
                <a:moveTo>
                  <a:pt x="452" y="3745"/>
                </a:moveTo>
                <a:cubicBezTo>
                  <a:pt x="518" y="3903"/>
                  <a:pt x="595" y="4055"/>
                  <a:pt x="680" y="4201"/>
                </a:cubicBezTo>
                <a:moveTo>
                  <a:pt x="733" y="3710"/>
                </a:moveTo>
                <a:cubicBezTo>
                  <a:pt x="667" y="3563"/>
                  <a:pt x="610" y="3410"/>
                  <a:pt x="563" y="3253"/>
                </a:cubicBezTo>
                <a:moveTo>
                  <a:pt x="7837" y="3253"/>
                </a:moveTo>
                <a:cubicBezTo>
                  <a:pt x="7791" y="3410"/>
                  <a:pt x="7734" y="3563"/>
                  <a:pt x="7668" y="3710"/>
                </a:cubicBezTo>
                <a:moveTo>
                  <a:pt x="7721" y="4201"/>
                </a:moveTo>
                <a:cubicBezTo>
                  <a:pt x="7806" y="4055"/>
                  <a:pt x="7883" y="3903"/>
                  <a:pt x="7949" y="3745"/>
                </a:cubicBezTo>
                <a:moveTo>
                  <a:pt x="452" y="2761"/>
                </a:moveTo>
                <a:cubicBezTo>
                  <a:pt x="384" y="2920"/>
                  <a:pt x="328" y="3084"/>
                  <a:pt x="282" y="3253"/>
                </a:cubicBezTo>
                <a:cubicBezTo>
                  <a:pt x="328" y="3422"/>
                  <a:pt x="384" y="3586"/>
                  <a:pt x="452" y="3745"/>
                </a:cubicBezTo>
                <a:moveTo>
                  <a:pt x="7949" y="3745"/>
                </a:moveTo>
                <a:cubicBezTo>
                  <a:pt x="8016" y="3586"/>
                  <a:pt x="8073" y="3422"/>
                  <a:pt x="8119" y="3253"/>
                </a:cubicBezTo>
                <a:cubicBezTo>
                  <a:pt x="8073" y="3084"/>
                  <a:pt x="8016" y="2920"/>
                  <a:pt x="7949" y="2761"/>
                </a:cubicBezTo>
                <a:moveTo>
                  <a:pt x="8228" y="2727"/>
                </a:moveTo>
                <a:cubicBezTo>
                  <a:pt x="8160" y="2558"/>
                  <a:pt x="8082" y="2393"/>
                  <a:pt x="7994" y="2235"/>
                </a:cubicBezTo>
                <a:moveTo>
                  <a:pt x="7949" y="2761"/>
                </a:moveTo>
                <a:cubicBezTo>
                  <a:pt x="8016" y="2920"/>
                  <a:pt x="8073" y="3084"/>
                  <a:pt x="8119" y="3253"/>
                </a:cubicBezTo>
                <a:moveTo>
                  <a:pt x="282" y="3253"/>
                </a:moveTo>
                <a:cubicBezTo>
                  <a:pt x="328" y="3084"/>
                  <a:pt x="384" y="2920"/>
                  <a:pt x="452" y="2761"/>
                </a:cubicBezTo>
                <a:moveTo>
                  <a:pt x="407" y="2235"/>
                </a:moveTo>
                <a:cubicBezTo>
                  <a:pt x="319" y="2393"/>
                  <a:pt x="241" y="2558"/>
                  <a:pt x="173" y="2727"/>
                </a:cubicBezTo>
                <a:moveTo>
                  <a:pt x="2633" y="6212"/>
                </a:moveTo>
                <a:cubicBezTo>
                  <a:pt x="3119" y="6401"/>
                  <a:pt x="3647" y="6505"/>
                  <a:pt x="4200" y="6505"/>
                </a:cubicBezTo>
                <a:cubicBezTo>
                  <a:pt x="4753" y="6505"/>
                  <a:pt x="5282" y="6401"/>
                  <a:pt x="5768" y="6212"/>
                </a:cubicBezTo>
                <a:moveTo>
                  <a:pt x="6238" y="5686"/>
                </a:moveTo>
                <a:cubicBezTo>
                  <a:pt x="5638" y="6034"/>
                  <a:pt x="4943" y="6234"/>
                  <a:pt x="4200" y="6234"/>
                </a:cubicBezTo>
                <a:cubicBezTo>
                  <a:pt x="3458" y="6234"/>
                  <a:pt x="2763" y="6034"/>
                  <a:pt x="2163" y="5686"/>
                </a:cubicBezTo>
                <a:moveTo>
                  <a:pt x="1980" y="5894"/>
                </a:moveTo>
                <a:cubicBezTo>
                  <a:pt x="2187" y="6018"/>
                  <a:pt x="2406" y="6124"/>
                  <a:pt x="2633" y="6212"/>
                </a:cubicBezTo>
                <a:moveTo>
                  <a:pt x="2163" y="5686"/>
                </a:moveTo>
                <a:cubicBezTo>
                  <a:pt x="1998" y="5591"/>
                  <a:pt x="1841" y="5484"/>
                  <a:pt x="1692" y="5367"/>
                </a:cubicBezTo>
                <a:moveTo>
                  <a:pt x="5768" y="6212"/>
                </a:moveTo>
                <a:cubicBezTo>
                  <a:pt x="5995" y="6124"/>
                  <a:pt x="6214" y="6018"/>
                  <a:pt x="6421" y="5894"/>
                </a:cubicBezTo>
                <a:moveTo>
                  <a:pt x="6709" y="5367"/>
                </a:moveTo>
                <a:cubicBezTo>
                  <a:pt x="6560" y="5484"/>
                  <a:pt x="6403" y="5591"/>
                  <a:pt x="6238" y="5686"/>
                </a:cubicBezTo>
                <a:moveTo>
                  <a:pt x="1469" y="5537"/>
                </a:moveTo>
                <a:cubicBezTo>
                  <a:pt x="1630" y="5668"/>
                  <a:pt x="1801" y="5787"/>
                  <a:pt x="1980" y="5894"/>
                </a:cubicBezTo>
                <a:moveTo>
                  <a:pt x="1692" y="5367"/>
                </a:moveTo>
                <a:cubicBezTo>
                  <a:pt x="1552" y="5257"/>
                  <a:pt x="1420" y="5139"/>
                  <a:pt x="1296" y="5012"/>
                </a:cubicBezTo>
                <a:moveTo>
                  <a:pt x="6421" y="5894"/>
                </a:moveTo>
                <a:cubicBezTo>
                  <a:pt x="6600" y="5787"/>
                  <a:pt x="6770" y="5668"/>
                  <a:pt x="6932" y="5537"/>
                </a:cubicBezTo>
                <a:moveTo>
                  <a:pt x="7105" y="5012"/>
                </a:moveTo>
                <a:cubicBezTo>
                  <a:pt x="6981" y="5139"/>
                  <a:pt x="6849" y="5257"/>
                  <a:pt x="6709" y="5367"/>
                </a:cubicBezTo>
                <a:moveTo>
                  <a:pt x="1048" y="5145"/>
                </a:moveTo>
                <a:cubicBezTo>
                  <a:pt x="1180" y="5285"/>
                  <a:pt x="1320" y="5416"/>
                  <a:pt x="1469" y="5537"/>
                </a:cubicBezTo>
                <a:moveTo>
                  <a:pt x="1296" y="5012"/>
                </a:moveTo>
                <a:cubicBezTo>
                  <a:pt x="1176" y="4890"/>
                  <a:pt x="1064" y="4761"/>
                  <a:pt x="961" y="4624"/>
                </a:cubicBezTo>
                <a:moveTo>
                  <a:pt x="6932" y="5537"/>
                </a:moveTo>
                <a:cubicBezTo>
                  <a:pt x="7081" y="5416"/>
                  <a:pt x="7221" y="5285"/>
                  <a:pt x="7353" y="5145"/>
                </a:cubicBezTo>
                <a:moveTo>
                  <a:pt x="7440" y="4624"/>
                </a:moveTo>
                <a:cubicBezTo>
                  <a:pt x="7337" y="4761"/>
                  <a:pt x="7225" y="4890"/>
                  <a:pt x="7105" y="5012"/>
                </a:cubicBezTo>
                <a:moveTo>
                  <a:pt x="7353" y="5145"/>
                </a:moveTo>
                <a:cubicBezTo>
                  <a:pt x="7478" y="5013"/>
                  <a:pt x="7595" y="4872"/>
                  <a:pt x="7703" y="4725"/>
                </a:cubicBezTo>
                <a:moveTo>
                  <a:pt x="7721" y="4201"/>
                </a:moveTo>
                <a:cubicBezTo>
                  <a:pt x="7636" y="4348"/>
                  <a:pt x="7543" y="4490"/>
                  <a:pt x="7440" y="4624"/>
                </a:cubicBezTo>
                <a:moveTo>
                  <a:pt x="7703" y="4725"/>
                </a:moveTo>
                <a:cubicBezTo>
                  <a:pt x="7809" y="4580"/>
                  <a:pt x="7907" y="4428"/>
                  <a:pt x="7994" y="4270"/>
                </a:cubicBezTo>
                <a:moveTo>
                  <a:pt x="7949" y="3745"/>
                </a:moveTo>
                <a:cubicBezTo>
                  <a:pt x="7883" y="3903"/>
                  <a:pt x="7806" y="4055"/>
                  <a:pt x="7721" y="4201"/>
                </a:cubicBezTo>
                <a:moveTo>
                  <a:pt x="407" y="4270"/>
                </a:moveTo>
                <a:cubicBezTo>
                  <a:pt x="494" y="4428"/>
                  <a:pt x="592" y="4580"/>
                  <a:pt x="698" y="4725"/>
                </a:cubicBezTo>
                <a:moveTo>
                  <a:pt x="680" y="4201"/>
                </a:moveTo>
                <a:cubicBezTo>
                  <a:pt x="595" y="4055"/>
                  <a:pt x="518" y="3903"/>
                  <a:pt x="452" y="3745"/>
                </a:cubicBezTo>
                <a:moveTo>
                  <a:pt x="8119" y="3253"/>
                </a:moveTo>
                <a:cubicBezTo>
                  <a:pt x="8073" y="3422"/>
                  <a:pt x="8016" y="3586"/>
                  <a:pt x="7949" y="3745"/>
                </a:cubicBezTo>
                <a:moveTo>
                  <a:pt x="7994" y="4270"/>
                </a:moveTo>
                <a:cubicBezTo>
                  <a:pt x="8082" y="4112"/>
                  <a:pt x="8160" y="3948"/>
                  <a:pt x="8228" y="3779"/>
                </a:cubicBezTo>
                <a:moveTo>
                  <a:pt x="173" y="3779"/>
                </a:moveTo>
                <a:cubicBezTo>
                  <a:pt x="241" y="3948"/>
                  <a:pt x="319" y="4112"/>
                  <a:pt x="407" y="4270"/>
                </a:cubicBezTo>
                <a:moveTo>
                  <a:pt x="452" y="3745"/>
                </a:moveTo>
                <a:cubicBezTo>
                  <a:pt x="384" y="3586"/>
                  <a:pt x="328" y="3422"/>
                  <a:pt x="282" y="3253"/>
                </a:cubicBezTo>
                <a:moveTo>
                  <a:pt x="173" y="2727"/>
                </a:moveTo>
                <a:cubicBezTo>
                  <a:pt x="105" y="2898"/>
                  <a:pt x="46" y="3073"/>
                  <a:pt x="0" y="3253"/>
                </a:cubicBezTo>
                <a:cubicBezTo>
                  <a:pt x="46" y="3433"/>
                  <a:pt x="105" y="3608"/>
                  <a:pt x="173" y="3779"/>
                </a:cubicBezTo>
                <a:moveTo>
                  <a:pt x="8228" y="3779"/>
                </a:moveTo>
                <a:cubicBezTo>
                  <a:pt x="8296" y="3608"/>
                  <a:pt x="8355" y="3433"/>
                  <a:pt x="8401" y="3253"/>
                </a:cubicBezTo>
                <a:cubicBezTo>
                  <a:pt x="8355" y="3073"/>
                  <a:pt x="8296" y="2898"/>
                  <a:pt x="8228" y="2727"/>
                </a:cubicBezTo>
                <a:moveTo>
                  <a:pt x="5768" y="6212"/>
                </a:moveTo>
                <a:cubicBezTo>
                  <a:pt x="5282" y="6401"/>
                  <a:pt x="4753" y="6505"/>
                  <a:pt x="4200" y="6505"/>
                </a:cubicBezTo>
                <a:cubicBezTo>
                  <a:pt x="3647" y="6505"/>
                  <a:pt x="3119" y="6401"/>
                  <a:pt x="2633" y="6212"/>
                </a:cubicBezTo>
                <a:moveTo>
                  <a:pt x="6421" y="5894"/>
                </a:moveTo>
                <a:cubicBezTo>
                  <a:pt x="6214" y="6018"/>
                  <a:pt x="5995" y="6124"/>
                  <a:pt x="5768" y="6212"/>
                </a:cubicBezTo>
                <a:moveTo>
                  <a:pt x="2633" y="6212"/>
                </a:moveTo>
                <a:cubicBezTo>
                  <a:pt x="2406" y="6124"/>
                  <a:pt x="2187" y="6018"/>
                  <a:pt x="1980" y="5894"/>
                </a:cubicBezTo>
                <a:moveTo>
                  <a:pt x="6932" y="5537"/>
                </a:moveTo>
                <a:cubicBezTo>
                  <a:pt x="6770" y="5668"/>
                  <a:pt x="6600" y="5787"/>
                  <a:pt x="6421" y="5894"/>
                </a:cubicBezTo>
                <a:moveTo>
                  <a:pt x="1980" y="5894"/>
                </a:moveTo>
                <a:cubicBezTo>
                  <a:pt x="1801" y="5787"/>
                  <a:pt x="1630" y="5668"/>
                  <a:pt x="1469" y="5537"/>
                </a:cubicBezTo>
                <a:moveTo>
                  <a:pt x="7353" y="5145"/>
                </a:moveTo>
                <a:cubicBezTo>
                  <a:pt x="7221" y="5285"/>
                  <a:pt x="7081" y="5416"/>
                  <a:pt x="6932" y="5537"/>
                </a:cubicBezTo>
                <a:moveTo>
                  <a:pt x="1469" y="5537"/>
                </a:moveTo>
                <a:cubicBezTo>
                  <a:pt x="1320" y="5416"/>
                  <a:pt x="1180" y="5285"/>
                  <a:pt x="1048" y="5145"/>
                </a:cubicBezTo>
                <a:moveTo>
                  <a:pt x="7703" y="4725"/>
                </a:moveTo>
                <a:cubicBezTo>
                  <a:pt x="7595" y="4872"/>
                  <a:pt x="7478" y="5013"/>
                  <a:pt x="7353" y="5145"/>
                </a:cubicBezTo>
                <a:moveTo>
                  <a:pt x="1048" y="5145"/>
                </a:moveTo>
                <a:cubicBezTo>
                  <a:pt x="923" y="5013"/>
                  <a:pt x="805" y="4872"/>
                  <a:pt x="698" y="4725"/>
                </a:cubicBezTo>
                <a:moveTo>
                  <a:pt x="4472" y="3253"/>
                </a:moveTo>
                <a:cubicBezTo>
                  <a:pt x="4472" y="3403"/>
                  <a:pt x="4350" y="3524"/>
                  <a:pt x="4200" y="3524"/>
                </a:cubicBezTo>
                <a:cubicBezTo>
                  <a:pt x="4051" y="3524"/>
                  <a:pt x="3929" y="3403"/>
                  <a:pt x="3929" y="3253"/>
                </a:cubicBezTo>
                <a:cubicBezTo>
                  <a:pt x="3929" y="3103"/>
                  <a:pt x="4051" y="2982"/>
                  <a:pt x="4200" y="2982"/>
                </a:cubicBezTo>
                <a:cubicBezTo>
                  <a:pt x="4350" y="2982"/>
                  <a:pt x="4472" y="3103"/>
                  <a:pt x="4472" y="3253"/>
                </a:cubicBezTo>
                <a:close/>
                <a:moveTo>
                  <a:pt x="4743" y="3253"/>
                </a:moveTo>
                <a:cubicBezTo>
                  <a:pt x="4743" y="3553"/>
                  <a:pt x="4500" y="3795"/>
                  <a:pt x="4200" y="3795"/>
                </a:cubicBezTo>
                <a:cubicBezTo>
                  <a:pt x="3901" y="3795"/>
                  <a:pt x="3658" y="3553"/>
                  <a:pt x="3658" y="3253"/>
                </a:cubicBezTo>
                <a:cubicBezTo>
                  <a:pt x="3658" y="2953"/>
                  <a:pt x="3901" y="2710"/>
                  <a:pt x="4200" y="2710"/>
                </a:cubicBezTo>
                <a:cubicBezTo>
                  <a:pt x="4500" y="2710"/>
                  <a:pt x="4743" y="2953"/>
                  <a:pt x="4743" y="3253"/>
                </a:cubicBezTo>
                <a:close/>
                <a:moveTo>
                  <a:pt x="5014" y="3253"/>
                </a:moveTo>
                <a:cubicBezTo>
                  <a:pt x="5014" y="3702"/>
                  <a:pt x="4650" y="4067"/>
                  <a:pt x="4200" y="4067"/>
                </a:cubicBezTo>
                <a:cubicBezTo>
                  <a:pt x="3751" y="4067"/>
                  <a:pt x="3387" y="3702"/>
                  <a:pt x="3387" y="3253"/>
                </a:cubicBezTo>
                <a:cubicBezTo>
                  <a:pt x="3387" y="2803"/>
                  <a:pt x="3751" y="2439"/>
                  <a:pt x="4200" y="2439"/>
                </a:cubicBezTo>
                <a:cubicBezTo>
                  <a:pt x="4650" y="2439"/>
                  <a:pt x="5014" y="2803"/>
                  <a:pt x="5014" y="3253"/>
                </a:cubicBezTo>
                <a:close/>
                <a:moveTo>
                  <a:pt x="5285" y="3253"/>
                </a:moveTo>
                <a:cubicBezTo>
                  <a:pt x="5285" y="3852"/>
                  <a:pt x="4800" y="4338"/>
                  <a:pt x="4200" y="4338"/>
                </a:cubicBezTo>
                <a:cubicBezTo>
                  <a:pt x="3601" y="4338"/>
                  <a:pt x="3116" y="3852"/>
                  <a:pt x="3116" y="3253"/>
                </a:cubicBezTo>
                <a:cubicBezTo>
                  <a:pt x="3116" y="2654"/>
                  <a:pt x="3601" y="2168"/>
                  <a:pt x="4200" y="2168"/>
                </a:cubicBezTo>
                <a:cubicBezTo>
                  <a:pt x="4800" y="2168"/>
                  <a:pt x="5285" y="2654"/>
                  <a:pt x="5285" y="3253"/>
                </a:cubicBezTo>
                <a:close/>
                <a:moveTo>
                  <a:pt x="4200" y="4609"/>
                </a:moveTo>
                <a:cubicBezTo>
                  <a:pt x="5159" y="4609"/>
                  <a:pt x="5988" y="4057"/>
                  <a:pt x="6388" y="3253"/>
                </a:cubicBezTo>
                <a:cubicBezTo>
                  <a:pt x="5988" y="2449"/>
                  <a:pt x="5159" y="1897"/>
                  <a:pt x="4200" y="1897"/>
                </a:cubicBezTo>
                <a:cubicBezTo>
                  <a:pt x="3242" y="1897"/>
                  <a:pt x="2413" y="2449"/>
                  <a:pt x="2013" y="3253"/>
                </a:cubicBezTo>
                <a:cubicBezTo>
                  <a:pt x="2413" y="4057"/>
                  <a:pt x="3242" y="4609"/>
                  <a:pt x="4200" y="4609"/>
                </a:cubicBezTo>
                <a:close/>
                <a:moveTo>
                  <a:pt x="2013" y="3253"/>
                </a:moveTo>
                <a:cubicBezTo>
                  <a:pt x="2413" y="2449"/>
                  <a:pt x="3242" y="1897"/>
                  <a:pt x="4200" y="1897"/>
                </a:cubicBezTo>
                <a:cubicBezTo>
                  <a:pt x="5159" y="1897"/>
                  <a:pt x="5988" y="2449"/>
                  <a:pt x="6388" y="3253"/>
                </a:cubicBezTo>
                <a:moveTo>
                  <a:pt x="6519" y="2934"/>
                </a:moveTo>
                <a:cubicBezTo>
                  <a:pt x="6044" y="2151"/>
                  <a:pt x="5183" y="1628"/>
                  <a:pt x="4200" y="1628"/>
                </a:cubicBezTo>
                <a:cubicBezTo>
                  <a:pt x="3218" y="1628"/>
                  <a:pt x="2357" y="2151"/>
                  <a:pt x="1882" y="2934"/>
                </a:cubicBezTo>
                <a:moveTo>
                  <a:pt x="1882" y="2934"/>
                </a:moveTo>
                <a:cubicBezTo>
                  <a:pt x="2357" y="2151"/>
                  <a:pt x="3218" y="1628"/>
                  <a:pt x="4200" y="1628"/>
                </a:cubicBezTo>
                <a:cubicBezTo>
                  <a:pt x="5183" y="1628"/>
                  <a:pt x="6044" y="2151"/>
                  <a:pt x="6519" y="2934"/>
                </a:cubicBezTo>
                <a:moveTo>
                  <a:pt x="6607" y="2579"/>
                </a:moveTo>
                <a:cubicBezTo>
                  <a:pt x="6065" y="1838"/>
                  <a:pt x="5189" y="1357"/>
                  <a:pt x="4200" y="1357"/>
                </a:cubicBezTo>
                <a:cubicBezTo>
                  <a:pt x="3212" y="1357"/>
                  <a:pt x="2336" y="1838"/>
                  <a:pt x="1794" y="2579"/>
                </a:cubicBezTo>
                <a:moveTo>
                  <a:pt x="1758" y="2166"/>
                </a:moveTo>
                <a:cubicBezTo>
                  <a:pt x="1758" y="2174"/>
                  <a:pt x="1759" y="2182"/>
                  <a:pt x="1759" y="2190"/>
                </a:cubicBezTo>
                <a:cubicBezTo>
                  <a:pt x="2355" y="1513"/>
                  <a:pt x="3228" y="1085"/>
                  <a:pt x="4200" y="1085"/>
                </a:cubicBezTo>
                <a:cubicBezTo>
                  <a:pt x="5173" y="1085"/>
                  <a:pt x="6046" y="1513"/>
                  <a:pt x="6642" y="2190"/>
                </a:cubicBezTo>
                <a:moveTo>
                  <a:pt x="6610" y="1768"/>
                </a:moveTo>
                <a:cubicBezTo>
                  <a:pt x="5980" y="1177"/>
                  <a:pt x="5133" y="814"/>
                  <a:pt x="4200" y="814"/>
                </a:cubicBezTo>
                <a:cubicBezTo>
                  <a:pt x="3268" y="814"/>
                  <a:pt x="2421" y="1177"/>
                  <a:pt x="1791" y="1768"/>
                </a:cubicBezTo>
                <a:moveTo>
                  <a:pt x="1791" y="1768"/>
                </a:moveTo>
                <a:cubicBezTo>
                  <a:pt x="2421" y="1177"/>
                  <a:pt x="3268" y="814"/>
                  <a:pt x="4200" y="814"/>
                </a:cubicBezTo>
                <a:cubicBezTo>
                  <a:pt x="5133" y="814"/>
                  <a:pt x="5980" y="1177"/>
                  <a:pt x="6610" y="1768"/>
                </a:cubicBezTo>
                <a:moveTo>
                  <a:pt x="6488" y="1310"/>
                </a:moveTo>
                <a:cubicBezTo>
                  <a:pt x="5852" y="829"/>
                  <a:pt x="5060" y="543"/>
                  <a:pt x="4200" y="543"/>
                </a:cubicBezTo>
                <a:cubicBezTo>
                  <a:pt x="3341" y="543"/>
                  <a:pt x="2549" y="829"/>
                  <a:pt x="1913" y="1310"/>
                </a:cubicBezTo>
                <a:moveTo>
                  <a:pt x="1913" y="1310"/>
                </a:moveTo>
                <a:cubicBezTo>
                  <a:pt x="2549" y="829"/>
                  <a:pt x="3341" y="543"/>
                  <a:pt x="4200" y="543"/>
                </a:cubicBezTo>
                <a:cubicBezTo>
                  <a:pt x="5060" y="543"/>
                  <a:pt x="5852" y="829"/>
                  <a:pt x="6488" y="1310"/>
                </a:cubicBezTo>
                <a:moveTo>
                  <a:pt x="6238" y="819"/>
                </a:moveTo>
                <a:cubicBezTo>
                  <a:pt x="5638" y="472"/>
                  <a:pt x="4943" y="272"/>
                  <a:pt x="4200" y="272"/>
                </a:cubicBezTo>
                <a:cubicBezTo>
                  <a:pt x="3458" y="272"/>
                  <a:pt x="2762" y="472"/>
                  <a:pt x="2163" y="819"/>
                </a:cubicBezTo>
                <a:moveTo>
                  <a:pt x="2163" y="819"/>
                </a:moveTo>
                <a:cubicBezTo>
                  <a:pt x="2762" y="472"/>
                  <a:pt x="3458" y="272"/>
                  <a:pt x="4200" y="272"/>
                </a:cubicBezTo>
                <a:cubicBezTo>
                  <a:pt x="4943" y="272"/>
                  <a:pt x="5638" y="472"/>
                  <a:pt x="6238" y="819"/>
                </a:cubicBezTo>
                <a:moveTo>
                  <a:pt x="5768" y="294"/>
                </a:moveTo>
                <a:cubicBezTo>
                  <a:pt x="5282" y="105"/>
                  <a:pt x="4753" y="0"/>
                  <a:pt x="4200" y="0"/>
                </a:cubicBezTo>
                <a:cubicBezTo>
                  <a:pt x="3647" y="0"/>
                  <a:pt x="3119" y="105"/>
                  <a:pt x="2633" y="294"/>
                </a:cubicBezTo>
                <a:moveTo>
                  <a:pt x="2633" y="294"/>
                </a:moveTo>
                <a:cubicBezTo>
                  <a:pt x="3119" y="105"/>
                  <a:pt x="3647" y="0"/>
                  <a:pt x="4200" y="0"/>
                </a:cubicBezTo>
                <a:cubicBezTo>
                  <a:pt x="4753" y="0"/>
                  <a:pt x="5282" y="105"/>
                  <a:pt x="5768" y="294"/>
                </a:cubicBezTo>
                <a:moveTo>
                  <a:pt x="1882" y="2934"/>
                </a:moveTo>
                <a:cubicBezTo>
                  <a:pt x="1820" y="3036"/>
                  <a:pt x="1765" y="3143"/>
                  <a:pt x="1717" y="3253"/>
                </a:cubicBezTo>
                <a:cubicBezTo>
                  <a:pt x="1765" y="3363"/>
                  <a:pt x="1820" y="3470"/>
                  <a:pt x="1882" y="3572"/>
                </a:cubicBezTo>
                <a:moveTo>
                  <a:pt x="6811" y="2897"/>
                </a:moveTo>
                <a:cubicBezTo>
                  <a:pt x="6750" y="2787"/>
                  <a:pt x="6682" y="2681"/>
                  <a:pt x="6607" y="2579"/>
                </a:cubicBezTo>
                <a:moveTo>
                  <a:pt x="6519" y="2934"/>
                </a:moveTo>
                <a:cubicBezTo>
                  <a:pt x="6581" y="3036"/>
                  <a:pt x="6636" y="3143"/>
                  <a:pt x="6684" y="3253"/>
                </a:cubicBezTo>
                <a:moveTo>
                  <a:pt x="1794" y="2579"/>
                </a:moveTo>
                <a:cubicBezTo>
                  <a:pt x="1719" y="2681"/>
                  <a:pt x="1651" y="2787"/>
                  <a:pt x="1590" y="2897"/>
                </a:cubicBezTo>
                <a:moveTo>
                  <a:pt x="1717" y="3253"/>
                </a:moveTo>
                <a:cubicBezTo>
                  <a:pt x="1765" y="3143"/>
                  <a:pt x="1820" y="3036"/>
                  <a:pt x="1882" y="2934"/>
                </a:cubicBezTo>
                <a:moveTo>
                  <a:pt x="6607" y="2579"/>
                </a:moveTo>
                <a:cubicBezTo>
                  <a:pt x="6682" y="2681"/>
                  <a:pt x="6750" y="2787"/>
                  <a:pt x="6811" y="2897"/>
                </a:cubicBezTo>
                <a:moveTo>
                  <a:pt x="1512" y="2507"/>
                </a:moveTo>
                <a:cubicBezTo>
                  <a:pt x="1588" y="2397"/>
                  <a:pt x="1670" y="2291"/>
                  <a:pt x="1759" y="2190"/>
                </a:cubicBezTo>
                <a:cubicBezTo>
                  <a:pt x="1759" y="2182"/>
                  <a:pt x="1758" y="2174"/>
                  <a:pt x="1758" y="2166"/>
                </a:cubicBezTo>
                <a:moveTo>
                  <a:pt x="6642" y="2190"/>
                </a:moveTo>
                <a:cubicBezTo>
                  <a:pt x="6731" y="2291"/>
                  <a:pt x="6813" y="2397"/>
                  <a:pt x="6889" y="2507"/>
                </a:cubicBezTo>
                <a:moveTo>
                  <a:pt x="6610" y="1768"/>
                </a:moveTo>
                <a:cubicBezTo>
                  <a:pt x="6716" y="1867"/>
                  <a:pt x="6816" y="1973"/>
                  <a:pt x="6909" y="2084"/>
                </a:cubicBezTo>
                <a:moveTo>
                  <a:pt x="6858" y="1630"/>
                </a:moveTo>
                <a:cubicBezTo>
                  <a:pt x="6742" y="1516"/>
                  <a:pt x="6618" y="1409"/>
                  <a:pt x="6488" y="1310"/>
                </a:cubicBezTo>
                <a:moveTo>
                  <a:pt x="1492" y="2084"/>
                </a:moveTo>
                <a:cubicBezTo>
                  <a:pt x="1585" y="1973"/>
                  <a:pt x="1685" y="1867"/>
                  <a:pt x="1791" y="1768"/>
                </a:cubicBezTo>
                <a:moveTo>
                  <a:pt x="1913" y="1310"/>
                </a:moveTo>
                <a:cubicBezTo>
                  <a:pt x="1783" y="1409"/>
                  <a:pt x="1659" y="1516"/>
                  <a:pt x="1543" y="1630"/>
                </a:cubicBezTo>
                <a:moveTo>
                  <a:pt x="6488" y="1310"/>
                </a:moveTo>
                <a:cubicBezTo>
                  <a:pt x="6618" y="1409"/>
                  <a:pt x="6742" y="1516"/>
                  <a:pt x="6858" y="1630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Citizen Identit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9EDAFCC2-F6AB-4569-9E77-824A0BBB5661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39862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 noEditPoints="1"/>
          </p:cNvSpPr>
          <p:nvPr/>
        </p:nvSpPr>
        <p:spPr bwMode="auto">
          <a:xfrm>
            <a:off x="4700587" y="-96838"/>
            <a:ext cx="5149850" cy="3983038"/>
          </a:xfrm>
          <a:custGeom>
            <a:avLst/>
            <a:gdLst>
              <a:gd name="T0" fmla="*/ 1980 w 8401"/>
              <a:gd name="T1" fmla="*/ 612 h 6505"/>
              <a:gd name="T2" fmla="*/ 4200 w 8401"/>
              <a:gd name="T3" fmla="*/ 5149 h 6505"/>
              <a:gd name="T4" fmla="*/ 6811 w 8401"/>
              <a:gd name="T5" fmla="*/ 3609 h 6505"/>
              <a:gd name="T6" fmla="*/ 1590 w 8401"/>
              <a:gd name="T7" fmla="*/ 2897 h 6505"/>
              <a:gd name="T8" fmla="*/ 1590 w 8401"/>
              <a:gd name="T9" fmla="*/ 2897 h 6505"/>
              <a:gd name="T10" fmla="*/ 7100 w 8401"/>
              <a:gd name="T11" fmla="*/ 2864 h 6505"/>
              <a:gd name="T12" fmla="*/ 7169 w 8401"/>
              <a:gd name="T13" fmla="*/ 2441 h 6505"/>
              <a:gd name="T14" fmla="*/ 7176 w 8401"/>
              <a:gd name="T15" fmla="*/ 1984 h 6505"/>
              <a:gd name="T16" fmla="*/ 1692 w 8401"/>
              <a:gd name="T17" fmla="*/ 1139 h 6505"/>
              <a:gd name="T18" fmla="*/ 1794 w 8401"/>
              <a:gd name="T19" fmla="*/ 3927 h 6505"/>
              <a:gd name="T20" fmla="*/ 1759 w 8401"/>
              <a:gd name="T21" fmla="*/ 4315 h 6505"/>
              <a:gd name="T22" fmla="*/ 7100 w 8401"/>
              <a:gd name="T23" fmla="*/ 3642 h 6505"/>
              <a:gd name="T24" fmla="*/ 7169 w 8401"/>
              <a:gd name="T25" fmla="*/ 2441 h 6505"/>
              <a:gd name="T26" fmla="*/ 7176 w 8401"/>
              <a:gd name="T27" fmla="*/ 1984 h 6505"/>
              <a:gd name="T28" fmla="*/ 961 w 8401"/>
              <a:gd name="T29" fmla="*/ 1882 h 6505"/>
              <a:gd name="T30" fmla="*/ 1048 w 8401"/>
              <a:gd name="T31" fmla="*/ 1360 h 6505"/>
              <a:gd name="T32" fmla="*/ 4200 w 8401"/>
              <a:gd name="T33" fmla="*/ 5692 h 6505"/>
              <a:gd name="T34" fmla="*/ 6909 w 8401"/>
              <a:gd name="T35" fmla="*/ 4421 h 6505"/>
              <a:gd name="T36" fmla="*/ 1791 w 8401"/>
              <a:gd name="T37" fmla="*/ 4738 h 6505"/>
              <a:gd name="T38" fmla="*/ 1492 w 8401"/>
              <a:gd name="T39" fmla="*/ 4421 h 6505"/>
              <a:gd name="T40" fmla="*/ 1134 w 8401"/>
              <a:gd name="T41" fmla="*/ 3253 h 6505"/>
              <a:gd name="T42" fmla="*/ 1015 w 8401"/>
              <a:gd name="T43" fmla="*/ 2830 h 6505"/>
              <a:gd name="T44" fmla="*/ 954 w 8401"/>
              <a:gd name="T45" fmla="*/ 2371 h 6505"/>
              <a:gd name="T46" fmla="*/ 698 w 8401"/>
              <a:gd name="T47" fmla="*/ 1781 h 6505"/>
              <a:gd name="T48" fmla="*/ 4200 w 8401"/>
              <a:gd name="T49" fmla="*/ 5963 h 6505"/>
              <a:gd name="T50" fmla="*/ 1492 w 8401"/>
              <a:gd name="T51" fmla="*/ 4421 h 6505"/>
              <a:gd name="T52" fmla="*/ 1543 w 8401"/>
              <a:gd name="T53" fmla="*/ 4876 h 6505"/>
              <a:gd name="T54" fmla="*/ 1225 w 8401"/>
              <a:gd name="T55" fmla="*/ 4521 h 6505"/>
              <a:gd name="T56" fmla="*/ 954 w 8401"/>
              <a:gd name="T57" fmla="*/ 4135 h 6505"/>
              <a:gd name="T58" fmla="*/ 7668 w 8401"/>
              <a:gd name="T59" fmla="*/ 2795 h 6505"/>
              <a:gd name="T60" fmla="*/ 452 w 8401"/>
              <a:gd name="T61" fmla="*/ 2761 h 6505"/>
              <a:gd name="T62" fmla="*/ 7949 w 8401"/>
              <a:gd name="T63" fmla="*/ 2761 h 6505"/>
              <a:gd name="T64" fmla="*/ 1543 w 8401"/>
              <a:gd name="T65" fmla="*/ 4876 h 6505"/>
              <a:gd name="T66" fmla="*/ 6858 w 8401"/>
              <a:gd name="T67" fmla="*/ 4876 h 6505"/>
              <a:gd name="T68" fmla="*/ 7176 w 8401"/>
              <a:gd name="T69" fmla="*/ 4521 h 6505"/>
              <a:gd name="T70" fmla="*/ 961 w 8401"/>
              <a:gd name="T71" fmla="*/ 4624 h 6505"/>
              <a:gd name="T72" fmla="*/ 563 w 8401"/>
              <a:gd name="T73" fmla="*/ 3253 h 6505"/>
              <a:gd name="T74" fmla="*/ 7949 w 8401"/>
              <a:gd name="T75" fmla="*/ 3745 h 6505"/>
              <a:gd name="T76" fmla="*/ 452 w 8401"/>
              <a:gd name="T77" fmla="*/ 2761 h 6505"/>
              <a:gd name="T78" fmla="*/ 2163 w 8401"/>
              <a:gd name="T79" fmla="*/ 5686 h 6505"/>
              <a:gd name="T80" fmla="*/ 6238 w 8401"/>
              <a:gd name="T81" fmla="*/ 5686 h 6505"/>
              <a:gd name="T82" fmla="*/ 6709 w 8401"/>
              <a:gd name="T83" fmla="*/ 5367 h 6505"/>
              <a:gd name="T84" fmla="*/ 7105 w 8401"/>
              <a:gd name="T85" fmla="*/ 5012 h 6505"/>
              <a:gd name="T86" fmla="*/ 7721 w 8401"/>
              <a:gd name="T87" fmla="*/ 4201 h 6505"/>
              <a:gd name="T88" fmla="*/ 8228 w 8401"/>
              <a:gd name="T89" fmla="*/ 3779 h 6505"/>
              <a:gd name="T90" fmla="*/ 8228 w 8401"/>
              <a:gd name="T91" fmla="*/ 3779 h 6505"/>
              <a:gd name="T92" fmla="*/ 2633 w 8401"/>
              <a:gd name="T93" fmla="*/ 6212 h 6505"/>
              <a:gd name="T94" fmla="*/ 1469 w 8401"/>
              <a:gd name="T95" fmla="*/ 5537 h 6505"/>
              <a:gd name="T96" fmla="*/ 3929 w 8401"/>
              <a:gd name="T97" fmla="*/ 3253 h 6505"/>
              <a:gd name="T98" fmla="*/ 5014 w 8401"/>
              <a:gd name="T99" fmla="*/ 3253 h 6505"/>
              <a:gd name="T100" fmla="*/ 4200 w 8401"/>
              <a:gd name="T101" fmla="*/ 2168 h 6505"/>
              <a:gd name="T102" fmla="*/ 4200 w 8401"/>
              <a:gd name="T103" fmla="*/ 1897 h 6505"/>
              <a:gd name="T104" fmla="*/ 6607 w 8401"/>
              <a:gd name="T105" fmla="*/ 2579 h 6505"/>
              <a:gd name="T106" fmla="*/ 4200 w 8401"/>
              <a:gd name="T107" fmla="*/ 814 h 6505"/>
              <a:gd name="T108" fmla="*/ 1913 w 8401"/>
              <a:gd name="T109" fmla="*/ 1310 h 6505"/>
              <a:gd name="T110" fmla="*/ 6238 w 8401"/>
              <a:gd name="T111" fmla="*/ 819 h 6505"/>
              <a:gd name="T112" fmla="*/ 1717 w 8401"/>
              <a:gd name="T113" fmla="*/ 3253 h 6505"/>
              <a:gd name="T114" fmla="*/ 1717 w 8401"/>
              <a:gd name="T115" fmla="*/ 3253 h 6505"/>
              <a:gd name="T116" fmla="*/ 6889 w 8401"/>
              <a:gd name="T117" fmla="*/ 2507 h 6505"/>
              <a:gd name="T118" fmla="*/ 1543 w 8401"/>
              <a:gd name="T119" fmla="*/ 1630 h 6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01" h="6505">
                <a:moveTo>
                  <a:pt x="6709" y="1139"/>
                </a:moveTo>
                <a:cubicBezTo>
                  <a:pt x="6560" y="1022"/>
                  <a:pt x="6403" y="915"/>
                  <a:pt x="6238" y="819"/>
                </a:cubicBezTo>
                <a:moveTo>
                  <a:pt x="2163" y="819"/>
                </a:moveTo>
                <a:cubicBezTo>
                  <a:pt x="1998" y="915"/>
                  <a:pt x="1841" y="1022"/>
                  <a:pt x="1692" y="1139"/>
                </a:cubicBezTo>
                <a:moveTo>
                  <a:pt x="1543" y="1630"/>
                </a:moveTo>
                <a:cubicBezTo>
                  <a:pt x="1659" y="1516"/>
                  <a:pt x="1783" y="1409"/>
                  <a:pt x="1913" y="1310"/>
                </a:cubicBezTo>
                <a:moveTo>
                  <a:pt x="2633" y="294"/>
                </a:moveTo>
                <a:cubicBezTo>
                  <a:pt x="2406" y="382"/>
                  <a:pt x="2187" y="488"/>
                  <a:pt x="1980" y="612"/>
                </a:cubicBezTo>
                <a:moveTo>
                  <a:pt x="1692" y="1139"/>
                </a:moveTo>
                <a:cubicBezTo>
                  <a:pt x="1841" y="1022"/>
                  <a:pt x="1998" y="915"/>
                  <a:pt x="2163" y="819"/>
                </a:cubicBezTo>
                <a:moveTo>
                  <a:pt x="6421" y="612"/>
                </a:moveTo>
                <a:cubicBezTo>
                  <a:pt x="6214" y="488"/>
                  <a:pt x="5995" y="382"/>
                  <a:pt x="5768" y="294"/>
                </a:cubicBezTo>
                <a:moveTo>
                  <a:pt x="6238" y="819"/>
                </a:moveTo>
                <a:cubicBezTo>
                  <a:pt x="6403" y="915"/>
                  <a:pt x="6560" y="1022"/>
                  <a:pt x="6709" y="1139"/>
                </a:cubicBezTo>
                <a:moveTo>
                  <a:pt x="1794" y="3927"/>
                </a:moveTo>
                <a:cubicBezTo>
                  <a:pt x="2336" y="4668"/>
                  <a:pt x="3212" y="5149"/>
                  <a:pt x="4200" y="5149"/>
                </a:cubicBezTo>
                <a:cubicBezTo>
                  <a:pt x="5189" y="5149"/>
                  <a:pt x="6065" y="4668"/>
                  <a:pt x="6607" y="3927"/>
                </a:cubicBezTo>
                <a:moveTo>
                  <a:pt x="6519" y="3572"/>
                </a:moveTo>
                <a:cubicBezTo>
                  <a:pt x="6044" y="4355"/>
                  <a:pt x="5183" y="4878"/>
                  <a:pt x="4200" y="4878"/>
                </a:cubicBezTo>
                <a:cubicBezTo>
                  <a:pt x="3218" y="4878"/>
                  <a:pt x="2357" y="4355"/>
                  <a:pt x="1882" y="3572"/>
                </a:cubicBezTo>
                <a:moveTo>
                  <a:pt x="6684" y="3253"/>
                </a:moveTo>
                <a:cubicBezTo>
                  <a:pt x="6636" y="3363"/>
                  <a:pt x="6581" y="3470"/>
                  <a:pt x="6519" y="3572"/>
                </a:cubicBezTo>
                <a:moveTo>
                  <a:pt x="6607" y="3927"/>
                </a:moveTo>
                <a:cubicBezTo>
                  <a:pt x="6682" y="3825"/>
                  <a:pt x="6750" y="3719"/>
                  <a:pt x="6811" y="3609"/>
                </a:cubicBezTo>
                <a:moveTo>
                  <a:pt x="1882" y="3572"/>
                </a:moveTo>
                <a:cubicBezTo>
                  <a:pt x="1820" y="3470"/>
                  <a:pt x="1765" y="3363"/>
                  <a:pt x="1717" y="3253"/>
                </a:cubicBezTo>
                <a:moveTo>
                  <a:pt x="1590" y="3609"/>
                </a:moveTo>
                <a:cubicBezTo>
                  <a:pt x="1651" y="3719"/>
                  <a:pt x="1719" y="3825"/>
                  <a:pt x="1794" y="3927"/>
                </a:cubicBezTo>
                <a:moveTo>
                  <a:pt x="6811" y="3609"/>
                </a:moveTo>
                <a:cubicBezTo>
                  <a:pt x="6874" y="3494"/>
                  <a:pt x="6929" y="3376"/>
                  <a:pt x="6977" y="3253"/>
                </a:cubicBezTo>
                <a:cubicBezTo>
                  <a:pt x="6929" y="3130"/>
                  <a:pt x="6874" y="3011"/>
                  <a:pt x="6811" y="2897"/>
                </a:cubicBezTo>
                <a:moveTo>
                  <a:pt x="1590" y="2897"/>
                </a:moveTo>
                <a:cubicBezTo>
                  <a:pt x="1527" y="3011"/>
                  <a:pt x="1472" y="3130"/>
                  <a:pt x="1424" y="3253"/>
                </a:cubicBezTo>
                <a:cubicBezTo>
                  <a:pt x="1472" y="3376"/>
                  <a:pt x="1527" y="3494"/>
                  <a:pt x="1590" y="3609"/>
                </a:cubicBezTo>
                <a:moveTo>
                  <a:pt x="7100" y="2864"/>
                </a:moveTo>
                <a:cubicBezTo>
                  <a:pt x="7037" y="2740"/>
                  <a:pt x="6967" y="2621"/>
                  <a:pt x="6889" y="2507"/>
                </a:cubicBezTo>
                <a:moveTo>
                  <a:pt x="6811" y="2897"/>
                </a:moveTo>
                <a:cubicBezTo>
                  <a:pt x="6874" y="3011"/>
                  <a:pt x="6929" y="3130"/>
                  <a:pt x="6977" y="3253"/>
                </a:cubicBezTo>
                <a:moveTo>
                  <a:pt x="1424" y="3253"/>
                </a:moveTo>
                <a:cubicBezTo>
                  <a:pt x="1472" y="3130"/>
                  <a:pt x="1527" y="3011"/>
                  <a:pt x="1590" y="2897"/>
                </a:cubicBezTo>
                <a:moveTo>
                  <a:pt x="1512" y="2507"/>
                </a:moveTo>
                <a:cubicBezTo>
                  <a:pt x="1434" y="2621"/>
                  <a:pt x="1364" y="2740"/>
                  <a:pt x="1301" y="2864"/>
                </a:cubicBezTo>
                <a:moveTo>
                  <a:pt x="1492" y="2084"/>
                </a:moveTo>
                <a:cubicBezTo>
                  <a:pt x="1398" y="2197"/>
                  <a:pt x="1311" y="2317"/>
                  <a:pt x="1232" y="2441"/>
                </a:cubicBezTo>
                <a:moveTo>
                  <a:pt x="1301" y="2864"/>
                </a:moveTo>
                <a:cubicBezTo>
                  <a:pt x="1364" y="2740"/>
                  <a:pt x="1434" y="2621"/>
                  <a:pt x="1512" y="2507"/>
                </a:cubicBezTo>
                <a:moveTo>
                  <a:pt x="6889" y="2507"/>
                </a:moveTo>
                <a:cubicBezTo>
                  <a:pt x="6967" y="2621"/>
                  <a:pt x="7037" y="2740"/>
                  <a:pt x="7100" y="2864"/>
                </a:cubicBezTo>
                <a:moveTo>
                  <a:pt x="7169" y="2441"/>
                </a:moveTo>
                <a:cubicBezTo>
                  <a:pt x="7090" y="2317"/>
                  <a:pt x="7003" y="2197"/>
                  <a:pt x="6909" y="2084"/>
                </a:cubicBezTo>
                <a:moveTo>
                  <a:pt x="1543" y="1630"/>
                </a:moveTo>
                <a:cubicBezTo>
                  <a:pt x="1430" y="1741"/>
                  <a:pt x="1323" y="1860"/>
                  <a:pt x="1225" y="1984"/>
                </a:cubicBezTo>
                <a:moveTo>
                  <a:pt x="1232" y="2441"/>
                </a:moveTo>
                <a:cubicBezTo>
                  <a:pt x="1311" y="2317"/>
                  <a:pt x="1398" y="2197"/>
                  <a:pt x="1492" y="2084"/>
                </a:cubicBezTo>
                <a:moveTo>
                  <a:pt x="6909" y="2084"/>
                </a:moveTo>
                <a:cubicBezTo>
                  <a:pt x="7003" y="2197"/>
                  <a:pt x="7090" y="2317"/>
                  <a:pt x="7169" y="2441"/>
                </a:cubicBezTo>
                <a:moveTo>
                  <a:pt x="7176" y="1984"/>
                </a:moveTo>
                <a:cubicBezTo>
                  <a:pt x="7078" y="1860"/>
                  <a:pt x="6971" y="1741"/>
                  <a:pt x="6858" y="1630"/>
                </a:cubicBezTo>
                <a:moveTo>
                  <a:pt x="1225" y="1984"/>
                </a:moveTo>
                <a:cubicBezTo>
                  <a:pt x="1323" y="1860"/>
                  <a:pt x="1430" y="1741"/>
                  <a:pt x="1543" y="1630"/>
                </a:cubicBezTo>
                <a:moveTo>
                  <a:pt x="1692" y="1139"/>
                </a:moveTo>
                <a:cubicBezTo>
                  <a:pt x="1552" y="1249"/>
                  <a:pt x="1420" y="1367"/>
                  <a:pt x="1296" y="1494"/>
                </a:cubicBezTo>
                <a:moveTo>
                  <a:pt x="6858" y="1630"/>
                </a:moveTo>
                <a:cubicBezTo>
                  <a:pt x="6971" y="1741"/>
                  <a:pt x="7078" y="1860"/>
                  <a:pt x="7176" y="1984"/>
                </a:cubicBezTo>
                <a:moveTo>
                  <a:pt x="7105" y="1494"/>
                </a:moveTo>
                <a:cubicBezTo>
                  <a:pt x="6981" y="1367"/>
                  <a:pt x="6849" y="1249"/>
                  <a:pt x="6709" y="1139"/>
                </a:cubicBezTo>
                <a:moveTo>
                  <a:pt x="6932" y="969"/>
                </a:moveTo>
                <a:cubicBezTo>
                  <a:pt x="6770" y="838"/>
                  <a:pt x="6600" y="719"/>
                  <a:pt x="6421" y="612"/>
                </a:cubicBezTo>
                <a:moveTo>
                  <a:pt x="6709" y="1139"/>
                </a:moveTo>
                <a:cubicBezTo>
                  <a:pt x="6849" y="1249"/>
                  <a:pt x="6981" y="1367"/>
                  <a:pt x="7105" y="1494"/>
                </a:cubicBezTo>
                <a:moveTo>
                  <a:pt x="1296" y="1494"/>
                </a:moveTo>
                <a:cubicBezTo>
                  <a:pt x="1420" y="1367"/>
                  <a:pt x="1552" y="1249"/>
                  <a:pt x="1692" y="1139"/>
                </a:cubicBezTo>
                <a:moveTo>
                  <a:pt x="1980" y="612"/>
                </a:moveTo>
                <a:cubicBezTo>
                  <a:pt x="1801" y="719"/>
                  <a:pt x="1630" y="838"/>
                  <a:pt x="1469" y="969"/>
                </a:cubicBezTo>
                <a:moveTo>
                  <a:pt x="1759" y="4315"/>
                </a:moveTo>
                <a:cubicBezTo>
                  <a:pt x="2355" y="4993"/>
                  <a:pt x="3228" y="5420"/>
                  <a:pt x="4200" y="5420"/>
                </a:cubicBezTo>
                <a:cubicBezTo>
                  <a:pt x="5173" y="5420"/>
                  <a:pt x="6046" y="4993"/>
                  <a:pt x="6642" y="4315"/>
                </a:cubicBezTo>
                <a:moveTo>
                  <a:pt x="6607" y="3927"/>
                </a:moveTo>
                <a:cubicBezTo>
                  <a:pt x="6065" y="4668"/>
                  <a:pt x="5189" y="5149"/>
                  <a:pt x="4200" y="5149"/>
                </a:cubicBezTo>
                <a:cubicBezTo>
                  <a:pt x="3212" y="5149"/>
                  <a:pt x="2336" y="4668"/>
                  <a:pt x="1794" y="3927"/>
                </a:cubicBezTo>
                <a:moveTo>
                  <a:pt x="6811" y="3609"/>
                </a:moveTo>
                <a:cubicBezTo>
                  <a:pt x="6750" y="3719"/>
                  <a:pt x="6682" y="3825"/>
                  <a:pt x="6607" y="3927"/>
                </a:cubicBezTo>
                <a:moveTo>
                  <a:pt x="6642" y="4315"/>
                </a:moveTo>
                <a:cubicBezTo>
                  <a:pt x="6731" y="4215"/>
                  <a:pt x="6813" y="4109"/>
                  <a:pt x="6889" y="3998"/>
                </a:cubicBezTo>
                <a:moveTo>
                  <a:pt x="1794" y="3927"/>
                </a:moveTo>
                <a:cubicBezTo>
                  <a:pt x="1719" y="3825"/>
                  <a:pt x="1651" y="3719"/>
                  <a:pt x="1590" y="3609"/>
                </a:cubicBezTo>
                <a:moveTo>
                  <a:pt x="1512" y="3998"/>
                </a:moveTo>
                <a:cubicBezTo>
                  <a:pt x="1588" y="4109"/>
                  <a:pt x="1670" y="4215"/>
                  <a:pt x="1759" y="4315"/>
                </a:cubicBezTo>
                <a:moveTo>
                  <a:pt x="1301" y="3642"/>
                </a:moveTo>
                <a:cubicBezTo>
                  <a:pt x="1364" y="3765"/>
                  <a:pt x="1434" y="3885"/>
                  <a:pt x="1512" y="3998"/>
                </a:cubicBezTo>
                <a:moveTo>
                  <a:pt x="1590" y="3609"/>
                </a:moveTo>
                <a:cubicBezTo>
                  <a:pt x="1527" y="3494"/>
                  <a:pt x="1472" y="3376"/>
                  <a:pt x="1424" y="3253"/>
                </a:cubicBezTo>
                <a:moveTo>
                  <a:pt x="6977" y="3253"/>
                </a:moveTo>
                <a:cubicBezTo>
                  <a:pt x="6929" y="3376"/>
                  <a:pt x="6874" y="3494"/>
                  <a:pt x="6811" y="3609"/>
                </a:cubicBezTo>
                <a:moveTo>
                  <a:pt x="6889" y="3998"/>
                </a:moveTo>
                <a:cubicBezTo>
                  <a:pt x="6967" y="3885"/>
                  <a:pt x="7037" y="3765"/>
                  <a:pt x="7100" y="3642"/>
                </a:cubicBezTo>
                <a:moveTo>
                  <a:pt x="1301" y="2864"/>
                </a:moveTo>
                <a:cubicBezTo>
                  <a:pt x="1237" y="2989"/>
                  <a:pt x="1181" y="3119"/>
                  <a:pt x="1134" y="3253"/>
                </a:cubicBezTo>
                <a:cubicBezTo>
                  <a:pt x="1181" y="3387"/>
                  <a:pt x="1237" y="3517"/>
                  <a:pt x="1301" y="3642"/>
                </a:cubicBezTo>
                <a:moveTo>
                  <a:pt x="7100" y="3642"/>
                </a:moveTo>
                <a:cubicBezTo>
                  <a:pt x="7163" y="3517"/>
                  <a:pt x="7220" y="3387"/>
                  <a:pt x="7267" y="3253"/>
                </a:cubicBezTo>
                <a:cubicBezTo>
                  <a:pt x="7220" y="3119"/>
                  <a:pt x="7163" y="2989"/>
                  <a:pt x="7100" y="2864"/>
                </a:cubicBezTo>
                <a:moveTo>
                  <a:pt x="7386" y="2830"/>
                </a:moveTo>
                <a:cubicBezTo>
                  <a:pt x="7322" y="2695"/>
                  <a:pt x="7249" y="2565"/>
                  <a:pt x="7169" y="2441"/>
                </a:cubicBezTo>
                <a:moveTo>
                  <a:pt x="7100" y="2864"/>
                </a:moveTo>
                <a:cubicBezTo>
                  <a:pt x="7163" y="2989"/>
                  <a:pt x="7220" y="3119"/>
                  <a:pt x="7267" y="3253"/>
                </a:cubicBezTo>
                <a:moveTo>
                  <a:pt x="1134" y="3253"/>
                </a:moveTo>
                <a:cubicBezTo>
                  <a:pt x="1181" y="3119"/>
                  <a:pt x="1237" y="2989"/>
                  <a:pt x="1301" y="2864"/>
                </a:cubicBezTo>
                <a:moveTo>
                  <a:pt x="1232" y="2441"/>
                </a:moveTo>
                <a:cubicBezTo>
                  <a:pt x="1152" y="2565"/>
                  <a:pt x="1079" y="2695"/>
                  <a:pt x="1015" y="2830"/>
                </a:cubicBezTo>
                <a:moveTo>
                  <a:pt x="7447" y="2371"/>
                </a:moveTo>
                <a:cubicBezTo>
                  <a:pt x="7365" y="2236"/>
                  <a:pt x="7274" y="2107"/>
                  <a:pt x="7176" y="1984"/>
                </a:cubicBezTo>
                <a:moveTo>
                  <a:pt x="7169" y="2441"/>
                </a:moveTo>
                <a:cubicBezTo>
                  <a:pt x="7249" y="2565"/>
                  <a:pt x="7322" y="2695"/>
                  <a:pt x="7386" y="2830"/>
                </a:cubicBezTo>
                <a:moveTo>
                  <a:pt x="1225" y="1984"/>
                </a:moveTo>
                <a:cubicBezTo>
                  <a:pt x="1127" y="2107"/>
                  <a:pt x="1036" y="2236"/>
                  <a:pt x="954" y="2371"/>
                </a:cubicBezTo>
                <a:moveTo>
                  <a:pt x="1015" y="2830"/>
                </a:moveTo>
                <a:cubicBezTo>
                  <a:pt x="1079" y="2695"/>
                  <a:pt x="1152" y="2565"/>
                  <a:pt x="1232" y="2441"/>
                </a:cubicBezTo>
                <a:moveTo>
                  <a:pt x="1296" y="1494"/>
                </a:moveTo>
                <a:cubicBezTo>
                  <a:pt x="1176" y="1616"/>
                  <a:pt x="1064" y="1745"/>
                  <a:pt x="961" y="1882"/>
                </a:cubicBezTo>
                <a:moveTo>
                  <a:pt x="954" y="2371"/>
                </a:moveTo>
                <a:cubicBezTo>
                  <a:pt x="1036" y="2236"/>
                  <a:pt x="1127" y="2107"/>
                  <a:pt x="1225" y="1984"/>
                </a:cubicBezTo>
                <a:moveTo>
                  <a:pt x="7176" y="1984"/>
                </a:moveTo>
                <a:cubicBezTo>
                  <a:pt x="7274" y="2107"/>
                  <a:pt x="7365" y="2236"/>
                  <a:pt x="7447" y="2371"/>
                </a:cubicBezTo>
                <a:moveTo>
                  <a:pt x="7440" y="1882"/>
                </a:moveTo>
                <a:cubicBezTo>
                  <a:pt x="7337" y="1745"/>
                  <a:pt x="7225" y="1616"/>
                  <a:pt x="7105" y="1494"/>
                </a:cubicBezTo>
                <a:moveTo>
                  <a:pt x="1469" y="969"/>
                </a:moveTo>
                <a:cubicBezTo>
                  <a:pt x="1320" y="1090"/>
                  <a:pt x="1180" y="1221"/>
                  <a:pt x="1048" y="1360"/>
                </a:cubicBezTo>
                <a:moveTo>
                  <a:pt x="961" y="1882"/>
                </a:moveTo>
                <a:cubicBezTo>
                  <a:pt x="1064" y="1745"/>
                  <a:pt x="1176" y="1616"/>
                  <a:pt x="1296" y="1494"/>
                </a:cubicBezTo>
                <a:moveTo>
                  <a:pt x="7353" y="1360"/>
                </a:moveTo>
                <a:cubicBezTo>
                  <a:pt x="7221" y="1221"/>
                  <a:pt x="7081" y="1090"/>
                  <a:pt x="6932" y="969"/>
                </a:cubicBezTo>
                <a:moveTo>
                  <a:pt x="7105" y="1494"/>
                </a:moveTo>
                <a:cubicBezTo>
                  <a:pt x="7225" y="1616"/>
                  <a:pt x="7337" y="1745"/>
                  <a:pt x="7440" y="1882"/>
                </a:cubicBezTo>
                <a:moveTo>
                  <a:pt x="1791" y="4738"/>
                </a:moveTo>
                <a:cubicBezTo>
                  <a:pt x="2421" y="5329"/>
                  <a:pt x="3268" y="5692"/>
                  <a:pt x="4200" y="5692"/>
                </a:cubicBezTo>
                <a:cubicBezTo>
                  <a:pt x="5133" y="5692"/>
                  <a:pt x="5980" y="5329"/>
                  <a:pt x="6610" y="4738"/>
                </a:cubicBezTo>
                <a:moveTo>
                  <a:pt x="6643" y="4339"/>
                </a:moveTo>
                <a:cubicBezTo>
                  <a:pt x="6643" y="4331"/>
                  <a:pt x="6642" y="4323"/>
                  <a:pt x="6642" y="4315"/>
                </a:cubicBezTo>
                <a:cubicBezTo>
                  <a:pt x="6046" y="4993"/>
                  <a:pt x="5173" y="5420"/>
                  <a:pt x="4200" y="5420"/>
                </a:cubicBezTo>
                <a:cubicBezTo>
                  <a:pt x="3228" y="5420"/>
                  <a:pt x="2355" y="4993"/>
                  <a:pt x="1759" y="4315"/>
                </a:cubicBezTo>
                <a:cubicBezTo>
                  <a:pt x="1759" y="4323"/>
                  <a:pt x="1758" y="4331"/>
                  <a:pt x="1758" y="4339"/>
                </a:cubicBezTo>
                <a:moveTo>
                  <a:pt x="6610" y="4738"/>
                </a:moveTo>
                <a:cubicBezTo>
                  <a:pt x="6716" y="4639"/>
                  <a:pt x="6816" y="4533"/>
                  <a:pt x="6909" y="4421"/>
                </a:cubicBezTo>
                <a:moveTo>
                  <a:pt x="6889" y="3998"/>
                </a:moveTo>
                <a:cubicBezTo>
                  <a:pt x="6813" y="4109"/>
                  <a:pt x="6731" y="4215"/>
                  <a:pt x="6642" y="4315"/>
                </a:cubicBezTo>
                <a:cubicBezTo>
                  <a:pt x="6642" y="4323"/>
                  <a:pt x="6643" y="4331"/>
                  <a:pt x="6643" y="4339"/>
                </a:cubicBezTo>
                <a:moveTo>
                  <a:pt x="1758" y="4339"/>
                </a:moveTo>
                <a:cubicBezTo>
                  <a:pt x="1758" y="4331"/>
                  <a:pt x="1759" y="4323"/>
                  <a:pt x="1759" y="4315"/>
                </a:cubicBezTo>
                <a:cubicBezTo>
                  <a:pt x="1670" y="4215"/>
                  <a:pt x="1588" y="4109"/>
                  <a:pt x="1512" y="3998"/>
                </a:cubicBezTo>
                <a:moveTo>
                  <a:pt x="1492" y="4421"/>
                </a:moveTo>
                <a:cubicBezTo>
                  <a:pt x="1585" y="4533"/>
                  <a:pt x="1685" y="4639"/>
                  <a:pt x="1791" y="4738"/>
                </a:cubicBezTo>
                <a:moveTo>
                  <a:pt x="7100" y="3642"/>
                </a:moveTo>
                <a:cubicBezTo>
                  <a:pt x="7037" y="3765"/>
                  <a:pt x="6967" y="3885"/>
                  <a:pt x="6889" y="3998"/>
                </a:cubicBezTo>
                <a:moveTo>
                  <a:pt x="6909" y="4421"/>
                </a:moveTo>
                <a:cubicBezTo>
                  <a:pt x="7003" y="4308"/>
                  <a:pt x="7090" y="4189"/>
                  <a:pt x="7169" y="4065"/>
                </a:cubicBezTo>
                <a:moveTo>
                  <a:pt x="1512" y="3998"/>
                </a:moveTo>
                <a:cubicBezTo>
                  <a:pt x="1434" y="3885"/>
                  <a:pt x="1364" y="3765"/>
                  <a:pt x="1301" y="3642"/>
                </a:cubicBezTo>
                <a:moveTo>
                  <a:pt x="1232" y="4065"/>
                </a:moveTo>
                <a:cubicBezTo>
                  <a:pt x="1311" y="4189"/>
                  <a:pt x="1398" y="4308"/>
                  <a:pt x="1492" y="4421"/>
                </a:cubicBezTo>
                <a:moveTo>
                  <a:pt x="7267" y="3253"/>
                </a:moveTo>
                <a:cubicBezTo>
                  <a:pt x="7220" y="3387"/>
                  <a:pt x="7163" y="3517"/>
                  <a:pt x="7100" y="3642"/>
                </a:cubicBezTo>
                <a:moveTo>
                  <a:pt x="7169" y="4065"/>
                </a:moveTo>
                <a:cubicBezTo>
                  <a:pt x="7249" y="3940"/>
                  <a:pt x="7322" y="3811"/>
                  <a:pt x="7386" y="3676"/>
                </a:cubicBezTo>
                <a:moveTo>
                  <a:pt x="1015" y="3676"/>
                </a:moveTo>
                <a:cubicBezTo>
                  <a:pt x="1079" y="3811"/>
                  <a:pt x="1152" y="3940"/>
                  <a:pt x="1232" y="4065"/>
                </a:cubicBezTo>
                <a:moveTo>
                  <a:pt x="1301" y="3642"/>
                </a:moveTo>
                <a:cubicBezTo>
                  <a:pt x="1237" y="3517"/>
                  <a:pt x="1181" y="3387"/>
                  <a:pt x="1134" y="3253"/>
                </a:cubicBezTo>
                <a:moveTo>
                  <a:pt x="7386" y="3676"/>
                </a:moveTo>
                <a:cubicBezTo>
                  <a:pt x="7450" y="3540"/>
                  <a:pt x="7506" y="3398"/>
                  <a:pt x="7553" y="3253"/>
                </a:cubicBezTo>
                <a:cubicBezTo>
                  <a:pt x="7506" y="3108"/>
                  <a:pt x="7450" y="2966"/>
                  <a:pt x="7386" y="2830"/>
                </a:cubicBezTo>
                <a:moveTo>
                  <a:pt x="1015" y="2830"/>
                </a:moveTo>
                <a:cubicBezTo>
                  <a:pt x="950" y="2966"/>
                  <a:pt x="895" y="3108"/>
                  <a:pt x="847" y="3253"/>
                </a:cubicBezTo>
                <a:cubicBezTo>
                  <a:pt x="895" y="3398"/>
                  <a:pt x="950" y="3540"/>
                  <a:pt x="1015" y="3676"/>
                </a:cubicBezTo>
                <a:moveTo>
                  <a:pt x="847" y="3253"/>
                </a:moveTo>
                <a:cubicBezTo>
                  <a:pt x="895" y="3108"/>
                  <a:pt x="950" y="2966"/>
                  <a:pt x="1015" y="2830"/>
                </a:cubicBezTo>
                <a:moveTo>
                  <a:pt x="954" y="2371"/>
                </a:moveTo>
                <a:cubicBezTo>
                  <a:pt x="872" y="2507"/>
                  <a:pt x="798" y="2649"/>
                  <a:pt x="733" y="2795"/>
                </a:cubicBezTo>
                <a:moveTo>
                  <a:pt x="7668" y="2795"/>
                </a:moveTo>
                <a:cubicBezTo>
                  <a:pt x="7602" y="2649"/>
                  <a:pt x="7529" y="2507"/>
                  <a:pt x="7447" y="2371"/>
                </a:cubicBezTo>
                <a:moveTo>
                  <a:pt x="7386" y="2830"/>
                </a:moveTo>
                <a:cubicBezTo>
                  <a:pt x="7450" y="2966"/>
                  <a:pt x="7506" y="3108"/>
                  <a:pt x="7553" y="3253"/>
                </a:cubicBezTo>
                <a:moveTo>
                  <a:pt x="733" y="2795"/>
                </a:moveTo>
                <a:cubicBezTo>
                  <a:pt x="798" y="2649"/>
                  <a:pt x="872" y="2507"/>
                  <a:pt x="954" y="2371"/>
                </a:cubicBezTo>
                <a:moveTo>
                  <a:pt x="961" y="1882"/>
                </a:moveTo>
                <a:cubicBezTo>
                  <a:pt x="858" y="2016"/>
                  <a:pt x="765" y="2158"/>
                  <a:pt x="680" y="2305"/>
                </a:cubicBezTo>
                <a:moveTo>
                  <a:pt x="7447" y="2371"/>
                </a:moveTo>
                <a:cubicBezTo>
                  <a:pt x="7529" y="2507"/>
                  <a:pt x="7602" y="2649"/>
                  <a:pt x="7668" y="2795"/>
                </a:cubicBezTo>
                <a:moveTo>
                  <a:pt x="7721" y="2305"/>
                </a:moveTo>
                <a:cubicBezTo>
                  <a:pt x="7636" y="2158"/>
                  <a:pt x="7543" y="2016"/>
                  <a:pt x="7440" y="1882"/>
                </a:cubicBezTo>
                <a:moveTo>
                  <a:pt x="1048" y="1360"/>
                </a:moveTo>
                <a:cubicBezTo>
                  <a:pt x="923" y="1493"/>
                  <a:pt x="805" y="1633"/>
                  <a:pt x="698" y="1781"/>
                </a:cubicBezTo>
                <a:moveTo>
                  <a:pt x="680" y="2305"/>
                </a:moveTo>
                <a:cubicBezTo>
                  <a:pt x="765" y="2158"/>
                  <a:pt x="858" y="2016"/>
                  <a:pt x="961" y="1882"/>
                </a:cubicBezTo>
                <a:moveTo>
                  <a:pt x="7703" y="1781"/>
                </a:moveTo>
                <a:cubicBezTo>
                  <a:pt x="7595" y="1633"/>
                  <a:pt x="7478" y="1493"/>
                  <a:pt x="7353" y="1360"/>
                </a:cubicBezTo>
                <a:moveTo>
                  <a:pt x="7440" y="1882"/>
                </a:moveTo>
                <a:cubicBezTo>
                  <a:pt x="7543" y="2016"/>
                  <a:pt x="7636" y="2158"/>
                  <a:pt x="7721" y="2305"/>
                </a:cubicBezTo>
                <a:moveTo>
                  <a:pt x="1913" y="5196"/>
                </a:moveTo>
                <a:cubicBezTo>
                  <a:pt x="2549" y="5677"/>
                  <a:pt x="3341" y="5963"/>
                  <a:pt x="4200" y="5963"/>
                </a:cubicBezTo>
                <a:cubicBezTo>
                  <a:pt x="5060" y="5963"/>
                  <a:pt x="5852" y="5677"/>
                  <a:pt x="6488" y="5196"/>
                </a:cubicBezTo>
                <a:moveTo>
                  <a:pt x="6610" y="4738"/>
                </a:moveTo>
                <a:cubicBezTo>
                  <a:pt x="5980" y="5329"/>
                  <a:pt x="5133" y="5692"/>
                  <a:pt x="4200" y="5692"/>
                </a:cubicBezTo>
                <a:cubicBezTo>
                  <a:pt x="3268" y="5692"/>
                  <a:pt x="2421" y="5329"/>
                  <a:pt x="1791" y="4738"/>
                </a:cubicBezTo>
                <a:moveTo>
                  <a:pt x="1543" y="4876"/>
                </a:moveTo>
                <a:cubicBezTo>
                  <a:pt x="1659" y="4990"/>
                  <a:pt x="1783" y="5097"/>
                  <a:pt x="1913" y="5196"/>
                </a:cubicBezTo>
                <a:moveTo>
                  <a:pt x="1791" y="4738"/>
                </a:moveTo>
                <a:cubicBezTo>
                  <a:pt x="1685" y="4639"/>
                  <a:pt x="1585" y="4533"/>
                  <a:pt x="1492" y="4421"/>
                </a:cubicBezTo>
                <a:moveTo>
                  <a:pt x="6909" y="4421"/>
                </a:moveTo>
                <a:cubicBezTo>
                  <a:pt x="6816" y="4533"/>
                  <a:pt x="6716" y="4639"/>
                  <a:pt x="6610" y="4738"/>
                </a:cubicBezTo>
                <a:moveTo>
                  <a:pt x="6488" y="5196"/>
                </a:moveTo>
                <a:cubicBezTo>
                  <a:pt x="6618" y="5097"/>
                  <a:pt x="6742" y="4990"/>
                  <a:pt x="6858" y="4876"/>
                </a:cubicBezTo>
                <a:moveTo>
                  <a:pt x="7169" y="4065"/>
                </a:moveTo>
                <a:cubicBezTo>
                  <a:pt x="7090" y="4189"/>
                  <a:pt x="7003" y="4308"/>
                  <a:pt x="6909" y="4421"/>
                </a:cubicBezTo>
                <a:moveTo>
                  <a:pt x="1225" y="4521"/>
                </a:moveTo>
                <a:cubicBezTo>
                  <a:pt x="1323" y="4646"/>
                  <a:pt x="1430" y="4765"/>
                  <a:pt x="1543" y="4876"/>
                </a:cubicBezTo>
                <a:moveTo>
                  <a:pt x="1492" y="4421"/>
                </a:moveTo>
                <a:cubicBezTo>
                  <a:pt x="1398" y="4308"/>
                  <a:pt x="1311" y="4189"/>
                  <a:pt x="1232" y="4065"/>
                </a:cubicBezTo>
                <a:moveTo>
                  <a:pt x="7386" y="3676"/>
                </a:moveTo>
                <a:cubicBezTo>
                  <a:pt x="7322" y="3811"/>
                  <a:pt x="7249" y="3940"/>
                  <a:pt x="7169" y="4065"/>
                </a:cubicBezTo>
                <a:moveTo>
                  <a:pt x="7176" y="4521"/>
                </a:moveTo>
                <a:cubicBezTo>
                  <a:pt x="7274" y="4398"/>
                  <a:pt x="7365" y="4270"/>
                  <a:pt x="7447" y="4135"/>
                </a:cubicBezTo>
                <a:moveTo>
                  <a:pt x="954" y="4135"/>
                </a:moveTo>
                <a:cubicBezTo>
                  <a:pt x="1036" y="4270"/>
                  <a:pt x="1127" y="4398"/>
                  <a:pt x="1225" y="4521"/>
                </a:cubicBezTo>
                <a:moveTo>
                  <a:pt x="1232" y="4065"/>
                </a:moveTo>
                <a:cubicBezTo>
                  <a:pt x="1152" y="3940"/>
                  <a:pt x="1079" y="3811"/>
                  <a:pt x="1015" y="3676"/>
                </a:cubicBezTo>
                <a:moveTo>
                  <a:pt x="7553" y="3253"/>
                </a:moveTo>
                <a:cubicBezTo>
                  <a:pt x="7506" y="3398"/>
                  <a:pt x="7450" y="3540"/>
                  <a:pt x="7386" y="3676"/>
                </a:cubicBezTo>
                <a:moveTo>
                  <a:pt x="7447" y="4135"/>
                </a:moveTo>
                <a:cubicBezTo>
                  <a:pt x="7529" y="3999"/>
                  <a:pt x="7602" y="3857"/>
                  <a:pt x="7668" y="3710"/>
                </a:cubicBezTo>
                <a:moveTo>
                  <a:pt x="733" y="3710"/>
                </a:moveTo>
                <a:cubicBezTo>
                  <a:pt x="798" y="3857"/>
                  <a:pt x="872" y="3999"/>
                  <a:pt x="954" y="4135"/>
                </a:cubicBezTo>
                <a:moveTo>
                  <a:pt x="1015" y="3676"/>
                </a:moveTo>
                <a:cubicBezTo>
                  <a:pt x="950" y="3540"/>
                  <a:pt x="895" y="3398"/>
                  <a:pt x="847" y="3253"/>
                </a:cubicBezTo>
                <a:moveTo>
                  <a:pt x="733" y="2795"/>
                </a:moveTo>
                <a:cubicBezTo>
                  <a:pt x="667" y="2943"/>
                  <a:pt x="610" y="3096"/>
                  <a:pt x="563" y="3253"/>
                </a:cubicBezTo>
                <a:cubicBezTo>
                  <a:pt x="610" y="3410"/>
                  <a:pt x="667" y="3563"/>
                  <a:pt x="733" y="3710"/>
                </a:cubicBezTo>
                <a:moveTo>
                  <a:pt x="7668" y="3710"/>
                </a:moveTo>
                <a:cubicBezTo>
                  <a:pt x="7734" y="3563"/>
                  <a:pt x="7791" y="3410"/>
                  <a:pt x="7837" y="3253"/>
                </a:cubicBezTo>
                <a:cubicBezTo>
                  <a:pt x="7791" y="3096"/>
                  <a:pt x="7734" y="2943"/>
                  <a:pt x="7668" y="2795"/>
                </a:cubicBezTo>
                <a:moveTo>
                  <a:pt x="7949" y="2761"/>
                </a:moveTo>
                <a:cubicBezTo>
                  <a:pt x="7883" y="2603"/>
                  <a:pt x="7806" y="2451"/>
                  <a:pt x="7721" y="2305"/>
                </a:cubicBezTo>
                <a:moveTo>
                  <a:pt x="7668" y="2795"/>
                </a:moveTo>
                <a:cubicBezTo>
                  <a:pt x="7734" y="2943"/>
                  <a:pt x="7791" y="3096"/>
                  <a:pt x="7837" y="3253"/>
                </a:cubicBezTo>
                <a:moveTo>
                  <a:pt x="563" y="3253"/>
                </a:moveTo>
                <a:cubicBezTo>
                  <a:pt x="610" y="3096"/>
                  <a:pt x="667" y="2943"/>
                  <a:pt x="733" y="2795"/>
                </a:cubicBezTo>
                <a:moveTo>
                  <a:pt x="680" y="2305"/>
                </a:moveTo>
                <a:cubicBezTo>
                  <a:pt x="595" y="2451"/>
                  <a:pt x="518" y="2603"/>
                  <a:pt x="452" y="2761"/>
                </a:cubicBezTo>
                <a:moveTo>
                  <a:pt x="698" y="1781"/>
                </a:moveTo>
                <a:cubicBezTo>
                  <a:pt x="592" y="1926"/>
                  <a:pt x="494" y="2078"/>
                  <a:pt x="407" y="2235"/>
                </a:cubicBezTo>
                <a:moveTo>
                  <a:pt x="452" y="2761"/>
                </a:moveTo>
                <a:cubicBezTo>
                  <a:pt x="518" y="2603"/>
                  <a:pt x="595" y="2451"/>
                  <a:pt x="680" y="2305"/>
                </a:cubicBezTo>
                <a:moveTo>
                  <a:pt x="7994" y="2235"/>
                </a:moveTo>
                <a:cubicBezTo>
                  <a:pt x="7907" y="2078"/>
                  <a:pt x="7809" y="1926"/>
                  <a:pt x="7703" y="1781"/>
                </a:cubicBezTo>
                <a:moveTo>
                  <a:pt x="7721" y="2305"/>
                </a:moveTo>
                <a:cubicBezTo>
                  <a:pt x="7806" y="2451"/>
                  <a:pt x="7883" y="2603"/>
                  <a:pt x="7949" y="2761"/>
                </a:cubicBezTo>
                <a:moveTo>
                  <a:pt x="2163" y="5686"/>
                </a:moveTo>
                <a:cubicBezTo>
                  <a:pt x="2763" y="6034"/>
                  <a:pt x="3458" y="6234"/>
                  <a:pt x="4200" y="6234"/>
                </a:cubicBezTo>
                <a:cubicBezTo>
                  <a:pt x="4943" y="6234"/>
                  <a:pt x="5638" y="6034"/>
                  <a:pt x="6238" y="5686"/>
                </a:cubicBezTo>
                <a:moveTo>
                  <a:pt x="6488" y="5196"/>
                </a:moveTo>
                <a:cubicBezTo>
                  <a:pt x="5852" y="5677"/>
                  <a:pt x="5060" y="5963"/>
                  <a:pt x="4200" y="5963"/>
                </a:cubicBezTo>
                <a:cubicBezTo>
                  <a:pt x="3341" y="5963"/>
                  <a:pt x="2549" y="5677"/>
                  <a:pt x="1913" y="5196"/>
                </a:cubicBezTo>
                <a:moveTo>
                  <a:pt x="1913" y="5196"/>
                </a:moveTo>
                <a:cubicBezTo>
                  <a:pt x="1783" y="5097"/>
                  <a:pt x="1659" y="4990"/>
                  <a:pt x="1543" y="4876"/>
                </a:cubicBezTo>
                <a:moveTo>
                  <a:pt x="1692" y="5367"/>
                </a:moveTo>
                <a:cubicBezTo>
                  <a:pt x="1841" y="5484"/>
                  <a:pt x="1998" y="5591"/>
                  <a:pt x="2163" y="5686"/>
                </a:cubicBezTo>
                <a:moveTo>
                  <a:pt x="6858" y="4876"/>
                </a:moveTo>
                <a:cubicBezTo>
                  <a:pt x="6742" y="4990"/>
                  <a:pt x="6618" y="5097"/>
                  <a:pt x="6488" y="5196"/>
                </a:cubicBezTo>
                <a:moveTo>
                  <a:pt x="6238" y="5686"/>
                </a:moveTo>
                <a:cubicBezTo>
                  <a:pt x="6403" y="5591"/>
                  <a:pt x="6560" y="5484"/>
                  <a:pt x="6709" y="5367"/>
                </a:cubicBezTo>
                <a:moveTo>
                  <a:pt x="7176" y="4521"/>
                </a:moveTo>
                <a:cubicBezTo>
                  <a:pt x="7078" y="4646"/>
                  <a:pt x="6971" y="4765"/>
                  <a:pt x="6858" y="4876"/>
                </a:cubicBezTo>
                <a:moveTo>
                  <a:pt x="6709" y="5367"/>
                </a:moveTo>
                <a:cubicBezTo>
                  <a:pt x="6849" y="5257"/>
                  <a:pt x="6981" y="5139"/>
                  <a:pt x="7105" y="5012"/>
                </a:cubicBezTo>
                <a:moveTo>
                  <a:pt x="1543" y="4876"/>
                </a:moveTo>
                <a:cubicBezTo>
                  <a:pt x="1430" y="4765"/>
                  <a:pt x="1323" y="4646"/>
                  <a:pt x="1225" y="4521"/>
                </a:cubicBezTo>
                <a:moveTo>
                  <a:pt x="1296" y="5012"/>
                </a:moveTo>
                <a:cubicBezTo>
                  <a:pt x="1420" y="5139"/>
                  <a:pt x="1552" y="5257"/>
                  <a:pt x="1692" y="5367"/>
                </a:cubicBezTo>
                <a:moveTo>
                  <a:pt x="7447" y="4135"/>
                </a:moveTo>
                <a:cubicBezTo>
                  <a:pt x="7365" y="4270"/>
                  <a:pt x="7274" y="4398"/>
                  <a:pt x="7176" y="4521"/>
                </a:cubicBezTo>
                <a:moveTo>
                  <a:pt x="7105" y="5012"/>
                </a:moveTo>
                <a:cubicBezTo>
                  <a:pt x="7225" y="4890"/>
                  <a:pt x="7337" y="4761"/>
                  <a:pt x="7440" y="4624"/>
                </a:cubicBezTo>
                <a:moveTo>
                  <a:pt x="961" y="4624"/>
                </a:moveTo>
                <a:cubicBezTo>
                  <a:pt x="1064" y="4761"/>
                  <a:pt x="1176" y="4890"/>
                  <a:pt x="1296" y="5012"/>
                </a:cubicBezTo>
                <a:moveTo>
                  <a:pt x="954" y="4135"/>
                </a:moveTo>
                <a:cubicBezTo>
                  <a:pt x="872" y="3999"/>
                  <a:pt x="798" y="3857"/>
                  <a:pt x="733" y="3710"/>
                </a:cubicBezTo>
                <a:moveTo>
                  <a:pt x="680" y="4201"/>
                </a:moveTo>
                <a:cubicBezTo>
                  <a:pt x="765" y="4348"/>
                  <a:pt x="858" y="4490"/>
                  <a:pt x="961" y="4624"/>
                </a:cubicBezTo>
                <a:moveTo>
                  <a:pt x="7668" y="3710"/>
                </a:moveTo>
                <a:cubicBezTo>
                  <a:pt x="7602" y="3857"/>
                  <a:pt x="7529" y="3999"/>
                  <a:pt x="7447" y="4135"/>
                </a:cubicBezTo>
                <a:moveTo>
                  <a:pt x="7440" y="4624"/>
                </a:moveTo>
                <a:cubicBezTo>
                  <a:pt x="7543" y="4490"/>
                  <a:pt x="7636" y="4348"/>
                  <a:pt x="7721" y="4201"/>
                </a:cubicBezTo>
                <a:moveTo>
                  <a:pt x="452" y="3745"/>
                </a:moveTo>
                <a:cubicBezTo>
                  <a:pt x="518" y="3903"/>
                  <a:pt x="595" y="4055"/>
                  <a:pt x="680" y="4201"/>
                </a:cubicBezTo>
                <a:moveTo>
                  <a:pt x="733" y="3710"/>
                </a:moveTo>
                <a:cubicBezTo>
                  <a:pt x="667" y="3563"/>
                  <a:pt x="610" y="3410"/>
                  <a:pt x="563" y="3253"/>
                </a:cubicBezTo>
                <a:moveTo>
                  <a:pt x="7837" y="3253"/>
                </a:moveTo>
                <a:cubicBezTo>
                  <a:pt x="7791" y="3410"/>
                  <a:pt x="7734" y="3563"/>
                  <a:pt x="7668" y="3710"/>
                </a:cubicBezTo>
                <a:moveTo>
                  <a:pt x="7721" y="4201"/>
                </a:moveTo>
                <a:cubicBezTo>
                  <a:pt x="7806" y="4055"/>
                  <a:pt x="7883" y="3903"/>
                  <a:pt x="7949" y="3745"/>
                </a:cubicBezTo>
                <a:moveTo>
                  <a:pt x="452" y="2761"/>
                </a:moveTo>
                <a:cubicBezTo>
                  <a:pt x="384" y="2920"/>
                  <a:pt x="328" y="3084"/>
                  <a:pt x="282" y="3253"/>
                </a:cubicBezTo>
                <a:cubicBezTo>
                  <a:pt x="328" y="3422"/>
                  <a:pt x="384" y="3586"/>
                  <a:pt x="452" y="3745"/>
                </a:cubicBezTo>
                <a:moveTo>
                  <a:pt x="7949" y="3745"/>
                </a:moveTo>
                <a:cubicBezTo>
                  <a:pt x="8016" y="3586"/>
                  <a:pt x="8073" y="3422"/>
                  <a:pt x="8119" y="3253"/>
                </a:cubicBezTo>
                <a:cubicBezTo>
                  <a:pt x="8073" y="3084"/>
                  <a:pt x="8016" y="2920"/>
                  <a:pt x="7949" y="2761"/>
                </a:cubicBezTo>
                <a:moveTo>
                  <a:pt x="8228" y="2727"/>
                </a:moveTo>
                <a:cubicBezTo>
                  <a:pt x="8160" y="2558"/>
                  <a:pt x="8082" y="2393"/>
                  <a:pt x="7994" y="2235"/>
                </a:cubicBezTo>
                <a:moveTo>
                  <a:pt x="7949" y="2761"/>
                </a:moveTo>
                <a:cubicBezTo>
                  <a:pt x="8016" y="2920"/>
                  <a:pt x="8073" y="3084"/>
                  <a:pt x="8119" y="3253"/>
                </a:cubicBezTo>
                <a:moveTo>
                  <a:pt x="282" y="3253"/>
                </a:moveTo>
                <a:cubicBezTo>
                  <a:pt x="328" y="3084"/>
                  <a:pt x="384" y="2920"/>
                  <a:pt x="452" y="2761"/>
                </a:cubicBezTo>
                <a:moveTo>
                  <a:pt x="407" y="2235"/>
                </a:moveTo>
                <a:cubicBezTo>
                  <a:pt x="319" y="2393"/>
                  <a:pt x="241" y="2558"/>
                  <a:pt x="173" y="2727"/>
                </a:cubicBezTo>
                <a:moveTo>
                  <a:pt x="2633" y="6212"/>
                </a:moveTo>
                <a:cubicBezTo>
                  <a:pt x="3119" y="6401"/>
                  <a:pt x="3647" y="6505"/>
                  <a:pt x="4200" y="6505"/>
                </a:cubicBezTo>
                <a:cubicBezTo>
                  <a:pt x="4753" y="6505"/>
                  <a:pt x="5282" y="6401"/>
                  <a:pt x="5768" y="6212"/>
                </a:cubicBezTo>
                <a:moveTo>
                  <a:pt x="6238" y="5686"/>
                </a:moveTo>
                <a:cubicBezTo>
                  <a:pt x="5638" y="6034"/>
                  <a:pt x="4943" y="6234"/>
                  <a:pt x="4200" y="6234"/>
                </a:cubicBezTo>
                <a:cubicBezTo>
                  <a:pt x="3458" y="6234"/>
                  <a:pt x="2763" y="6034"/>
                  <a:pt x="2163" y="5686"/>
                </a:cubicBezTo>
                <a:moveTo>
                  <a:pt x="1980" y="5894"/>
                </a:moveTo>
                <a:cubicBezTo>
                  <a:pt x="2187" y="6018"/>
                  <a:pt x="2406" y="6124"/>
                  <a:pt x="2633" y="6212"/>
                </a:cubicBezTo>
                <a:moveTo>
                  <a:pt x="2163" y="5686"/>
                </a:moveTo>
                <a:cubicBezTo>
                  <a:pt x="1998" y="5591"/>
                  <a:pt x="1841" y="5484"/>
                  <a:pt x="1692" y="5367"/>
                </a:cubicBezTo>
                <a:moveTo>
                  <a:pt x="5768" y="6212"/>
                </a:moveTo>
                <a:cubicBezTo>
                  <a:pt x="5995" y="6124"/>
                  <a:pt x="6214" y="6018"/>
                  <a:pt x="6421" y="5894"/>
                </a:cubicBezTo>
                <a:moveTo>
                  <a:pt x="6709" y="5367"/>
                </a:moveTo>
                <a:cubicBezTo>
                  <a:pt x="6560" y="5484"/>
                  <a:pt x="6403" y="5591"/>
                  <a:pt x="6238" y="5686"/>
                </a:cubicBezTo>
                <a:moveTo>
                  <a:pt x="1469" y="5537"/>
                </a:moveTo>
                <a:cubicBezTo>
                  <a:pt x="1630" y="5668"/>
                  <a:pt x="1801" y="5787"/>
                  <a:pt x="1980" y="5894"/>
                </a:cubicBezTo>
                <a:moveTo>
                  <a:pt x="1692" y="5367"/>
                </a:moveTo>
                <a:cubicBezTo>
                  <a:pt x="1552" y="5257"/>
                  <a:pt x="1420" y="5139"/>
                  <a:pt x="1296" y="5012"/>
                </a:cubicBezTo>
                <a:moveTo>
                  <a:pt x="6421" y="5894"/>
                </a:moveTo>
                <a:cubicBezTo>
                  <a:pt x="6600" y="5787"/>
                  <a:pt x="6770" y="5668"/>
                  <a:pt x="6932" y="5537"/>
                </a:cubicBezTo>
                <a:moveTo>
                  <a:pt x="7105" y="5012"/>
                </a:moveTo>
                <a:cubicBezTo>
                  <a:pt x="6981" y="5139"/>
                  <a:pt x="6849" y="5257"/>
                  <a:pt x="6709" y="5367"/>
                </a:cubicBezTo>
                <a:moveTo>
                  <a:pt x="1048" y="5145"/>
                </a:moveTo>
                <a:cubicBezTo>
                  <a:pt x="1180" y="5285"/>
                  <a:pt x="1320" y="5416"/>
                  <a:pt x="1469" y="5537"/>
                </a:cubicBezTo>
                <a:moveTo>
                  <a:pt x="1296" y="5012"/>
                </a:moveTo>
                <a:cubicBezTo>
                  <a:pt x="1176" y="4890"/>
                  <a:pt x="1064" y="4761"/>
                  <a:pt x="961" y="4624"/>
                </a:cubicBezTo>
                <a:moveTo>
                  <a:pt x="6932" y="5537"/>
                </a:moveTo>
                <a:cubicBezTo>
                  <a:pt x="7081" y="5416"/>
                  <a:pt x="7221" y="5285"/>
                  <a:pt x="7353" y="5145"/>
                </a:cubicBezTo>
                <a:moveTo>
                  <a:pt x="7440" y="4624"/>
                </a:moveTo>
                <a:cubicBezTo>
                  <a:pt x="7337" y="4761"/>
                  <a:pt x="7225" y="4890"/>
                  <a:pt x="7105" y="5012"/>
                </a:cubicBezTo>
                <a:moveTo>
                  <a:pt x="7353" y="5145"/>
                </a:moveTo>
                <a:cubicBezTo>
                  <a:pt x="7478" y="5013"/>
                  <a:pt x="7595" y="4872"/>
                  <a:pt x="7703" y="4725"/>
                </a:cubicBezTo>
                <a:moveTo>
                  <a:pt x="7721" y="4201"/>
                </a:moveTo>
                <a:cubicBezTo>
                  <a:pt x="7636" y="4348"/>
                  <a:pt x="7543" y="4490"/>
                  <a:pt x="7440" y="4624"/>
                </a:cubicBezTo>
                <a:moveTo>
                  <a:pt x="7703" y="4725"/>
                </a:moveTo>
                <a:cubicBezTo>
                  <a:pt x="7809" y="4580"/>
                  <a:pt x="7907" y="4428"/>
                  <a:pt x="7994" y="4270"/>
                </a:cubicBezTo>
                <a:moveTo>
                  <a:pt x="7949" y="3745"/>
                </a:moveTo>
                <a:cubicBezTo>
                  <a:pt x="7883" y="3903"/>
                  <a:pt x="7806" y="4055"/>
                  <a:pt x="7721" y="4201"/>
                </a:cubicBezTo>
                <a:moveTo>
                  <a:pt x="407" y="4270"/>
                </a:moveTo>
                <a:cubicBezTo>
                  <a:pt x="494" y="4428"/>
                  <a:pt x="592" y="4580"/>
                  <a:pt x="698" y="4725"/>
                </a:cubicBezTo>
                <a:moveTo>
                  <a:pt x="680" y="4201"/>
                </a:moveTo>
                <a:cubicBezTo>
                  <a:pt x="595" y="4055"/>
                  <a:pt x="518" y="3903"/>
                  <a:pt x="452" y="3745"/>
                </a:cubicBezTo>
                <a:moveTo>
                  <a:pt x="8119" y="3253"/>
                </a:moveTo>
                <a:cubicBezTo>
                  <a:pt x="8073" y="3422"/>
                  <a:pt x="8016" y="3586"/>
                  <a:pt x="7949" y="3745"/>
                </a:cubicBezTo>
                <a:moveTo>
                  <a:pt x="7994" y="4270"/>
                </a:moveTo>
                <a:cubicBezTo>
                  <a:pt x="8082" y="4112"/>
                  <a:pt x="8160" y="3948"/>
                  <a:pt x="8228" y="3779"/>
                </a:cubicBezTo>
                <a:moveTo>
                  <a:pt x="173" y="3779"/>
                </a:moveTo>
                <a:cubicBezTo>
                  <a:pt x="241" y="3948"/>
                  <a:pt x="319" y="4112"/>
                  <a:pt x="407" y="4270"/>
                </a:cubicBezTo>
                <a:moveTo>
                  <a:pt x="452" y="3745"/>
                </a:moveTo>
                <a:cubicBezTo>
                  <a:pt x="384" y="3586"/>
                  <a:pt x="328" y="3422"/>
                  <a:pt x="282" y="3253"/>
                </a:cubicBezTo>
                <a:moveTo>
                  <a:pt x="173" y="2727"/>
                </a:moveTo>
                <a:cubicBezTo>
                  <a:pt x="105" y="2898"/>
                  <a:pt x="46" y="3073"/>
                  <a:pt x="0" y="3253"/>
                </a:cubicBezTo>
                <a:cubicBezTo>
                  <a:pt x="46" y="3433"/>
                  <a:pt x="105" y="3608"/>
                  <a:pt x="173" y="3779"/>
                </a:cubicBezTo>
                <a:moveTo>
                  <a:pt x="8228" y="3779"/>
                </a:moveTo>
                <a:cubicBezTo>
                  <a:pt x="8296" y="3608"/>
                  <a:pt x="8355" y="3433"/>
                  <a:pt x="8401" y="3253"/>
                </a:cubicBezTo>
                <a:cubicBezTo>
                  <a:pt x="8355" y="3073"/>
                  <a:pt x="8296" y="2898"/>
                  <a:pt x="8228" y="2727"/>
                </a:cubicBezTo>
                <a:moveTo>
                  <a:pt x="5768" y="6212"/>
                </a:moveTo>
                <a:cubicBezTo>
                  <a:pt x="5282" y="6401"/>
                  <a:pt x="4753" y="6505"/>
                  <a:pt x="4200" y="6505"/>
                </a:cubicBezTo>
                <a:cubicBezTo>
                  <a:pt x="3647" y="6505"/>
                  <a:pt x="3119" y="6401"/>
                  <a:pt x="2633" y="6212"/>
                </a:cubicBezTo>
                <a:moveTo>
                  <a:pt x="6421" y="5894"/>
                </a:moveTo>
                <a:cubicBezTo>
                  <a:pt x="6214" y="6018"/>
                  <a:pt x="5995" y="6124"/>
                  <a:pt x="5768" y="6212"/>
                </a:cubicBezTo>
                <a:moveTo>
                  <a:pt x="2633" y="6212"/>
                </a:moveTo>
                <a:cubicBezTo>
                  <a:pt x="2406" y="6124"/>
                  <a:pt x="2187" y="6018"/>
                  <a:pt x="1980" y="5894"/>
                </a:cubicBezTo>
                <a:moveTo>
                  <a:pt x="6932" y="5537"/>
                </a:moveTo>
                <a:cubicBezTo>
                  <a:pt x="6770" y="5668"/>
                  <a:pt x="6600" y="5787"/>
                  <a:pt x="6421" y="5894"/>
                </a:cubicBezTo>
                <a:moveTo>
                  <a:pt x="1980" y="5894"/>
                </a:moveTo>
                <a:cubicBezTo>
                  <a:pt x="1801" y="5787"/>
                  <a:pt x="1630" y="5668"/>
                  <a:pt x="1469" y="5537"/>
                </a:cubicBezTo>
                <a:moveTo>
                  <a:pt x="7353" y="5145"/>
                </a:moveTo>
                <a:cubicBezTo>
                  <a:pt x="7221" y="5285"/>
                  <a:pt x="7081" y="5416"/>
                  <a:pt x="6932" y="5537"/>
                </a:cubicBezTo>
                <a:moveTo>
                  <a:pt x="1469" y="5537"/>
                </a:moveTo>
                <a:cubicBezTo>
                  <a:pt x="1320" y="5416"/>
                  <a:pt x="1180" y="5285"/>
                  <a:pt x="1048" y="5145"/>
                </a:cubicBezTo>
                <a:moveTo>
                  <a:pt x="7703" y="4725"/>
                </a:moveTo>
                <a:cubicBezTo>
                  <a:pt x="7595" y="4872"/>
                  <a:pt x="7478" y="5013"/>
                  <a:pt x="7353" y="5145"/>
                </a:cubicBezTo>
                <a:moveTo>
                  <a:pt x="1048" y="5145"/>
                </a:moveTo>
                <a:cubicBezTo>
                  <a:pt x="923" y="5013"/>
                  <a:pt x="805" y="4872"/>
                  <a:pt x="698" y="4725"/>
                </a:cubicBezTo>
                <a:moveTo>
                  <a:pt x="4472" y="3253"/>
                </a:moveTo>
                <a:cubicBezTo>
                  <a:pt x="4472" y="3403"/>
                  <a:pt x="4350" y="3524"/>
                  <a:pt x="4200" y="3524"/>
                </a:cubicBezTo>
                <a:cubicBezTo>
                  <a:pt x="4051" y="3524"/>
                  <a:pt x="3929" y="3403"/>
                  <a:pt x="3929" y="3253"/>
                </a:cubicBezTo>
                <a:cubicBezTo>
                  <a:pt x="3929" y="3103"/>
                  <a:pt x="4051" y="2982"/>
                  <a:pt x="4200" y="2982"/>
                </a:cubicBezTo>
                <a:cubicBezTo>
                  <a:pt x="4350" y="2982"/>
                  <a:pt x="4472" y="3103"/>
                  <a:pt x="4472" y="3253"/>
                </a:cubicBezTo>
                <a:close/>
                <a:moveTo>
                  <a:pt x="4743" y="3253"/>
                </a:moveTo>
                <a:cubicBezTo>
                  <a:pt x="4743" y="3553"/>
                  <a:pt x="4500" y="3795"/>
                  <a:pt x="4200" y="3795"/>
                </a:cubicBezTo>
                <a:cubicBezTo>
                  <a:pt x="3901" y="3795"/>
                  <a:pt x="3658" y="3553"/>
                  <a:pt x="3658" y="3253"/>
                </a:cubicBezTo>
                <a:cubicBezTo>
                  <a:pt x="3658" y="2953"/>
                  <a:pt x="3901" y="2710"/>
                  <a:pt x="4200" y="2710"/>
                </a:cubicBezTo>
                <a:cubicBezTo>
                  <a:pt x="4500" y="2710"/>
                  <a:pt x="4743" y="2953"/>
                  <a:pt x="4743" y="3253"/>
                </a:cubicBezTo>
                <a:close/>
                <a:moveTo>
                  <a:pt x="5014" y="3253"/>
                </a:moveTo>
                <a:cubicBezTo>
                  <a:pt x="5014" y="3702"/>
                  <a:pt x="4650" y="4067"/>
                  <a:pt x="4200" y="4067"/>
                </a:cubicBezTo>
                <a:cubicBezTo>
                  <a:pt x="3751" y="4067"/>
                  <a:pt x="3387" y="3702"/>
                  <a:pt x="3387" y="3253"/>
                </a:cubicBezTo>
                <a:cubicBezTo>
                  <a:pt x="3387" y="2803"/>
                  <a:pt x="3751" y="2439"/>
                  <a:pt x="4200" y="2439"/>
                </a:cubicBezTo>
                <a:cubicBezTo>
                  <a:pt x="4650" y="2439"/>
                  <a:pt x="5014" y="2803"/>
                  <a:pt x="5014" y="3253"/>
                </a:cubicBezTo>
                <a:close/>
                <a:moveTo>
                  <a:pt x="5285" y="3253"/>
                </a:moveTo>
                <a:cubicBezTo>
                  <a:pt x="5285" y="3852"/>
                  <a:pt x="4800" y="4338"/>
                  <a:pt x="4200" y="4338"/>
                </a:cubicBezTo>
                <a:cubicBezTo>
                  <a:pt x="3601" y="4338"/>
                  <a:pt x="3116" y="3852"/>
                  <a:pt x="3116" y="3253"/>
                </a:cubicBezTo>
                <a:cubicBezTo>
                  <a:pt x="3116" y="2654"/>
                  <a:pt x="3601" y="2168"/>
                  <a:pt x="4200" y="2168"/>
                </a:cubicBezTo>
                <a:cubicBezTo>
                  <a:pt x="4800" y="2168"/>
                  <a:pt x="5285" y="2654"/>
                  <a:pt x="5285" y="3253"/>
                </a:cubicBezTo>
                <a:close/>
                <a:moveTo>
                  <a:pt x="4200" y="4609"/>
                </a:moveTo>
                <a:cubicBezTo>
                  <a:pt x="5159" y="4609"/>
                  <a:pt x="5988" y="4057"/>
                  <a:pt x="6388" y="3253"/>
                </a:cubicBezTo>
                <a:cubicBezTo>
                  <a:pt x="5988" y="2449"/>
                  <a:pt x="5159" y="1897"/>
                  <a:pt x="4200" y="1897"/>
                </a:cubicBezTo>
                <a:cubicBezTo>
                  <a:pt x="3242" y="1897"/>
                  <a:pt x="2413" y="2449"/>
                  <a:pt x="2013" y="3253"/>
                </a:cubicBezTo>
                <a:cubicBezTo>
                  <a:pt x="2413" y="4057"/>
                  <a:pt x="3242" y="4609"/>
                  <a:pt x="4200" y="4609"/>
                </a:cubicBezTo>
                <a:close/>
                <a:moveTo>
                  <a:pt x="2013" y="3253"/>
                </a:moveTo>
                <a:cubicBezTo>
                  <a:pt x="2413" y="2449"/>
                  <a:pt x="3242" y="1897"/>
                  <a:pt x="4200" y="1897"/>
                </a:cubicBezTo>
                <a:cubicBezTo>
                  <a:pt x="5159" y="1897"/>
                  <a:pt x="5988" y="2449"/>
                  <a:pt x="6388" y="3253"/>
                </a:cubicBezTo>
                <a:moveTo>
                  <a:pt x="6519" y="2934"/>
                </a:moveTo>
                <a:cubicBezTo>
                  <a:pt x="6044" y="2151"/>
                  <a:pt x="5183" y="1628"/>
                  <a:pt x="4200" y="1628"/>
                </a:cubicBezTo>
                <a:cubicBezTo>
                  <a:pt x="3218" y="1628"/>
                  <a:pt x="2357" y="2151"/>
                  <a:pt x="1882" y="2934"/>
                </a:cubicBezTo>
                <a:moveTo>
                  <a:pt x="1882" y="2934"/>
                </a:moveTo>
                <a:cubicBezTo>
                  <a:pt x="2357" y="2151"/>
                  <a:pt x="3218" y="1628"/>
                  <a:pt x="4200" y="1628"/>
                </a:cubicBezTo>
                <a:cubicBezTo>
                  <a:pt x="5183" y="1628"/>
                  <a:pt x="6044" y="2151"/>
                  <a:pt x="6519" y="2934"/>
                </a:cubicBezTo>
                <a:moveTo>
                  <a:pt x="6607" y="2579"/>
                </a:moveTo>
                <a:cubicBezTo>
                  <a:pt x="6065" y="1838"/>
                  <a:pt x="5189" y="1357"/>
                  <a:pt x="4200" y="1357"/>
                </a:cubicBezTo>
                <a:cubicBezTo>
                  <a:pt x="3212" y="1357"/>
                  <a:pt x="2336" y="1838"/>
                  <a:pt x="1794" y="2579"/>
                </a:cubicBezTo>
                <a:moveTo>
                  <a:pt x="1758" y="2166"/>
                </a:moveTo>
                <a:cubicBezTo>
                  <a:pt x="1758" y="2174"/>
                  <a:pt x="1759" y="2182"/>
                  <a:pt x="1759" y="2190"/>
                </a:cubicBezTo>
                <a:cubicBezTo>
                  <a:pt x="2355" y="1513"/>
                  <a:pt x="3228" y="1085"/>
                  <a:pt x="4200" y="1085"/>
                </a:cubicBezTo>
                <a:cubicBezTo>
                  <a:pt x="5173" y="1085"/>
                  <a:pt x="6046" y="1513"/>
                  <a:pt x="6642" y="2190"/>
                </a:cubicBezTo>
                <a:moveTo>
                  <a:pt x="6610" y="1768"/>
                </a:moveTo>
                <a:cubicBezTo>
                  <a:pt x="5980" y="1177"/>
                  <a:pt x="5133" y="814"/>
                  <a:pt x="4200" y="814"/>
                </a:cubicBezTo>
                <a:cubicBezTo>
                  <a:pt x="3268" y="814"/>
                  <a:pt x="2421" y="1177"/>
                  <a:pt x="1791" y="1768"/>
                </a:cubicBezTo>
                <a:moveTo>
                  <a:pt x="1791" y="1768"/>
                </a:moveTo>
                <a:cubicBezTo>
                  <a:pt x="2421" y="1177"/>
                  <a:pt x="3268" y="814"/>
                  <a:pt x="4200" y="814"/>
                </a:cubicBezTo>
                <a:cubicBezTo>
                  <a:pt x="5133" y="814"/>
                  <a:pt x="5980" y="1177"/>
                  <a:pt x="6610" y="1768"/>
                </a:cubicBezTo>
                <a:moveTo>
                  <a:pt x="6488" y="1310"/>
                </a:moveTo>
                <a:cubicBezTo>
                  <a:pt x="5852" y="829"/>
                  <a:pt x="5060" y="543"/>
                  <a:pt x="4200" y="543"/>
                </a:cubicBezTo>
                <a:cubicBezTo>
                  <a:pt x="3341" y="543"/>
                  <a:pt x="2549" y="829"/>
                  <a:pt x="1913" y="1310"/>
                </a:cubicBezTo>
                <a:moveTo>
                  <a:pt x="1913" y="1310"/>
                </a:moveTo>
                <a:cubicBezTo>
                  <a:pt x="2549" y="829"/>
                  <a:pt x="3341" y="543"/>
                  <a:pt x="4200" y="543"/>
                </a:cubicBezTo>
                <a:cubicBezTo>
                  <a:pt x="5060" y="543"/>
                  <a:pt x="5852" y="829"/>
                  <a:pt x="6488" y="1310"/>
                </a:cubicBezTo>
                <a:moveTo>
                  <a:pt x="6238" y="819"/>
                </a:moveTo>
                <a:cubicBezTo>
                  <a:pt x="5638" y="472"/>
                  <a:pt x="4943" y="272"/>
                  <a:pt x="4200" y="272"/>
                </a:cubicBezTo>
                <a:cubicBezTo>
                  <a:pt x="3458" y="272"/>
                  <a:pt x="2762" y="472"/>
                  <a:pt x="2163" y="819"/>
                </a:cubicBezTo>
                <a:moveTo>
                  <a:pt x="2163" y="819"/>
                </a:moveTo>
                <a:cubicBezTo>
                  <a:pt x="2762" y="472"/>
                  <a:pt x="3458" y="272"/>
                  <a:pt x="4200" y="272"/>
                </a:cubicBezTo>
                <a:cubicBezTo>
                  <a:pt x="4943" y="272"/>
                  <a:pt x="5638" y="472"/>
                  <a:pt x="6238" y="819"/>
                </a:cubicBezTo>
                <a:moveTo>
                  <a:pt x="5768" y="294"/>
                </a:moveTo>
                <a:cubicBezTo>
                  <a:pt x="5282" y="105"/>
                  <a:pt x="4753" y="0"/>
                  <a:pt x="4200" y="0"/>
                </a:cubicBezTo>
                <a:cubicBezTo>
                  <a:pt x="3647" y="0"/>
                  <a:pt x="3119" y="105"/>
                  <a:pt x="2633" y="294"/>
                </a:cubicBezTo>
                <a:moveTo>
                  <a:pt x="2633" y="294"/>
                </a:moveTo>
                <a:cubicBezTo>
                  <a:pt x="3119" y="105"/>
                  <a:pt x="3647" y="0"/>
                  <a:pt x="4200" y="0"/>
                </a:cubicBezTo>
                <a:cubicBezTo>
                  <a:pt x="4753" y="0"/>
                  <a:pt x="5282" y="105"/>
                  <a:pt x="5768" y="294"/>
                </a:cubicBezTo>
                <a:moveTo>
                  <a:pt x="1882" y="2934"/>
                </a:moveTo>
                <a:cubicBezTo>
                  <a:pt x="1820" y="3036"/>
                  <a:pt x="1765" y="3143"/>
                  <a:pt x="1717" y="3253"/>
                </a:cubicBezTo>
                <a:cubicBezTo>
                  <a:pt x="1765" y="3363"/>
                  <a:pt x="1820" y="3470"/>
                  <a:pt x="1882" y="3572"/>
                </a:cubicBezTo>
                <a:moveTo>
                  <a:pt x="6811" y="2897"/>
                </a:moveTo>
                <a:cubicBezTo>
                  <a:pt x="6750" y="2787"/>
                  <a:pt x="6682" y="2681"/>
                  <a:pt x="6607" y="2579"/>
                </a:cubicBezTo>
                <a:moveTo>
                  <a:pt x="6519" y="2934"/>
                </a:moveTo>
                <a:cubicBezTo>
                  <a:pt x="6581" y="3036"/>
                  <a:pt x="6636" y="3143"/>
                  <a:pt x="6684" y="3253"/>
                </a:cubicBezTo>
                <a:moveTo>
                  <a:pt x="1794" y="2579"/>
                </a:moveTo>
                <a:cubicBezTo>
                  <a:pt x="1719" y="2681"/>
                  <a:pt x="1651" y="2787"/>
                  <a:pt x="1590" y="2897"/>
                </a:cubicBezTo>
                <a:moveTo>
                  <a:pt x="1717" y="3253"/>
                </a:moveTo>
                <a:cubicBezTo>
                  <a:pt x="1765" y="3143"/>
                  <a:pt x="1820" y="3036"/>
                  <a:pt x="1882" y="2934"/>
                </a:cubicBezTo>
                <a:moveTo>
                  <a:pt x="6607" y="2579"/>
                </a:moveTo>
                <a:cubicBezTo>
                  <a:pt x="6682" y="2681"/>
                  <a:pt x="6750" y="2787"/>
                  <a:pt x="6811" y="2897"/>
                </a:cubicBezTo>
                <a:moveTo>
                  <a:pt x="1512" y="2507"/>
                </a:moveTo>
                <a:cubicBezTo>
                  <a:pt x="1588" y="2397"/>
                  <a:pt x="1670" y="2291"/>
                  <a:pt x="1759" y="2190"/>
                </a:cubicBezTo>
                <a:cubicBezTo>
                  <a:pt x="1759" y="2182"/>
                  <a:pt x="1758" y="2174"/>
                  <a:pt x="1758" y="2166"/>
                </a:cubicBezTo>
                <a:moveTo>
                  <a:pt x="6642" y="2190"/>
                </a:moveTo>
                <a:cubicBezTo>
                  <a:pt x="6731" y="2291"/>
                  <a:pt x="6813" y="2397"/>
                  <a:pt x="6889" y="2507"/>
                </a:cubicBezTo>
                <a:moveTo>
                  <a:pt x="6610" y="1768"/>
                </a:moveTo>
                <a:cubicBezTo>
                  <a:pt x="6716" y="1867"/>
                  <a:pt x="6816" y="1973"/>
                  <a:pt x="6909" y="2084"/>
                </a:cubicBezTo>
                <a:moveTo>
                  <a:pt x="6858" y="1630"/>
                </a:moveTo>
                <a:cubicBezTo>
                  <a:pt x="6742" y="1516"/>
                  <a:pt x="6618" y="1409"/>
                  <a:pt x="6488" y="1310"/>
                </a:cubicBezTo>
                <a:moveTo>
                  <a:pt x="1492" y="2084"/>
                </a:moveTo>
                <a:cubicBezTo>
                  <a:pt x="1585" y="1973"/>
                  <a:pt x="1685" y="1867"/>
                  <a:pt x="1791" y="1768"/>
                </a:cubicBezTo>
                <a:moveTo>
                  <a:pt x="1913" y="1310"/>
                </a:moveTo>
                <a:cubicBezTo>
                  <a:pt x="1783" y="1409"/>
                  <a:pt x="1659" y="1516"/>
                  <a:pt x="1543" y="1630"/>
                </a:cubicBezTo>
                <a:moveTo>
                  <a:pt x="6488" y="1310"/>
                </a:moveTo>
                <a:cubicBezTo>
                  <a:pt x="6618" y="1409"/>
                  <a:pt x="6742" y="1516"/>
                  <a:pt x="6858" y="1630"/>
                </a:cubicBezTo>
              </a:path>
            </a:pathLst>
          </a:custGeom>
          <a:noFill/>
          <a:ln w="12700" cap="flat">
            <a:solidFill>
              <a:srgbClr val="FBC9A0"/>
            </a:solidFill>
            <a:prstDash val="solid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Citizen Identit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chemeClr val="accent1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chemeClr val="accent1"/>
                </a:solidFill>
              </a:defRPr>
            </a:lvl1pPr>
          </a:lstStyle>
          <a:p>
            <a:pPr algn="r"/>
            <a:fld id="{EBF78731-AF31-46E0-B203-81A9D7D107B9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3282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solidFill>
          <a:srgbClr val="FBC9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27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28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31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7" name="Freeform 5"/>
          <p:cNvSpPr>
            <a:spLocks noEditPoints="1"/>
          </p:cNvSpPr>
          <p:nvPr/>
        </p:nvSpPr>
        <p:spPr bwMode="auto">
          <a:xfrm>
            <a:off x="4218807" y="645537"/>
            <a:ext cx="5149850" cy="3983038"/>
          </a:xfrm>
          <a:custGeom>
            <a:avLst/>
            <a:gdLst>
              <a:gd name="T0" fmla="*/ 1980 w 8401"/>
              <a:gd name="T1" fmla="*/ 612 h 6505"/>
              <a:gd name="T2" fmla="*/ 4200 w 8401"/>
              <a:gd name="T3" fmla="*/ 5149 h 6505"/>
              <a:gd name="T4" fmla="*/ 6811 w 8401"/>
              <a:gd name="T5" fmla="*/ 3609 h 6505"/>
              <a:gd name="T6" fmla="*/ 1590 w 8401"/>
              <a:gd name="T7" fmla="*/ 2897 h 6505"/>
              <a:gd name="T8" fmla="*/ 1590 w 8401"/>
              <a:gd name="T9" fmla="*/ 2897 h 6505"/>
              <a:gd name="T10" fmla="*/ 7100 w 8401"/>
              <a:gd name="T11" fmla="*/ 2864 h 6505"/>
              <a:gd name="T12" fmla="*/ 7169 w 8401"/>
              <a:gd name="T13" fmla="*/ 2441 h 6505"/>
              <a:gd name="T14" fmla="*/ 7176 w 8401"/>
              <a:gd name="T15" fmla="*/ 1984 h 6505"/>
              <a:gd name="T16" fmla="*/ 1692 w 8401"/>
              <a:gd name="T17" fmla="*/ 1139 h 6505"/>
              <a:gd name="T18" fmla="*/ 1794 w 8401"/>
              <a:gd name="T19" fmla="*/ 3927 h 6505"/>
              <a:gd name="T20" fmla="*/ 1759 w 8401"/>
              <a:gd name="T21" fmla="*/ 4315 h 6505"/>
              <a:gd name="T22" fmla="*/ 7100 w 8401"/>
              <a:gd name="T23" fmla="*/ 3642 h 6505"/>
              <a:gd name="T24" fmla="*/ 7169 w 8401"/>
              <a:gd name="T25" fmla="*/ 2441 h 6505"/>
              <a:gd name="T26" fmla="*/ 7176 w 8401"/>
              <a:gd name="T27" fmla="*/ 1984 h 6505"/>
              <a:gd name="T28" fmla="*/ 961 w 8401"/>
              <a:gd name="T29" fmla="*/ 1882 h 6505"/>
              <a:gd name="T30" fmla="*/ 1048 w 8401"/>
              <a:gd name="T31" fmla="*/ 1360 h 6505"/>
              <a:gd name="T32" fmla="*/ 4200 w 8401"/>
              <a:gd name="T33" fmla="*/ 5692 h 6505"/>
              <a:gd name="T34" fmla="*/ 6909 w 8401"/>
              <a:gd name="T35" fmla="*/ 4421 h 6505"/>
              <a:gd name="T36" fmla="*/ 1791 w 8401"/>
              <a:gd name="T37" fmla="*/ 4738 h 6505"/>
              <a:gd name="T38" fmla="*/ 1492 w 8401"/>
              <a:gd name="T39" fmla="*/ 4421 h 6505"/>
              <a:gd name="T40" fmla="*/ 1134 w 8401"/>
              <a:gd name="T41" fmla="*/ 3253 h 6505"/>
              <a:gd name="T42" fmla="*/ 1015 w 8401"/>
              <a:gd name="T43" fmla="*/ 2830 h 6505"/>
              <a:gd name="T44" fmla="*/ 954 w 8401"/>
              <a:gd name="T45" fmla="*/ 2371 h 6505"/>
              <a:gd name="T46" fmla="*/ 698 w 8401"/>
              <a:gd name="T47" fmla="*/ 1781 h 6505"/>
              <a:gd name="T48" fmla="*/ 4200 w 8401"/>
              <a:gd name="T49" fmla="*/ 5963 h 6505"/>
              <a:gd name="T50" fmla="*/ 1492 w 8401"/>
              <a:gd name="T51" fmla="*/ 4421 h 6505"/>
              <a:gd name="T52" fmla="*/ 1543 w 8401"/>
              <a:gd name="T53" fmla="*/ 4876 h 6505"/>
              <a:gd name="T54" fmla="*/ 1225 w 8401"/>
              <a:gd name="T55" fmla="*/ 4521 h 6505"/>
              <a:gd name="T56" fmla="*/ 954 w 8401"/>
              <a:gd name="T57" fmla="*/ 4135 h 6505"/>
              <a:gd name="T58" fmla="*/ 7668 w 8401"/>
              <a:gd name="T59" fmla="*/ 2795 h 6505"/>
              <a:gd name="T60" fmla="*/ 452 w 8401"/>
              <a:gd name="T61" fmla="*/ 2761 h 6505"/>
              <a:gd name="T62" fmla="*/ 7949 w 8401"/>
              <a:gd name="T63" fmla="*/ 2761 h 6505"/>
              <a:gd name="T64" fmla="*/ 1543 w 8401"/>
              <a:gd name="T65" fmla="*/ 4876 h 6505"/>
              <a:gd name="T66" fmla="*/ 6858 w 8401"/>
              <a:gd name="T67" fmla="*/ 4876 h 6505"/>
              <a:gd name="T68" fmla="*/ 7176 w 8401"/>
              <a:gd name="T69" fmla="*/ 4521 h 6505"/>
              <a:gd name="T70" fmla="*/ 961 w 8401"/>
              <a:gd name="T71" fmla="*/ 4624 h 6505"/>
              <a:gd name="T72" fmla="*/ 563 w 8401"/>
              <a:gd name="T73" fmla="*/ 3253 h 6505"/>
              <a:gd name="T74" fmla="*/ 7949 w 8401"/>
              <a:gd name="T75" fmla="*/ 3745 h 6505"/>
              <a:gd name="T76" fmla="*/ 452 w 8401"/>
              <a:gd name="T77" fmla="*/ 2761 h 6505"/>
              <a:gd name="T78" fmla="*/ 2163 w 8401"/>
              <a:gd name="T79" fmla="*/ 5686 h 6505"/>
              <a:gd name="T80" fmla="*/ 6238 w 8401"/>
              <a:gd name="T81" fmla="*/ 5686 h 6505"/>
              <a:gd name="T82" fmla="*/ 6709 w 8401"/>
              <a:gd name="T83" fmla="*/ 5367 h 6505"/>
              <a:gd name="T84" fmla="*/ 7105 w 8401"/>
              <a:gd name="T85" fmla="*/ 5012 h 6505"/>
              <a:gd name="T86" fmla="*/ 7721 w 8401"/>
              <a:gd name="T87" fmla="*/ 4201 h 6505"/>
              <a:gd name="T88" fmla="*/ 8228 w 8401"/>
              <a:gd name="T89" fmla="*/ 3779 h 6505"/>
              <a:gd name="T90" fmla="*/ 8228 w 8401"/>
              <a:gd name="T91" fmla="*/ 3779 h 6505"/>
              <a:gd name="T92" fmla="*/ 2633 w 8401"/>
              <a:gd name="T93" fmla="*/ 6212 h 6505"/>
              <a:gd name="T94" fmla="*/ 1469 w 8401"/>
              <a:gd name="T95" fmla="*/ 5537 h 6505"/>
              <a:gd name="T96" fmla="*/ 3929 w 8401"/>
              <a:gd name="T97" fmla="*/ 3253 h 6505"/>
              <a:gd name="T98" fmla="*/ 5014 w 8401"/>
              <a:gd name="T99" fmla="*/ 3253 h 6505"/>
              <a:gd name="T100" fmla="*/ 4200 w 8401"/>
              <a:gd name="T101" fmla="*/ 2168 h 6505"/>
              <a:gd name="T102" fmla="*/ 4200 w 8401"/>
              <a:gd name="T103" fmla="*/ 1897 h 6505"/>
              <a:gd name="T104" fmla="*/ 6607 w 8401"/>
              <a:gd name="T105" fmla="*/ 2579 h 6505"/>
              <a:gd name="T106" fmla="*/ 4200 w 8401"/>
              <a:gd name="T107" fmla="*/ 814 h 6505"/>
              <a:gd name="T108" fmla="*/ 1913 w 8401"/>
              <a:gd name="T109" fmla="*/ 1310 h 6505"/>
              <a:gd name="T110" fmla="*/ 6238 w 8401"/>
              <a:gd name="T111" fmla="*/ 819 h 6505"/>
              <a:gd name="T112" fmla="*/ 1717 w 8401"/>
              <a:gd name="T113" fmla="*/ 3253 h 6505"/>
              <a:gd name="T114" fmla="*/ 1717 w 8401"/>
              <a:gd name="T115" fmla="*/ 3253 h 6505"/>
              <a:gd name="T116" fmla="*/ 6889 w 8401"/>
              <a:gd name="T117" fmla="*/ 2507 h 6505"/>
              <a:gd name="T118" fmla="*/ 1543 w 8401"/>
              <a:gd name="T119" fmla="*/ 1630 h 6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01" h="6505">
                <a:moveTo>
                  <a:pt x="6709" y="1139"/>
                </a:moveTo>
                <a:cubicBezTo>
                  <a:pt x="6560" y="1022"/>
                  <a:pt x="6403" y="915"/>
                  <a:pt x="6238" y="819"/>
                </a:cubicBezTo>
                <a:moveTo>
                  <a:pt x="2163" y="819"/>
                </a:moveTo>
                <a:cubicBezTo>
                  <a:pt x="1998" y="915"/>
                  <a:pt x="1841" y="1022"/>
                  <a:pt x="1692" y="1139"/>
                </a:cubicBezTo>
                <a:moveTo>
                  <a:pt x="1543" y="1630"/>
                </a:moveTo>
                <a:cubicBezTo>
                  <a:pt x="1659" y="1516"/>
                  <a:pt x="1783" y="1409"/>
                  <a:pt x="1913" y="1310"/>
                </a:cubicBezTo>
                <a:moveTo>
                  <a:pt x="2633" y="294"/>
                </a:moveTo>
                <a:cubicBezTo>
                  <a:pt x="2406" y="382"/>
                  <a:pt x="2187" y="488"/>
                  <a:pt x="1980" y="612"/>
                </a:cubicBezTo>
                <a:moveTo>
                  <a:pt x="1692" y="1139"/>
                </a:moveTo>
                <a:cubicBezTo>
                  <a:pt x="1841" y="1022"/>
                  <a:pt x="1998" y="915"/>
                  <a:pt x="2163" y="819"/>
                </a:cubicBezTo>
                <a:moveTo>
                  <a:pt x="6421" y="612"/>
                </a:moveTo>
                <a:cubicBezTo>
                  <a:pt x="6214" y="488"/>
                  <a:pt x="5995" y="382"/>
                  <a:pt x="5768" y="294"/>
                </a:cubicBezTo>
                <a:moveTo>
                  <a:pt x="6238" y="819"/>
                </a:moveTo>
                <a:cubicBezTo>
                  <a:pt x="6403" y="915"/>
                  <a:pt x="6560" y="1022"/>
                  <a:pt x="6709" y="1139"/>
                </a:cubicBezTo>
                <a:moveTo>
                  <a:pt x="1794" y="3927"/>
                </a:moveTo>
                <a:cubicBezTo>
                  <a:pt x="2336" y="4668"/>
                  <a:pt x="3212" y="5149"/>
                  <a:pt x="4200" y="5149"/>
                </a:cubicBezTo>
                <a:cubicBezTo>
                  <a:pt x="5189" y="5149"/>
                  <a:pt x="6065" y="4668"/>
                  <a:pt x="6607" y="3927"/>
                </a:cubicBezTo>
                <a:moveTo>
                  <a:pt x="6519" y="3572"/>
                </a:moveTo>
                <a:cubicBezTo>
                  <a:pt x="6044" y="4355"/>
                  <a:pt x="5183" y="4878"/>
                  <a:pt x="4200" y="4878"/>
                </a:cubicBezTo>
                <a:cubicBezTo>
                  <a:pt x="3218" y="4878"/>
                  <a:pt x="2357" y="4355"/>
                  <a:pt x="1882" y="3572"/>
                </a:cubicBezTo>
                <a:moveTo>
                  <a:pt x="6684" y="3253"/>
                </a:moveTo>
                <a:cubicBezTo>
                  <a:pt x="6636" y="3363"/>
                  <a:pt x="6581" y="3470"/>
                  <a:pt x="6519" y="3572"/>
                </a:cubicBezTo>
                <a:moveTo>
                  <a:pt x="6607" y="3927"/>
                </a:moveTo>
                <a:cubicBezTo>
                  <a:pt x="6682" y="3825"/>
                  <a:pt x="6750" y="3719"/>
                  <a:pt x="6811" y="3609"/>
                </a:cubicBezTo>
                <a:moveTo>
                  <a:pt x="1882" y="3572"/>
                </a:moveTo>
                <a:cubicBezTo>
                  <a:pt x="1820" y="3470"/>
                  <a:pt x="1765" y="3363"/>
                  <a:pt x="1717" y="3253"/>
                </a:cubicBezTo>
                <a:moveTo>
                  <a:pt x="1590" y="3609"/>
                </a:moveTo>
                <a:cubicBezTo>
                  <a:pt x="1651" y="3719"/>
                  <a:pt x="1719" y="3825"/>
                  <a:pt x="1794" y="3927"/>
                </a:cubicBezTo>
                <a:moveTo>
                  <a:pt x="6811" y="3609"/>
                </a:moveTo>
                <a:cubicBezTo>
                  <a:pt x="6874" y="3494"/>
                  <a:pt x="6929" y="3376"/>
                  <a:pt x="6977" y="3253"/>
                </a:cubicBezTo>
                <a:cubicBezTo>
                  <a:pt x="6929" y="3130"/>
                  <a:pt x="6874" y="3011"/>
                  <a:pt x="6811" y="2897"/>
                </a:cubicBezTo>
                <a:moveTo>
                  <a:pt x="1590" y="2897"/>
                </a:moveTo>
                <a:cubicBezTo>
                  <a:pt x="1527" y="3011"/>
                  <a:pt x="1472" y="3130"/>
                  <a:pt x="1424" y="3253"/>
                </a:cubicBezTo>
                <a:cubicBezTo>
                  <a:pt x="1472" y="3376"/>
                  <a:pt x="1527" y="3494"/>
                  <a:pt x="1590" y="3609"/>
                </a:cubicBezTo>
                <a:moveTo>
                  <a:pt x="7100" y="2864"/>
                </a:moveTo>
                <a:cubicBezTo>
                  <a:pt x="7037" y="2740"/>
                  <a:pt x="6967" y="2621"/>
                  <a:pt x="6889" y="2507"/>
                </a:cubicBezTo>
                <a:moveTo>
                  <a:pt x="6811" y="2897"/>
                </a:moveTo>
                <a:cubicBezTo>
                  <a:pt x="6874" y="3011"/>
                  <a:pt x="6929" y="3130"/>
                  <a:pt x="6977" y="3253"/>
                </a:cubicBezTo>
                <a:moveTo>
                  <a:pt x="1424" y="3253"/>
                </a:moveTo>
                <a:cubicBezTo>
                  <a:pt x="1472" y="3130"/>
                  <a:pt x="1527" y="3011"/>
                  <a:pt x="1590" y="2897"/>
                </a:cubicBezTo>
                <a:moveTo>
                  <a:pt x="1512" y="2507"/>
                </a:moveTo>
                <a:cubicBezTo>
                  <a:pt x="1434" y="2621"/>
                  <a:pt x="1364" y="2740"/>
                  <a:pt x="1301" y="2864"/>
                </a:cubicBezTo>
                <a:moveTo>
                  <a:pt x="1492" y="2084"/>
                </a:moveTo>
                <a:cubicBezTo>
                  <a:pt x="1398" y="2197"/>
                  <a:pt x="1311" y="2317"/>
                  <a:pt x="1232" y="2441"/>
                </a:cubicBezTo>
                <a:moveTo>
                  <a:pt x="1301" y="2864"/>
                </a:moveTo>
                <a:cubicBezTo>
                  <a:pt x="1364" y="2740"/>
                  <a:pt x="1434" y="2621"/>
                  <a:pt x="1512" y="2507"/>
                </a:cubicBezTo>
                <a:moveTo>
                  <a:pt x="6889" y="2507"/>
                </a:moveTo>
                <a:cubicBezTo>
                  <a:pt x="6967" y="2621"/>
                  <a:pt x="7037" y="2740"/>
                  <a:pt x="7100" y="2864"/>
                </a:cubicBezTo>
                <a:moveTo>
                  <a:pt x="7169" y="2441"/>
                </a:moveTo>
                <a:cubicBezTo>
                  <a:pt x="7090" y="2317"/>
                  <a:pt x="7003" y="2197"/>
                  <a:pt x="6909" y="2084"/>
                </a:cubicBezTo>
                <a:moveTo>
                  <a:pt x="1543" y="1630"/>
                </a:moveTo>
                <a:cubicBezTo>
                  <a:pt x="1430" y="1741"/>
                  <a:pt x="1323" y="1860"/>
                  <a:pt x="1225" y="1984"/>
                </a:cubicBezTo>
                <a:moveTo>
                  <a:pt x="1232" y="2441"/>
                </a:moveTo>
                <a:cubicBezTo>
                  <a:pt x="1311" y="2317"/>
                  <a:pt x="1398" y="2197"/>
                  <a:pt x="1492" y="2084"/>
                </a:cubicBezTo>
                <a:moveTo>
                  <a:pt x="6909" y="2084"/>
                </a:moveTo>
                <a:cubicBezTo>
                  <a:pt x="7003" y="2197"/>
                  <a:pt x="7090" y="2317"/>
                  <a:pt x="7169" y="2441"/>
                </a:cubicBezTo>
                <a:moveTo>
                  <a:pt x="7176" y="1984"/>
                </a:moveTo>
                <a:cubicBezTo>
                  <a:pt x="7078" y="1860"/>
                  <a:pt x="6971" y="1741"/>
                  <a:pt x="6858" y="1630"/>
                </a:cubicBezTo>
                <a:moveTo>
                  <a:pt x="1225" y="1984"/>
                </a:moveTo>
                <a:cubicBezTo>
                  <a:pt x="1323" y="1860"/>
                  <a:pt x="1430" y="1741"/>
                  <a:pt x="1543" y="1630"/>
                </a:cubicBezTo>
                <a:moveTo>
                  <a:pt x="1692" y="1139"/>
                </a:moveTo>
                <a:cubicBezTo>
                  <a:pt x="1552" y="1249"/>
                  <a:pt x="1420" y="1367"/>
                  <a:pt x="1296" y="1494"/>
                </a:cubicBezTo>
                <a:moveTo>
                  <a:pt x="6858" y="1630"/>
                </a:moveTo>
                <a:cubicBezTo>
                  <a:pt x="6971" y="1741"/>
                  <a:pt x="7078" y="1860"/>
                  <a:pt x="7176" y="1984"/>
                </a:cubicBezTo>
                <a:moveTo>
                  <a:pt x="7105" y="1494"/>
                </a:moveTo>
                <a:cubicBezTo>
                  <a:pt x="6981" y="1367"/>
                  <a:pt x="6849" y="1249"/>
                  <a:pt x="6709" y="1139"/>
                </a:cubicBezTo>
                <a:moveTo>
                  <a:pt x="6932" y="969"/>
                </a:moveTo>
                <a:cubicBezTo>
                  <a:pt x="6770" y="838"/>
                  <a:pt x="6600" y="719"/>
                  <a:pt x="6421" y="612"/>
                </a:cubicBezTo>
                <a:moveTo>
                  <a:pt x="6709" y="1139"/>
                </a:moveTo>
                <a:cubicBezTo>
                  <a:pt x="6849" y="1249"/>
                  <a:pt x="6981" y="1367"/>
                  <a:pt x="7105" y="1494"/>
                </a:cubicBezTo>
                <a:moveTo>
                  <a:pt x="1296" y="1494"/>
                </a:moveTo>
                <a:cubicBezTo>
                  <a:pt x="1420" y="1367"/>
                  <a:pt x="1552" y="1249"/>
                  <a:pt x="1692" y="1139"/>
                </a:cubicBezTo>
                <a:moveTo>
                  <a:pt x="1980" y="612"/>
                </a:moveTo>
                <a:cubicBezTo>
                  <a:pt x="1801" y="719"/>
                  <a:pt x="1630" y="838"/>
                  <a:pt x="1469" y="969"/>
                </a:cubicBezTo>
                <a:moveTo>
                  <a:pt x="1759" y="4315"/>
                </a:moveTo>
                <a:cubicBezTo>
                  <a:pt x="2355" y="4993"/>
                  <a:pt x="3228" y="5420"/>
                  <a:pt x="4200" y="5420"/>
                </a:cubicBezTo>
                <a:cubicBezTo>
                  <a:pt x="5173" y="5420"/>
                  <a:pt x="6046" y="4993"/>
                  <a:pt x="6642" y="4315"/>
                </a:cubicBezTo>
                <a:moveTo>
                  <a:pt x="6607" y="3927"/>
                </a:moveTo>
                <a:cubicBezTo>
                  <a:pt x="6065" y="4668"/>
                  <a:pt x="5189" y="5149"/>
                  <a:pt x="4200" y="5149"/>
                </a:cubicBezTo>
                <a:cubicBezTo>
                  <a:pt x="3212" y="5149"/>
                  <a:pt x="2336" y="4668"/>
                  <a:pt x="1794" y="3927"/>
                </a:cubicBezTo>
                <a:moveTo>
                  <a:pt x="6811" y="3609"/>
                </a:moveTo>
                <a:cubicBezTo>
                  <a:pt x="6750" y="3719"/>
                  <a:pt x="6682" y="3825"/>
                  <a:pt x="6607" y="3927"/>
                </a:cubicBezTo>
                <a:moveTo>
                  <a:pt x="6642" y="4315"/>
                </a:moveTo>
                <a:cubicBezTo>
                  <a:pt x="6731" y="4215"/>
                  <a:pt x="6813" y="4109"/>
                  <a:pt x="6889" y="3998"/>
                </a:cubicBezTo>
                <a:moveTo>
                  <a:pt x="1794" y="3927"/>
                </a:moveTo>
                <a:cubicBezTo>
                  <a:pt x="1719" y="3825"/>
                  <a:pt x="1651" y="3719"/>
                  <a:pt x="1590" y="3609"/>
                </a:cubicBezTo>
                <a:moveTo>
                  <a:pt x="1512" y="3998"/>
                </a:moveTo>
                <a:cubicBezTo>
                  <a:pt x="1588" y="4109"/>
                  <a:pt x="1670" y="4215"/>
                  <a:pt x="1759" y="4315"/>
                </a:cubicBezTo>
                <a:moveTo>
                  <a:pt x="1301" y="3642"/>
                </a:moveTo>
                <a:cubicBezTo>
                  <a:pt x="1364" y="3765"/>
                  <a:pt x="1434" y="3885"/>
                  <a:pt x="1512" y="3998"/>
                </a:cubicBezTo>
                <a:moveTo>
                  <a:pt x="1590" y="3609"/>
                </a:moveTo>
                <a:cubicBezTo>
                  <a:pt x="1527" y="3494"/>
                  <a:pt x="1472" y="3376"/>
                  <a:pt x="1424" y="3253"/>
                </a:cubicBezTo>
                <a:moveTo>
                  <a:pt x="6977" y="3253"/>
                </a:moveTo>
                <a:cubicBezTo>
                  <a:pt x="6929" y="3376"/>
                  <a:pt x="6874" y="3494"/>
                  <a:pt x="6811" y="3609"/>
                </a:cubicBezTo>
                <a:moveTo>
                  <a:pt x="6889" y="3998"/>
                </a:moveTo>
                <a:cubicBezTo>
                  <a:pt x="6967" y="3885"/>
                  <a:pt x="7037" y="3765"/>
                  <a:pt x="7100" y="3642"/>
                </a:cubicBezTo>
                <a:moveTo>
                  <a:pt x="1301" y="2864"/>
                </a:moveTo>
                <a:cubicBezTo>
                  <a:pt x="1237" y="2989"/>
                  <a:pt x="1181" y="3119"/>
                  <a:pt x="1134" y="3253"/>
                </a:cubicBezTo>
                <a:cubicBezTo>
                  <a:pt x="1181" y="3387"/>
                  <a:pt x="1237" y="3517"/>
                  <a:pt x="1301" y="3642"/>
                </a:cubicBezTo>
                <a:moveTo>
                  <a:pt x="7100" y="3642"/>
                </a:moveTo>
                <a:cubicBezTo>
                  <a:pt x="7163" y="3517"/>
                  <a:pt x="7220" y="3387"/>
                  <a:pt x="7267" y="3253"/>
                </a:cubicBezTo>
                <a:cubicBezTo>
                  <a:pt x="7220" y="3119"/>
                  <a:pt x="7163" y="2989"/>
                  <a:pt x="7100" y="2864"/>
                </a:cubicBezTo>
                <a:moveTo>
                  <a:pt x="7386" y="2830"/>
                </a:moveTo>
                <a:cubicBezTo>
                  <a:pt x="7322" y="2695"/>
                  <a:pt x="7249" y="2565"/>
                  <a:pt x="7169" y="2441"/>
                </a:cubicBezTo>
                <a:moveTo>
                  <a:pt x="7100" y="2864"/>
                </a:moveTo>
                <a:cubicBezTo>
                  <a:pt x="7163" y="2989"/>
                  <a:pt x="7220" y="3119"/>
                  <a:pt x="7267" y="3253"/>
                </a:cubicBezTo>
                <a:moveTo>
                  <a:pt x="1134" y="3253"/>
                </a:moveTo>
                <a:cubicBezTo>
                  <a:pt x="1181" y="3119"/>
                  <a:pt x="1237" y="2989"/>
                  <a:pt x="1301" y="2864"/>
                </a:cubicBezTo>
                <a:moveTo>
                  <a:pt x="1232" y="2441"/>
                </a:moveTo>
                <a:cubicBezTo>
                  <a:pt x="1152" y="2565"/>
                  <a:pt x="1079" y="2695"/>
                  <a:pt x="1015" y="2830"/>
                </a:cubicBezTo>
                <a:moveTo>
                  <a:pt x="7447" y="2371"/>
                </a:moveTo>
                <a:cubicBezTo>
                  <a:pt x="7365" y="2236"/>
                  <a:pt x="7274" y="2107"/>
                  <a:pt x="7176" y="1984"/>
                </a:cubicBezTo>
                <a:moveTo>
                  <a:pt x="7169" y="2441"/>
                </a:moveTo>
                <a:cubicBezTo>
                  <a:pt x="7249" y="2565"/>
                  <a:pt x="7322" y="2695"/>
                  <a:pt x="7386" y="2830"/>
                </a:cubicBezTo>
                <a:moveTo>
                  <a:pt x="1225" y="1984"/>
                </a:moveTo>
                <a:cubicBezTo>
                  <a:pt x="1127" y="2107"/>
                  <a:pt x="1036" y="2236"/>
                  <a:pt x="954" y="2371"/>
                </a:cubicBezTo>
                <a:moveTo>
                  <a:pt x="1015" y="2830"/>
                </a:moveTo>
                <a:cubicBezTo>
                  <a:pt x="1079" y="2695"/>
                  <a:pt x="1152" y="2565"/>
                  <a:pt x="1232" y="2441"/>
                </a:cubicBezTo>
                <a:moveTo>
                  <a:pt x="1296" y="1494"/>
                </a:moveTo>
                <a:cubicBezTo>
                  <a:pt x="1176" y="1616"/>
                  <a:pt x="1064" y="1745"/>
                  <a:pt x="961" y="1882"/>
                </a:cubicBezTo>
                <a:moveTo>
                  <a:pt x="954" y="2371"/>
                </a:moveTo>
                <a:cubicBezTo>
                  <a:pt x="1036" y="2236"/>
                  <a:pt x="1127" y="2107"/>
                  <a:pt x="1225" y="1984"/>
                </a:cubicBezTo>
                <a:moveTo>
                  <a:pt x="7176" y="1984"/>
                </a:moveTo>
                <a:cubicBezTo>
                  <a:pt x="7274" y="2107"/>
                  <a:pt x="7365" y="2236"/>
                  <a:pt x="7447" y="2371"/>
                </a:cubicBezTo>
                <a:moveTo>
                  <a:pt x="7440" y="1882"/>
                </a:moveTo>
                <a:cubicBezTo>
                  <a:pt x="7337" y="1745"/>
                  <a:pt x="7225" y="1616"/>
                  <a:pt x="7105" y="1494"/>
                </a:cubicBezTo>
                <a:moveTo>
                  <a:pt x="1469" y="969"/>
                </a:moveTo>
                <a:cubicBezTo>
                  <a:pt x="1320" y="1090"/>
                  <a:pt x="1180" y="1221"/>
                  <a:pt x="1048" y="1360"/>
                </a:cubicBezTo>
                <a:moveTo>
                  <a:pt x="961" y="1882"/>
                </a:moveTo>
                <a:cubicBezTo>
                  <a:pt x="1064" y="1745"/>
                  <a:pt x="1176" y="1616"/>
                  <a:pt x="1296" y="1494"/>
                </a:cubicBezTo>
                <a:moveTo>
                  <a:pt x="7353" y="1360"/>
                </a:moveTo>
                <a:cubicBezTo>
                  <a:pt x="7221" y="1221"/>
                  <a:pt x="7081" y="1090"/>
                  <a:pt x="6932" y="969"/>
                </a:cubicBezTo>
                <a:moveTo>
                  <a:pt x="7105" y="1494"/>
                </a:moveTo>
                <a:cubicBezTo>
                  <a:pt x="7225" y="1616"/>
                  <a:pt x="7337" y="1745"/>
                  <a:pt x="7440" y="1882"/>
                </a:cubicBezTo>
                <a:moveTo>
                  <a:pt x="1791" y="4738"/>
                </a:moveTo>
                <a:cubicBezTo>
                  <a:pt x="2421" y="5329"/>
                  <a:pt x="3268" y="5692"/>
                  <a:pt x="4200" y="5692"/>
                </a:cubicBezTo>
                <a:cubicBezTo>
                  <a:pt x="5133" y="5692"/>
                  <a:pt x="5980" y="5329"/>
                  <a:pt x="6610" y="4738"/>
                </a:cubicBezTo>
                <a:moveTo>
                  <a:pt x="6643" y="4339"/>
                </a:moveTo>
                <a:cubicBezTo>
                  <a:pt x="6643" y="4331"/>
                  <a:pt x="6642" y="4323"/>
                  <a:pt x="6642" y="4315"/>
                </a:cubicBezTo>
                <a:cubicBezTo>
                  <a:pt x="6046" y="4993"/>
                  <a:pt x="5173" y="5420"/>
                  <a:pt x="4200" y="5420"/>
                </a:cubicBezTo>
                <a:cubicBezTo>
                  <a:pt x="3228" y="5420"/>
                  <a:pt x="2355" y="4993"/>
                  <a:pt x="1759" y="4315"/>
                </a:cubicBezTo>
                <a:cubicBezTo>
                  <a:pt x="1759" y="4323"/>
                  <a:pt x="1758" y="4331"/>
                  <a:pt x="1758" y="4339"/>
                </a:cubicBezTo>
                <a:moveTo>
                  <a:pt x="6610" y="4738"/>
                </a:moveTo>
                <a:cubicBezTo>
                  <a:pt x="6716" y="4639"/>
                  <a:pt x="6816" y="4533"/>
                  <a:pt x="6909" y="4421"/>
                </a:cubicBezTo>
                <a:moveTo>
                  <a:pt x="6889" y="3998"/>
                </a:moveTo>
                <a:cubicBezTo>
                  <a:pt x="6813" y="4109"/>
                  <a:pt x="6731" y="4215"/>
                  <a:pt x="6642" y="4315"/>
                </a:cubicBezTo>
                <a:cubicBezTo>
                  <a:pt x="6642" y="4323"/>
                  <a:pt x="6643" y="4331"/>
                  <a:pt x="6643" y="4339"/>
                </a:cubicBezTo>
                <a:moveTo>
                  <a:pt x="1758" y="4339"/>
                </a:moveTo>
                <a:cubicBezTo>
                  <a:pt x="1758" y="4331"/>
                  <a:pt x="1759" y="4323"/>
                  <a:pt x="1759" y="4315"/>
                </a:cubicBezTo>
                <a:cubicBezTo>
                  <a:pt x="1670" y="4215"/>
                  <a:pt x="1588" y="4109"/>
                  <a:pt x="1512" y="3998"/>
                </a:cubicBezTo>
                <a:moveTo>
                  <a:pt x="1492" y="4421"/>
                </a:moveTo>
                <a:cubicBezTo>
                  <a:pt x="1585" y="4533"/>
                  <a:pt x="1685" y="4639"/>
                  <a:pt x="1791" y="4738"/>
                </a:cubicBezTo>
                <a:moveTo>
                  <a:pt x="7100" y="3642"/>
                </a:moveTo>
                <a:cubicBezTo>
                  <a:pt x="7037" y="3765"/>
                  <a:pt x="6967" y="3885"/>
                  <a:pt x="6889" y="3998"/>
                </a:cubicBezTo>
                <a:moveTo>
                  <a:pt x="6909" y="4421"/>
                </a:moveTo>
                <a:cubicBezTo>
                  <a:pt x="7003" y="4308"/>
                  <a:pt x="7090" y="4189"/>
                  <a:pt x="7169" y="4065"/>
                </a:cubicBezTo>
                <a:moveTo>
                  <a:pt x="1512" y="3998"/>
                </a:moveTo>
                <a:cubicBezTo>
                  <a:pt x="1434" y="3885"/>
                  <a:pt x="1364" y="3765"/>
                  <a:pt x="1301" y="3642"/>
                </a:cubicBezTo>
                <a:moveTo>
                  <a:pt x="1232" y="4065"/>
                </a:moveTo>
                <a:cubicBezTo>
                  <a:pt x="1311" y="4189"/>
                  <a:pt x="1398" y="4308"/>
                  <a:pt x="1492" y="4421"/>
                </a:cubicBezTo>
                <a:moveTo>
                  <a:pt x="7267" y="3253"/>
                </a:moveTo>
                <a:cubicBezTo>
                  <a:pt x="7220" y="3387"/>
                  <a:pt x="7163" y="3517"/>
                  <a:pt x="7100" y="3642"/>
                </a:cubicBezTo>
                <a:moveTo>
                  <a:pt x="7169" y="4065"/>
                </a:moveTo>
                <a:cubicBezTo>
                  <a:pt x="7249" y="3940"/>
                  <a:pt x="7322" y="3811"/>
                  <a:pt x="7386" y="3676"/>
                </a:cubicBezTo>
                <a:moveTo>
                  <a:pt x="1015" y="3676"/>
                </a:moveTo>
                <a:cubicBezTo>
                  <a:pt x="1079" y="3811"/>
                  <a:pt x="1152" y="3940"/>
                  <a:pt x="1232" y="4065"/>
                </a:cubicBezTo>
                <a:moveTo>
                  <a:pt x="1301" y="3642"/>
                </a:moveTo>
                <a:cubicBezTo>
                  <a:pt x="1237" y="3517"/>
                  <a:pt x="1181" y="3387"/>
                  <a:pt x="1134" y="3253"/>
                </a:cubicBezTo>
                <a:moveTo>
                  <a:pt x="7386" y="3676"/>
                </a:moveTo>
                <a:cubicBezTo>
                  <a:pt x="7450" y="3540"/>
                  <a:pt x="7506" y="3398"/>
                  <a:pt x="7553" y="3253"/>
                </a:cubicBezTo>
                <a:cubicBezTo>
                  <a:pt x="7506" y="3108"/>
                  <a:pt x="7450" y="2966"/>
                  <a:pt x="7386" y="2830"/>
                </a:cubicBezTo>
                <a:moveTo>
                  <a:pt x="1015" y="2830"/>
                </a:moveTo>
                <a:cubicBezTo>
                  <a:pt x="950" y="2966"/>
                  <a:pt x="895" y="3108"/>
                  <a:pt x="847" y="3253"/>
                </a:cubicBezTo>
                <a:cubicBezTo>
                  <a:pt x="895" y="3398"/>
                  <a:pt x="950" y="3540"/>
                  <a:pt x="1015" y="3676"/>
                </a:cubicBezTo>
                <a:moveTo>
                  <a:pt x="847" y="3253"/>
                </a:moveTo>
                <a:cubicBezTo>
                  <a:pt x="895" y="3108"/>
                  <a:pt x="950" y="2966"/>
                  <a:pt x="1015" y="2830"/>
                </a:cubicBezTo>
                <a:moveTo>
                  <a:pt x="954" y="2371"/>
                </a:moveTo>
                <a:cubicBezTo>
                  <a:pt x="872" y="2507"/>
                  <a:pt x="798" y="2649"/>
                  <a:pt x="733" y="2795"/>
                </a:cubicBezTo>
                <a:moveTo>
                  <a:pt x="7668" y="2795"/>
                </a:moveTo>
                <a:cubicBezTo>
                  <a:pt x="7602" y="2649"/>
                  <a:pt x="7529" y="2507"/>
                  <a:pt x="7447" y="2371"/>
                </a:cubicBezTo>
                <a:moveTo>
                  <a:pt x="7386" y="2830"/>
                </a:moveTo>
                <a:cubicBezTo>
                  <a:pt x="7450" y="2966"/>
                  <a:pt x="7506" y="3108"/>
                  <a:pt x="7553" y="3253"/>
                </a:cubicBezTo>
                <a:moveTo>
                  <a:pt x="733" y="2795"/>
                </a:moveTo>
                <a:cubicBezTo>
                  <a:pt x="798" y="2649"/>
                  <a:pt x="872" y="2507"/>
                  <a:pt x="954" y="2371"/>
                </a:cubicBezTo>
                <a:moveTo>
                  <a:pt x="961" y="1882"/>
                </a:moveTo>
                <a:cubicBezTo>
                  <a:pt x="858" y="2016"/>
                  <a:pt x="765" y="2158"/>
                  <a:pt x="680" y="2305"/>
                </a:cubicBezTo>
                <a:moveTo>
                  <a:pt x="7447" y="2371"/>
                </a:moveTo>
                <a:cubicBezTo>
                  <a:pt x="7529" y="2507"/>
                  <a:pt x="7602" y="2649"/>
                  <a:pt x="7668" y="2795"/>
                </a:cubicBezTo>
                <a:moveTo>
                  <a:pt x="7721" y="2305"/>
                </a:moveTo>
                <a:cubicBezTo>
                  <a:pt x="7636" y="2158"/>
                  <a:pt x="7543" y="2016"/>
                  <a:pt x="7440" y="1882"/>
                </a:cubicBezTo>
                <a:moveTo>
                  <a:pt x="1048" y="1360"/>
                </a:moveTo>
                <a:cubicBezTo>
                  <a:pt x="923" y="1493"/>
                  <a:pt x="805" y="1633"/>
                  <a:pt x="698" y="1781"/>
                </a:cubicBezTo>
                <a:moveTo>
                  <a:pt x="680" y="2305"/>
                </a:moveTo>
                <a:cubicBezTo>
                  <a:pt x="765" y="2158"/>
                  <a:pt x="858" y="2016"/>
                  <a:pt x="961" y="1882"/>
                </a:cubicBezTo>
                <a:moveTo>
                  <a:pt x="7703" y="1781"/>
                </a:moveTo>
                <a:cubicBezTo>
                  <a:pt x="7595" y="1633"/>
                  <a:pt x="7478" y="1493"/>
                  <a:pt x="7353" y="1360"/>
                </a:cubicBezTo>
                <a:moveTo>
                  <a:pt x="7440" y="1882"/>
                </a:moveTo>
                <a:cubicBezTo>
                  <a:pt x="7543" y="2016"/>
                  <a:pt x="7636" y="2158"/>
                  <a:pt x="7721" y="2305"/>
                </a:cubicBezTo>
                <a:moveTo>
                  <a:pt x="1913" y="5196"/>
                </a:moveTo>
                <a:cubicBezTo>
                  <a:pt x="2549" y="5677"/>
                  <a:pt x="3341" y="5963"/>
                  <a:pt x="4200" y="5963"/>
                </a:cubicBezTo>
                <a:cubicBezTo>
                  <a:pt x="5060" y="5963"/>
                  <a:pt x="5852" y="5677"/>
                  <a:pt x="6488" y="5196"/>
                </a:cubicBezTo>
                <a:moveTo>
                  <a:pt x="6610" y="4738"/>
                </a:moveTo>
                <a:cubicBezTo>
                  <a:pt x="5980" y="5329"/>
                  <a:pt x="5133" y="5692"/>
                  <a:pt x="4200" y="5692"/>
                </a:cubicBezTo>
                <a:cubicBezTo>
                  <a:pt x="3268" y="5692"/>
                  <a:pt x="2421" y="5329"/>
                  <a:pt x="1791" y="4738"/>
                </a:cubicBezTo>
                <a:moveTo>
                  <a:pt x="1543" y="4876"/>
                </a:moveTo>
                <a:cubicBezTo>
                  <a:pt x="1659" y="4990"/>
                  <a:pt x="1783" y="5097"/>
                  <a:pt x="1913" y="5196"/>
                </a:cubicBezTo>
                <a:moveTo>
                  <a:pt x="1791" y="4738"/>
                </a:moveTo>
                <a:cubicBezTo>
                  <a:pt x="1685" y="4639"/>
                  <a:pt x="1585" y="4533"/>
                  <a:pt x="1492" y="4421"/>
                </a:cubicBezTo>
                <a:moveTo>
                  <a:pt x="6909" y="4421"/>
                </a:moveTo>
                <a:cubicBezTo>
                  <a:pt x="6816" y="4533"/>
                  <a:pt x="6716" y="4639"/>
                  <a:pt x="6610" y="4738"/>
                </a:cubicBezTo>
                <a:moveTo>
                  <a:pt x="6488" y="5196"/>
                </a:moveTo>
                <a:cubicBezTo>
                  <a:pt x="6618" y="5097"/>
                  <a:pt x="6742" y="4990"/>
                  <a:pt x="6858" y="4876"/>
                </a:cubicBezTo>
                <a:moveTo>
                  <a:pt x="7169" y="4065"/>
                </a:moveTo>
                <a:cubicBezTo>
                  <a:pt x="7090" y="4189"/>
                  <a:pt x="7003" y="4308"/>
                  <a:pt x="6909" y="4421"/>
                </a:cubicBezTo>
                <a:moveTo>
                  <a:pt x="1225" y="4521"/>
                </a:moveTo>
                <a:cubicBezTo>
                  <a:pt x="1323" y="4646"/>
                  <a:pt x="1430" y="4765"/>
                  <a:pt x="1543" y="4876"/>
                </a:cubicBezTo>
                <a:moveTo>
                  <a:pt x="1492" y="4421"/>
                </a:moveTo>
                <a:cubicBezTo>
                  <a:pt x="1398" y="4308"/>
                  <a:pt x="1311" y="4189"/>
                  <a:pt x="1232" y="4065"/>
                </a:cubicBezTo>
                <a:moveTo>
                  <a:pt x="7386" y="3676"/>
                </a:moveTo>
                <a:cubicBezTo>
                  <a:pt x="7322" y="3811"/>
                  <a:pt x="7249" y="3940"/>
                  <a:pt x="7169" y="4065"/>
                </a:cubicBezTo>
                <a:moveTo>
                  <a:pt x="7176" y="4521"/>
                </a:moveTo>
                <a:cubicBezTo>
                  <a:pt x="7274" y="4398"/>
                  <a:pt x="7365" y="4270"/>
                  <a:pt x="7447" y="4135"/>
                </a:cubicBezTo>
                <a:moveTo>
                  <a:pt x="954" y="4135"/>
                </a:moveTo>
                <a:cubicBezTo>
                  <a:pt x="1036" y="4270"/>
                  <a:pt x="1127" y="4398"/>
                  <a:pt x="1225" y="4521"/>
                </a:cubicBezTo>
                <a:moveTo>
                  <a:pt x="1232" y="4065"/>
                </a:moveTo>
                <a:cubicBezTo>
                  <a:pt x="1152" y="3940"/>
                  <a:pt x="1079" y="3811"/>
                  <a:pt x="1015" y="3676"/>
                </a:cubicBezTo>
                <a:moveTo>
                  <a:pt x="7553" y="3253"/>
                </a:moveTo>
                <a:cubicBezTo>
                  <a:pt x="7506" y="3398"/>
                  <a:pt x="7450" y="3540"/>
                  <a:pt x="7386" y="3676"/>
                </a:cubicBezTo>
                <a:moveTo>
                  <a:pt x="7447" y="4135"/>
                </a:moveTo>
                <a:cubicBezTo>
                  <a:pt x="7529" y="3999"/>
                  <a:pt x="7602" y="3857"/>
                  <a:pt x="7668" y="3710"/>
                </a:cubicBezTo>
                <a:moveTo>
                  <a:pt x="733" y="3710"/>
                </a:moveTo>
                <a:cubicBezTo>
                  <a:pt x="798" y="3857"/>
                  <a:pt x="872" y="3999"/>
                  <a:pt x="954" y="4135"/>
                </a:cubicBezTo>
                <a:moveTo>
                  <a:pt x="1015" y="3676"/>
                </a:moveTo>
                <a:cubicBezTo>
                  <a:pt x="950" y="3540"/>
                  <a:pt x="895" y="3398"/>
                  <a:pt x="847" y="3253"/>
                </a:cubicBezTo>
                <a:moveTo>
                  <a:pt x="733" y="2795"/>
                </a:moveTo>
                <a:cubicBezTo>
                  <a:pt x="667" y="2943"/>
                  <a:pt x="610" y="3096"/>
                  <a:pt x="563" y="3253"/>
                </a:cubicBezTo>
                <a:cubicBezTo>
                  <a:pt x="610" y="3410"/>
                  <a:pt x="667" y="3563"/>
                  <a:pt x="733" y="3710"/>
                </a:cubicBezTo>
                <a:moveTo>
                  <a:pt x="7668" y="3710"/>
                </a:moveTo>
                <a:cubicBezTo>
                  <a:pt x="7734" y="3563"/>
                  <a:pt x="7791" y="3410"/>
                  <a:pt x="7837" y="3253"/>
                </a:cubicBezTo>
                <a:cubicBezTo>
                  <a:pt x="7791" y="3096"/>
                  <a:pt x="7734" y="2943"/>
                  <a:pt x="7668" y="2795"/>
                </a:cubicBezTo>
                <a:moveTo>
                  <a:pt x="7949" y="2761"/>
                </a:moveTo>
                <a:cubicBezTo>
                  <a:pt x="7883" y="2603"/>
                  <a:pt x="7806" y="2451"/>
                  <a:pt x="7721" y="2305"/>
                </a:cubicBezTo>
                <a:moveTo>
                  <a:pt x="7668" y="2795"/>
                </a:moveTo>
                <a:cubicBezTo>
                  <a:pt x="7734" y="2943"/>
                  <a:pt x="7791" y="3096"/>
                  <a:pt x="7837" y="3253"/>
                </a:cubicBezTo>
                <a:moveTo>
                  <a:pt x="563" y="3253"/>
                </a:moveTo>
                <a:cubicBezTo>
                  <a:pt x="610" y="3096"/>
                  <a:pt x="667" y="2943"/>
                  <a:pt x="733" y="2795"/>
                </a:cubicBezTo>
                <a:moveTo>
                  <a:pt x="680" y="2305"/>
                </a:moveTo>
                <a:cubicBezTo>
                  <a:pt x="595" y="2451"/>
                  <a:pt x="518" y="2603"/>
                  <a:pt x="452" y="2761"/>
                </a:cubicBezTo>
                <a:moveTo>
                  <a:pt x="698" y="1781"/>
                </a:moveTo>
                <a:cubicBezTo>
                  <a:pt x="592" y="1926"/>
                  <a:pt x="494" y="2078"/>
                  <a:pt x="407" y="2235"/>
                </a:cubicBezTo>
                <a:moveTo>
                  <a:pt x="452" y="2761"/>
                </a:moveTo>
                <a:cubicBezTo>
                  <a:pt x="518" y="2603"/>
                  <a:pt x="595" y="2451"/>
                  <a:pt x="680" y="2305"/>
                </a:cubicBezTo>
                <a:moveTo>
                  <a:pt x="7994" y="2235"/>
                </a:moveTo>
                <a:cubicBezTo>
                  <a:pt x="7907" y="2078"/>
                  <a:pt x="7809" y="1926"/>
                  <a:pt x="7703" y="1781"/>
                </a:cubicBezTo>
                <a:moveTo>
                  <a:pt x="7721" y="2305"/>
                </a:moveTo>
                <a:cubicBezTo>
                  <a:pt x="7806" y="2451"/>
                  <a:pt x="7883" y="2603"/>
                  <a:pt x="7949" y="2761"/>
                </a:cubicBezTo>
                <a:moveTo>
                  <a:pt x="2163" y="5686"/>
                </a:moveTo>
                <a:cubicBezTo>
                  <a:pt x="2763" y="6034"/>
                  <a:pt x="3458" y="6234"/>
                  <a:pt x="4200" y="6234"/>
                </a:cubicBezTo>
                <a:cubicBezTo>
                  <a:pt x="4943" y="6234"/>
                  <a:pt x="5638" y="6034"/>
                  <a:pt x="6238" y="5686"/>
                </a:cubicBezTo>
                <a:moveTo>
                  <a:pt x="6488" y="5196"/>
                </a:moveTo>
                <a:cubicBezTo>
                  <a:pt x="5852" y="5677"/>
                  <a:pt x="5060" y="5963"/>
                  <a:pt x="4200" y="5963"/>
                </a:cubicBezTo>
                <a:cubicBezTo>
                  <a:pt x="3341" y="5963"/>
                  <a:pt x="2549" y="5677"/>
                  <a:pt x="1913" y="5196"/>
                </a:cubicBezTo>
                <a:moveTo>
                  <a:pt x="1913" y="5196"/>
                </a:moveTo>
                <a:cubicBezTo>
                  <a:pt x="1783" y="5097"/>
                  <a:pt x="1659" y="4990"/>
                  <a:pt x="1543" y="4876"/>
                </a:cubicBezTo>
                <a:moveTo>
                  <a:pt x="1692" y="5367"/>
                </a:moveTo>
                <a:cubicBezTo>
                  <a:pt x="1841" y="5484"/>
                  <a:pt x="1998" y="5591"/>
                  <a:pt x="2163" y="5686"/>
                </a:cubicBezTo>
                <a:moveTo>
                  <a:pt x="6858" y="4876"/>
                </a:moveTo>
                <a:cubicBezTo>
                  <a:pt x="6742" y="4990"/>
                  <a:pt x="6618" y="5097"/>
                  <a:pt x="6488" y="5196"/>
                </a:cubicBezTo>
                <a:moveTo>
                  <a:pt x="6238" y="5686"/>
                </a:moveTo>
                <a:cubicBezTo>
                  <a:pt x="6403" y="5591"/>
                  <a:pt x="6560" y="5484"/>
                  <a:pt x="6709" y="5367"/>
                </a:cubicBezTo>
                <a:moveTo>
                  <a:pt x="7176" y="4521"/>
                </a:moveTo>
                <a:cubicBezTo>
                  <a:pt x="7078" y="4646"/>
                  <a:pt x="6971" y="4765"/>
                  <a:pt x="6858" y="4876"/>
                </a:cubicBezTo>
                <a:moveTo>
                  <a:pt x="6709" y="5367"/>
                </a:moveTo>
                <a:cubicBezTo>
                  <a:pt x="6849" y="5257"/>
                  <a:pt x="6981" y="5139"/>
                  <a:pt x="7105" y="5012"/>
                </a:cubicBezTo>
                <a:moveTo>
                  <a:pt x="1543" y="4876"/>
                </a:moveTo>
                <a:cubicBezTo>
                  <a:pt x="1430" y="4765"/>
                  <a:pt x="1323" y="4646"/>
                  <a:pt x="1225" y="4521"/>
                </a:cubicBezTo>
                <a:moveTo>
                  <a:pt x="1296" y="5012"/>
                </a:moveTo>
                <a:cubicBezTo>
                  <a:pt x="1420" y="5139"/>
                  <a:pt x="1552" y="5257"/>
                  <a:pt x="1692" y="5367"/>
                </a:cubicBezTo>
                <a:moveTo>
                  <a:pt x="7447" y="4135"/>
                </a:moveTo>
                <a:cubicBezTo>
                  <a:pt x="7365" y="4270"/>
                  <a:pt x="7274" y="4398"/>
                  <a:pt x="7176" y="4521"/>
                </a:cubicBezTo>
                <a:moveTo>
                  <a:pt x="7105" y="5012"/>
                </a:moveTo>
                <a:cubicBezTo>
                  <a:pt x="7225" y="4890"/>
                  <a:pt x="7337" y="4761"/>
                  <a:pt x="7440" y="4624"/>
                </a:cubicBezTo>
                <a:moveTo>
                  <a:pt x="961" y="4624"/>
                </a:moveTo>
                <a:cubicBezTo>
                  <a:pt x="1064" y="4761"/>
                  <a:pt x="1176" y="4890"/>
                  <a:pt x="1296" y="5012"/>
                </a:cubicBezTo>
                <a:moveTo>
                  <a:pt x="954" y="4135"/>
                </a:moveTo>
                <a:cubicBezTo>
                  <a:pt x="872" y="3999"/>
                  <a:pt x="798" y="3857"/>
                  <a:pt x="733" y="3710"/>
                </a:cubicBezTo>
                <a:moveTo>
                  <a:pt x="680" y="4201"/>
                </a:moveTo>
                <a:cubicBezTo>
                  <a:pt x="765" y="4348"/>
                  <a:pt x="858" y="4490"/>
                  <a:pt x="961" y="4624"/>
                </a:cubicBezTo>
                <a:moveTo>
                  <a:pt x="7668" y="3710"/>
                </a:moveTo>
                <a:cubicBezTo>
                  <a:pt x="7602" y="3857"/>
                  <a:pt x="7529" y="3999"/>
                  <a:pt x="7447" y="4135"/>
                </a:cubicBezTo>
                <a:moveTo>
                  <a:pt x="7440" y="4624"/>
                </a:moveTo>
                <a:cubicBezTo>
                  <a:pt x="7543" y="4490"/>
                  <a:pt x="7636" y="4348"/>
                  <a:pt x="7721" y="4201"/>
                </a:cubicBezTo>
                <a:moveTo>
                  <a:pt x="452" y="3745"/>
                </a:moveTo>
                <a:cubicBezTo>
                  <a:pt x="518" y="3903"/>
                  <a:pt x="595" y="4055"/>
                  <a:pt x="680" y="4201"/>
                </a:cubicBezTo>
                <a:moveTo>
                  <a:pt x="733" y="3710"/>
                </a:moveTo>
                <a:cubicBezTo>
                  <a:pt x="667" y="3563"/>
                  <a:pt x="610" y="3410"/>
                  <a:pt x="563" y="3253"/>
                </a:cubicBezTo>
                <a:moveTo>
                  <a:pt x="7837" y="3253"/>
                </a:moveTo>
                <a:cubicBezTo>
                  <a:pt x="7791" y="3410"/>
                  <a:pt x="7734" y="3563"/>
                  <a:pt x="7668" y="3710"/>
                </a:cubicBezTo>
                <a:moveTo>
                  <a:pt x="7721" y="4201"/>
                </a:moveTo>
                <a:cubicBezTo>
                  <a:pt x="7806" y="4055"/>
                  <a:pt x="7883" y="3903"/>
                  <a:pt x="7949" y="3745"/>
                </a:cubicBezTo>
                <a:moveTo>
                  <a:pt x="452" y="2761"/>
                </a:moveTo>
                <a:cubicBezTo>
                  <a:pt x="384" y="2920"/>
                  <a:pt x="328" y="3084"/>
                  <a:pt x="282" y="3253"/>
                </a:cubicBezTo>
                <a:cubicBezTo>
                  <a:pt x="328" y="3422"/>
                  <a:pt x="384" y="3586"/>
                  <a:pt x="452" y="3745"/>
                </a:cubicBezTo>
                <a:moveTo>
                  <a:pt x="7949" y="3745"/>
                </a:moveTo>
                <a:cubicBezTo>
                  <a:pt x="8016" y="3586"/>
                  <a:pt x="8073" y="3422"/>
                  <a:pt x="8119" y="3253"/>
                </a:cubicBezTo>
                <a:cubicBezTo>
                  <a:pt x="8073" y="3084"/>
                  <a:pt x="8016" y="2920"/>
                  <a:pt x="7949" y="2761"/>
                </a:cubicBezTo>
                <a:moveTo>
                  <a:pt x="8228" y="2727"/>
                </a:moveTo>
                <a:cubicBezTo>
                  <a:pt x="8160" y="2558"/>
                  <a:pt x="8082" y="2393"/>
                  <a:pt x="7994" y="2235"/>
                </a:cubicBezTo>
                <a:moveTo>
                  <a:pt x="7949" y="2761"/>
                </a:moveTo>
                <a:cubicBezTo>
                  <a:pt x="8016" y="2920"/>
                  <a:pt x="8073" y="3084"/>
                  <a:pt x="8119" y="3253"/>
                </a:cubicBezTo>
                <a:moveTo>
                  <a:pt x="282" y="3253"/>
                </a:moveTo>
                <a:cubicBezTo>
                  <a:pt x="328" y="3084"/>
                  <a:pt x="384" y="2920"/>
                  <a:pt x="452" y="2761"/>
                </a:cubicBezTo>
                <a:moveTo>
                  <a:pt x="407" y="2235"/>
                </a:moveTo>
                <a:cubicBezTo>
                  <a:pt x="319" y="2393"/>
                  <a:pt x="241" y="2558"/>
                  <a:pt x="173" y="2727"/>
                </a:cubicBezTo>
                <a:moveTo>
                  <a:pt x="2633" y="6212"/>
                </a:moveTo>
                <a:cubicBezTo>
                  <a:pt x="3119" y="6401"/>
                  <a:pt x="3647" y="6505"/>
                  <a:pt x="4200" y="6505"/>
                </a:cubicBezTo>
                <a:cubicBezTo>
                  <a:pt x="4753" y="6505"/>
                  <a:pt x="5282" y="6401"/>
                  <a:pt x="5768" y="6212"/>
                </a:cubicBezTo>
                <a:moveTo>
                  <a:pt x="6238" y="5686"/>
                </a:moveTo>
                <a:cubicBezTo>
                  <a:pt x="5638" y="6034"/>
                  <a:pt x="4943" y="6234"/>
                  <a:pt x="4200" y="6234"/>
                </a:cubicBezTo>
                <a:cubicBezTo>
                  <a:pt x="3458" y="6234"/>
                  <a:pt x="2763" y="6034"/>
                  <a:pt x="2163" y="5686"/>
                </a:cubicBezTo>
                <a:moveTo>
                  <a:pt x="1980" y="5894"/>
                </a:moveTo>
                <a:cubicBezTo>
                  <a:pt x="2187" y="6018"/>
                  <a:pt x="2406" y="6124"/>
                  <a:pt x="2633" y="6212"/>
                </a:cubicBezTo>
                <a:moveTo>
                  <a:pt x="2163" y="5686"/>
                </a:moveTo>
                <a:cubicBezTo>
                  <a:pt x="1998" y="5591"/>
                  <a:pt x="1841" y="5484"/>
                  <a:pt x="1692" y="5367"/>
                </a:cubicBezTo>
                <a:moveTo>
                  <a:pt x="5768" y="6212"/>
                </a:moveTo>
                <a:cubicBezTo>
                  <a:pt x="5995" y="6124"/>
                  <a:pt x="6214" y="6018"/>
                  <a:pt x="6421" y="5894"/>
                </a:cubicBezTo>
                <a:moveTo>
                  <a:pt x="6709" y="5367"/>
                </a:moveTo>
                <a:cubicBezTo>
                  <a:pt x="6560" y="5484"/>
                  <a:pt x="6403" y="5591"/>
                  <a:pt x="6238" y="5686"/>
                </a:cubicBezTo>
                <a:moveTo>
                  <a:pt x="1469" y="5537"/>
                </a:moveTo>
                <a:cubicBezTo>
                  <a:pt x="1630" y="5668"/>
                  <a:pt x="1801" y="5787"/>
                  <a:pt x="1980" y="5894"/>
                </a:cubicBezTo>
                <a:moveTo>
                  <a:pt x="1692" y="5367"/>
                </a:moveTo>
                <a:cubicBezTo>
                  <a:pt x="1552" y="5257"/>
                  <a:pt x="1420" y="5139"/>
                  <a:pt x="1296" y="5012"/>
                </a:cubicBezTo>
                <a:moveTo>
                  <a:pt x="6421" y="5894"/>
                </a:moveTo>
                <a:cubicBezTo>
                  <a:pt x="6600" y="5787"/>
                  <a:pt x="6770" y="5668"/>
                  <a:pt x="6932" y="5537"/>
                </a:cubicBezTo>
                <a:moveTo>
                  <a:pt x="7105" y="5012"/>
                </a:moveTo>
                <a:cubicBezTo>
                  <a:pt x="6981" y="5139"/>
                  <a:pt x="6849" y="5257"/>
                  <a:pt x="6709" y="5367"/>
                </a:cubicBezTo>
                <a:moveTo>
                  <a:pt x="1048" y="5145"/>
                </a:moveTo>
                <a:cubicBezTo>
                  <a:pt x="1180" y="5285"/>
                  <a:pt x="1320" y="5416"/>
                  <a:pt x="1469" y="5537"/>
                </a:cubicBezTo>
                <a:moveTo>
                  <a:pt x="1296" y="5012"/>
                </a:moveTo>
                <a:cubicBezTo>
                  <a:pt x="1176" y="4890"/>
                  <a:pt x="1064" y="4761"/>
                  <a:pt x="961" y="4624"/>
                </a:cubicBezTo>
                <a:moveTo>
                  <a:pt x="6932" y="5537"/>
                </a:moveTo>
                <a:cubicBezTo>
                  <a:pt x="7081" y="5416"/>
                  <a:pt x="7221" y="5285"/>
                  <a:pt x="7353" y="5145"/>
                </a:cubicBezTo>
                <a:moveTo>
                  <a:pt x="7440" y="4624"/>
                </a:moveTo>
                <a:cubicBezTo>
                  <a:pt x="7337" y="4761"/>
                  <a:pt x="7225" y="4890"/>
                  <a:pt x="7105" y="5012"/>
                </a:cubicBezTo>
                <a:moveTo>
                  <a:pt x="7353" y="5145"/>
                </a:moveTo>
                <a:cubicBezTo>
                  <a:pt x="7478" y="5013"/>
                  <a:pt x="7595" y="4872"/>
                  <a:pt x="7703" y="4725"/>
                </a:cubicBezTo>
                <a:moveTo>
                  <a:pt x="7721" y="4201"/>
                </a:moveTo>
                <a:cubicBezTo>
                  <a:pt x="7636" y="4348"/>
                  <a:pt x="7543" y="4490"/>
                  <a:pt x="7440" y="4624"/>
                </a:cubicBezTo>
                <a:moveTo>
                  <a:pt x="7703" y="4725"/>
                </a:moveTo>
                <a:cubicBezTo>
                  <a:pt x="7809" y="4580"/>
                  <a:pt x="7907" y="4428"/>
                  <a:pt x="7994" y="4270"/>
                </a:cubicBezTo>
                <a:moveTo>
                  <a:pt x="7949" y="3745"/>
                </a:moveTo>
                <a:cubicBezTo>
                  <a:pt x="7883" y="3903"/>
                  <a:pt x="7806" y="4055"/>
                  <a:pt x="7721" y="4201"/>
                </a:cubicBezTo>
                <a:moveTo>
                  <a:pt x="407" y="4270"/>
                </a:moveTo>
                <a:cubicBezTo>
                  <a:pt x="494" y="4428"/>
                  <a:pt x="592" y="4580"/>
                  <a:pt x="698" y="4725"/>
                </a:cubicBezTo>
                <a:moveTo>
                  <a:pt x="680" y="4201"/>
                </a:moveTo>
                <a:cubicBezTo>
                  <a:pt x="595" y="4055"/>
                  <a:pt x="518" y="3903"/>
                  <a:pt x="452" y="3745"/>
                </a:cubicBezTo>
                <a:moveTo>
                  <a:pt x="8119" y="3253"/>
                </a:moveTo>
                <a:cubicBezTo>
                  <a:pt x="8073" y="3422"/>
                  <a:pt x="8016" y="3586"/>
                  <a:pt x="7949" y="3745"/>
                </a:cubicBezTo>
                <a:moveTo>
                  <a:pt x="7994" y="4270"/>
                </a:moveTo>
                <a:cubicBezTo>
                  <a:pt x="8082" y="4112"/>
                  <a:pt x="8160" y="3948"/>
                  <a:pt x="8228" y="3779"/>
                </a:cubicBezTo>
                <a:moveTo>
                  <a:pt x="173" y="3779"/>
                </a:moveTo>
                <a:cubicBezTo>
                  <a:pt x="241" y="3948"/>
                  <a:pt x="319" y="4112"/>
                  <a:pt x="407" y="4270"/>
                </a:cubicBezTo>
                <a:moveTo>
                  <a:pt x="452" y="3745"/>
                </a:moveTo>
                <a:cubicBezTo>
                  <a:pt x="384" y="3586"/>
                  <a:pt x="328" y="3422"/>
                  <a:pt x="282" y="3253"/>
                </a:cubicBezTo>
                <a:moveTo>
                  <a:pt x="173" y="2727"/>
                </a:moveTo>
                <a:cubicBezTo>
                  <a:pt x="105" y="2898"/>
                  <a:pt x="46" y="3073"/>
                  <a:pt x="0" y="3253"/>
                </a:cubicBezTo>
                <a:cubicBezTo>
                  <a:pt x="46" y="3433"/>
                  <a:pt x="105" y="3608"/>
                  <a:pt x="173" y="3779"/>
                </a:cubicBezTo>
                <a:moveTo>
                  <a:pt x="8228" y="3779"/>
                </a:moveTo>
                <a:cubicBezTo>
                  <a:pt x="8296" y="3608"/>
                  <a:pt x="8355" y="3433"/>
                  <a:pt x="8401" y="3253"/>
                </a:cubicBezTo>
                <a:cubicBezTo>
                  <a:pt x="8355" y="3073"/>
                  <a:pt x="8296" y="2898"/>
                  <a:pt x="8228" y="2727"/>
                </a:cubicBezTo>
                <a:moveTo>
                  <a:pt x="5768" y="6212"/>
                </a:moveTo>
                <a:cubicBezTo>
                  <a:pt x="5282" y="6401"/>
                  <a:pt x="4753" y="6505"/>
                  <a:pt x="4200" y="6505"/>
                </a:cubicBezTo>
                <a:cubicBezTo>
                  <a:pt x="3647" y="6505"/>
                  <a:pt x="3119" y="6401"/>
                  <a:pt x="2633" y="6212"/>
                </a:cubicBezTo>
                <a:moveTo>
                  <a:pt x="6421" y="5894"/>
                </a:moveTo>
                <a:cubicBezTo>
                  <a:pt x="6214" y="6018"/>
                  <a:pt x="5995" y="6124"/>
                  <a:pt x="5768" y="6212"/>
                </a:cubicBezTo>
                <a:moveTo>
                  <a:pt x="2633" y="6212"/>
                </a:moveTo>
                <a:cubicBezTo>
                  <a:pt x="2406" y="6124"/>
                  <a:pt x="2187" y="6018"/>
                  <a:pt x="1980" y="5894"/>
                </a:cubicBezTo>
                <a:moveTo>
                  <a:pt x="6932" y="5537"/>
                </a:moveTo>
                <a:cubicBezTo>
                  <a:pt x="6770" y="5668"/>
                  <a:pt x="6600" y="5787"/>
                  <a:pt x="6421" y="5894"/>
                </a:cubicBezTo>
                <a:moveTo>
                  <a:pt x="1980" y="5894"/>
                </a:moveTo>
                <a:cubicBezTo>
                  <a:pt x="1801" y="5787"/>
                  <a:pt x="1630" y="5668"/>
                  <a:pt x="1469" y="5537"/>
                </a:cubicBezTo>
                <a:moveTo>
                  <a:pt x="7353" y="5145"/>
                </a:moveTo>
                <a:cubicBezTo>
                  <a:pt x="7221" y="5285"/>
                  <a:pt x="7081" y="5416"/>
                  <a:pt x="6932" y="5537"/>
                </a:cubicBezTo>
                <a:moveTo>
                  <a:pt x="1469" y="5537"/>
                </a:moveTo>
                <a:cubicBezTo>
                  <a:pt x="1320" y="5416"/>
                  <a:pt x="1180" y="5285"/>
                  <a:pt x="1048" y="5145"/>
                </a:cubicBezTo>
                <a:moveTo>
                  <a:pt x="7703" y="4725"/>
                </a:moveTo>
                <a:cubicBezTo>
                  <a:pt x="7595" y="4872"/>
                  <a:pt x="7478" y="5013"/>
                  <a:pt x="7353" y="5145"/>
                </a:cubicBezTo>
                <a:moveTo>
                  <a:pt x="1048" y="5145"/>
                </a:moveTo>
                <a:cubicBezTo>
                  <a:pt x="923" y="5013"/>
                  <a:pt x="805" y="4872"/>
                  <a:pt x="698" y="4725"/>
                </a:cubicBezTo>
                <a:moveTo>
                  <a:pt x="4472" y="3253"/>
                </a:moveTo>
                <a:cubicBezTo>
                  <a:pt x="4472" y="3403"/>
                  <a:pt x="4350" y="3524"/>
                  <a:pt x="4200" y="3524"/>
                </a:cubicBezTo>
                <a:cubicBezTo>
                  <a:pt x="4051" y="3524"/>
                  <a:pt x="3929" y="3403"/>
                  <a:pt x="3929" y="3253"/>
                </a:cubicBezTo>
                <a:cubicBezTo>
                  <a:pt x="3929" y="3103"/>
                  <a:pt x="4051" y="2982"/>
                  <a:pt x="4200" y="2982"/>
                </a:cubicBezTo>
                <a:cubicBezTo>
                  <a:pt x="4350" y="2982"/>
                  <a:pt x="4472" y="3103"/>
                  <a:pt x="4472" y="3253"/>
                </a:cubicBezTo>
                <a:close/>
                <a:moveTo>
                  <a:pt x="4743" y="3253"/>
                </a:moveTo>
                <a:cubicBezTo>
                  <a:pt x="4743" y="3553"/>
                  <a:pt x="4500" y="3795"/>
                  <a:pt x="4200" y="3795"/>
                </a:cubicBezTo>
                <a:cubicBezTo>
                  <a:pt x="3901" y="3795"/>
                  <a:pt x="3658" y="3553"/>
                  <a:pt x="3658" y="3253"/>
                </a:cubicBezTo>
                <a:cubicBezTo>
                  <a:pt x="3658" y="2953"/>
                  <a:pt x="3901" y="2710"/>
                  <a:pt x="4200" y="2710"/>
                </a:cubicBezTo>
                <a:cubicBezTo>
                  <a:pt x="4500" y="2710"/>
                  <a:pt x="4743" y="2953"/>
                  <a:pt x="4743" y="3253"/>
                </a:cubicBezTo>
                <a:close/>
                <a:moveTo>
                  <a:pt x="5014" y="3253"/>
                </a:moveTo>
                <a:cubicBezTo>
                  <a:pt x="5014" y="3702"/>
                  <a:pt x="4650" y="4067"/>
                  <a:pt x="4200" y="4067"/>
                </a:cubicBezTo>
                <a:cubicBezTo>
                  <a:pt x="3751" y="4067"/>
                  <a:pt x="3387" y="3702"/>
                  <a:pt x="3387" y="3253"/>
                </a:cubicBezTo>
                <a:cubicBezTo>
                  <a:pt x="3387" y="2803"/>
                  <a:pt x="3751" y="2439"/>
                  <a:pt x="4200" y="2439"/>
                </a:cubicBezTo>
                <a:cubicBezTo>
                  <a:pt x="4650" y="2439"/>
                  <a:pt x="5014" y="2803"/>
                  <a:pt x="5014" y="3253"/>
                </a:cubicBezTo>
                <a:close/>
                <a:moveTo>
                  <a:pt x="5285" y="3253"/>
                </a:moveTo>
                <a:cubicBezTo>
                  <a:pt x="5285" y="3852"/>
                  <a:pt x="4800" y="4338"/>
                  <a:pt x="4200" y="4338"/>
                </a:cubicBezTo>
                <a:cubicBezTo>
                  <a:pt x="3601" y="4338"/>
                  <a:pt x="3116" y="3852"/>
                  <a:pt x="3116" y="3253"/>
                </a:cubicBezTo>
                <a:cubicBezTo>
                  <a:pt x="3116" y="2654"/>
                  <a:pt x="3601" y="2168"/>
                  <a:pt x="4200" y="2168"/>
                </a:cubicBezTo>
                <a:cubicBezTo>
                  <a:pt x="4800" y="2168"/>
                  <a:pt x="5285" y="2654"/>
                  <a:pt x="5285" y="3253"/>
                </a:cubicBezTo>
                <a:close/>
                <a:moveTo>
                  <a:pt x="4200" y="4609"/>
                </a:moveTo>
                <a:cubicBezTo>
                  <a:pt x="5159" y="4609"/>
                  <a:pt x="5988" y="4057"/>
                  <a:pt x="6388" y="3253"/>
                </a:cubicBezTo>
                <a:cubicBezTo>
                  <a:pt x="5988" y="2449"/>
                  <a:pt x="5159" y="1897"/>
                  <a:pt x="4200" y="1897"/>
                </a:cubicBezTo>
                <a:cubicBezTo>
                  <a:pt x="3242" y="1897"/>
                  <a:pt x="2413" y="2449"/>
                  <a:pt x="2013" y="3253"/>
                </a:cubicBezTo>
                <a:cubicBezTo>
                  <a:pt x="2413" y="4057"/>
                  <a:pt x="3242" y="4609"/>
                  <a:pt x="4200" y="4609"/>
                </a:cubicBezTo>
                <a:close/>
                <a:moveTo>
                  <a:pt x="2013" y="3253"/>
                </a:moveTo>
                <a:cubicBezTo>
                  <a:pt x="2413" y="2449"/>
                  <a:pt x="3242" y="1897"/>
                  <a:pt x="4200" y="1897"/>
                </a:cubicBezTo>
                <a:cubicBezTo>
                  <a:pt x="5159" y="1897"/>
                  <a:pt x="5988" y="2449"/>
                  <a:pt x="6388" y="3253"/>
                </a:cubicBezTo>
                <a:moveTo>
                  <a:pt x="6519" y="2934"/>
                </a:moveTo>
                <a:cubicBezTo>
                  <a:pt x="6044" y="2151"/>
                  <a:pt x="5183" y="1628"/>
                  <a:pt x="4200" y="1628"/>
                </a:cubicBezTo>
                <a:cubicBezTo>
                  <a:pt x="3218" y="1628"/>
                  <a:pt x="2357" y="2151"/>
                  <a:pt x="1882" y="2934"/>
                </a:cubicBezTo>
                <a:moveTo>
                  <a:pt x="1882" y="2934"/>
                </a:moveTo>
                <a:cubicBezTo>
                  <a:pt x="2357" y="2151"/>
                  <a:pt x="3218" y="1628"/>
                  <a:pt x="4200" y="1628"/>
                </a:cubicBezTo>
                <a:cubicBezTo>
                  <a:pt x="5183" y="1628"/>
                  <a:pt x="6044" y="2151"/>
                  <a:pt x="6519" y="2934"/>
                </a:cubicBezTo>
                <a:moveTo>
                  <a:pt x="6607" y="2579"/>
                </a:moveTo>
                <a:cubicBezTo>
                  <a:pt x="6065" y="1838"/>
                  <a:pt x="5189" y="1357"/>
                  <a:pt x="4200" y="1357"/>
                </a:cubicBezTo>
                <a:cubicBezTo>
                  <a:pt x="3212" y="1357"/>
                  <a:pt x="2336" y="1838"/>
                  <a:pt x="1794" y="2579"/>
                </a:cubicBezTo>
                <a:moveTo>
                  <a:pt x="1758" y="2166"/>
                </a:moveTo>
                <a:cubicBezTo>
                  <a:pt x="1758" y="2174"/>
                  <a:pt x="1759" y="2182"/>
                  <a:pt x="1759" y="2190"/>
                </a:cubicBezTo>
                <a:cubicBezTo>
                  <a:pt x="2355" y="1513"/>
                  <a:pt x="3228" y="1085"/>
                  <a:pt x="4200" y="1085"/>
                </a:cubicBezTo>
                <a:cubicBezTo>
                  <a:pt x="5173" y="1085"/>
                  <a:pt x="6046" y="1513"/>
                  <a:pt x="6642" y="2190"/>
                </a:cubicBezTo>
                <a:moveTo>
                  <a:pt x="6610" y="1768"/>
                </a:moveTo>
                <a:cubicBezTo>
                  <a:pt x="5980" y="1177"/>
                  <a:pt x="5133" y="814"/>
                  <a:pt x="4200" y="814"/>
                </a:cubicBezTo>
                <a:cubicBezTo>
                  <a:pt x="3268" y="814"/>
                  <a:pt x="2421" y="1177"/>
                  <a:pt x="1791" y="1768"/>
                </a:cubicBezTo>
                <a:moveTo>
                  <a:pt x="1791" y="1768"/>
                </a:moveTo>
                <a:cubicBezTo>
                  <a:pt x="2421" y="1177"/>
                  <a:pt x="3268" y="814"/>
                  <a:pt x="4200" y="814"/>
                </a:cubicBezTo>
                <a:cubicBezTo>
                  <a:pt x="5133" y="814"/>
                  <a:pt x="5980" y="1177"/>
                  <a:pt x="6610" y="1768"/>
                </a:cubicBezTo>
                <a:moveTo>
                  <a:pt x="6488" y="1310"/>
                </a:moveTo>
                <a:cubicBezTo>
                  <a:pt x="5852" y="829"/>
                  <a:pt x="5060" y="543"/>
                  <a:pt x="4200" y="543"/>
                </a:cubicBezTo>
                <a:cubicBezTo>
                  <a:pt x="3341" y="543"/>
                  <a:pt x="2549" y="829"/>
                  <a:pt x="1913" y="1310"/>
                </a:cubicBezTo>
                <a:moveTo>
                  <a:pt x="1913" y="1310"/>
                </a:moveTo>
                <a:cubicBezTo>
                  <a:pt x="2549" y="829"/>
                  <a:pt x="3341" y="543"/>
                  <a:pt x="4200" y="543"/>
                </a:cubicBezTo>
                <a:cubicBezTo>
                  <a:pt x="5060" y="543"/>
                  <a:pt x="5852" y="829"/>
                  <a:pt x="6488" y="1310"/>
                </a:cubicBezTo>
                <a:moveTo>
                  <a:pt x="6238" y="819"/>
                </a:moveTo>
                <a:cubicBezTo>
                  <a:pt x="5638" y="472"/>
                  <a:pt x="4943" y="272"/>
                  <a:pt x="4200" y="272"/>
                </a:cubicBezTo>
                <a:cubicBezTo>
                  <a:pt x="3458" y="272"/>
                  <a:pt x="2762" y="472"/>
                  <a:pt x="2163" y="819"/>
                </a:cubicBezTo>
                <a:moveTo>
                  <a:pt x="2163" y="819"/>
                </a:moveTo>
                <a:cubicBezTo>
                  <a:pt x="2762" y="472"/>
                  <a:pt x="3458" y="272"/>
                  <a:pt x="4200" y="272"/>
                </a:cubicBezTo>
                <a:cubicBezTo>
                  <a:pt x="4943" y="272"/>
                  <a:pt x="5638" y="472"/>
                  <a:pt x="6238" y="819"/>
                </a:cubicBezTo>
                <a:moveTo>
                  <a:pt x="5768" y="294"/>
                </a:moveTo>
                <a:cubicBezTo>
                  <a:pt x="5282" y="105"/>
                  <a:pt x="4753" y="0"/>
                  <a:pt x="4200" y="0"/>
                </a:cubicBezTo>
                <a:cubicBezTo>
                  <a:pt x="3647" y="0"/>
                  <a:pt x="3119" y="105"/>
                  <a:pt x="2633" y="294"/>
                </a:cubicBezTo>
                <a:moveTo>
                  <a:pt x="2633" y="294"/>
                </a:moveTo>
                <a:cubicBezTo>
                  <a:pt x="3119" y="105"/>
                  <a:pt x="3647" y="0"/>
                  <a:pt x="4200" y="0"/>
                </a:cubicBezTo>
                <a:cubicBezTo>
                  <a:pt x="4753" y="0"/>
                  <a:pt x="5282" y="105"/>
                  <a:pt x="5768" y="294"/>
                </a:cubicBezTo>
                <a:moveTo>
                  <a:pt x="1882" y="2934"/>
                </a:moveTo>
                <a:cubicBezTo>
                  <a:pt x="1820" y="3036"/>
                  <a:pt x="1765" y="3143"/>
                  <a:pt x="1717" y="3253"/>
                </a:cubicBezTo>
                <a:cubicBezTo>
                  <a:pt x="1765" y="3363"/>
                  <a:pt x="1820" y="3470"/>
                  <a:pt x="1882" y="3572"/>
                </a:cubicBezTo>
                <a:moveTo>
                  <a:pt x="6811" y="2897"/>
                </a:moveTo>
                <a:cubicBezTo>
                  <a:pt x="6750" y="2787"/>
                  <a:pt x="6682" y="2681"/>
                  <a:pt x="6607" y="2579"/>
                </a:cubicBezTo>
                <a:moveTo>
                  <a:pt x="6519" y="2934"/>
                </a:moveTo>
                <a:cubicBezTo>
                  <a:pt x="6581" y="3036"/>
                  <a:pt x="6636" y="3143"/>
                  <a:pt x="6684" y="3253"/>
                </a:cubicBezTo>
                <a:moveTo>
                  <a:pt x="1794" y="2579"/>
                </a:moveTo>
                <a:cubicBezTo>
                  <a:pt x="1719" y="2681"/>
                  <a:pt x="1651" y="2787"/>
                  <a:pt x="1590" y="2897"/>
                </a:cubicBezTo>
                <a:moveTo>
                  <a:pt x="1717" y="3253"/>
                </a:moveTo>
                <a:cubicBezTo>
                  <a:pt x="1765" y="3143"/>
                  <a:pt x="1820" y="3036"/>
                  <a:pt x="1882" y="2934"/>
                </a:cubicBezTo>
                <a:moveTo>
                  <a:pt x="6607" y="2579"/>
                </a:moveTo>
                <a:cubicBezTo>
                  <a:pt x="6682" y="2681"/>
                  <a:pt x="6750" y="2787"/>
                  <a:pt x="6811" y="2897"/>
                </a:cubicBezTo>
                <a:moveTo>
                  <a:pt x="1512" y="2507"/>
                </a:moveTo>
                <a:cubicBezTo>
                  <a:pt x="1588" y="2397"/>
                  <a:pt x="1670" y="2291"/>
                  <a:pt x="1759" y="2190"/>
                </a:cubicBezTo>
                <a:cubicBezTo>
                  <a:pt x="1759" y="2182"/>
                  <a:pt x="1758" y="2174"/>
                  <a:pt x="1758" y="2166"/>
                </a:cubicBezTo>
                <a:moveTo>
                  <a:pt x="6642" y="2190"/>
                </a:moveTo>
                <a:cubicBezTo>
                  <a:pt x="6731" y="2291"/>
                  <a:pt x="6813" y="2397"/>
                  <a:pt x="6889" y="2507"/>
                </a:cubicBezTo>
                <a:moveTo>
                  <a:pt x="6610" y="1768"/>
                </a:moveTo>
                <a:cubicBezTo>
                  <a:pt x="6716" y="1867"/>
                  <a:pt x="6816" y="1973"/>
                  <a:pt x="6909" y="2084"/>
                </a:cubicBezTo>
                <a:moveTo>
                  <a:pt x="6858" y="1630"/>
                </a:moveTo>
                <a:cubicBezTo>
                  <a:pt x="6742" y="1516"/>
                  <a:pt x="6618" y="1409"/>
                  <a:pt x="6488" y="1310"/>
                </a:cubicBezTo>
                <a:moveTo>
                  <a:pt x="1492" y="2084"/>
                </a:moveTo>
                <a:cubicBezTo>
                  <a:pt x="1585" y="1973"/>
                  <a:pt x="1685" y="1867"/>
                  <a:pt x="1791" y="1768"/>
                </a:cubicBezTo>
                <a:moveTo>
                  <a:pt x="1913" y="1310"/>
                </a:moveTo>
                <a:cubicBezTo>
                  <a:pt x="1783" y="1409"/>
                  <a:pt x="1659" y="1516"/>
                  <a:pt x="1543" y="1630"/>
                </a:cubicBezTo>
                <a:moveTo>
                  <a:pt x="6488" y="1310"/>
                </a:moveTo>
                <a:cubicBezTo>
                  <a:pt x="6618" y="1409"/>
                  <a:pt x="6742" y="1516"/>
                  <a:pt x="6858" y="1630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C203FF17-154C-4284-B0A5-F3BE22CEE1F0}" type="datetime1">
              <a:rPr lang="en-GB" smtClean="0"/>
              <a:t>24/01/2018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18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2767955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8"/>
          <p:cNvGrpSpPr>
            <a:grpSpLocks noChangeAspect="1"/>
          </p:cNvGrpSpPr>
          <p:nvPr/>
        </p:nvGrpSpPr>
        <p:grpSpPr bwMode="auto">
          <a:xfrm>
            <a:off x="-25399" y="-12701"/>
            <a:ext cx="7475538" cy="4356813"/>
            <a:chOff x="1452" y="784"/>
            <a:chExt cx="2862" cy="1668"/>
          </a:xfrm>
        </p:grpSpPr>
        <p:sp>
          <p:nvSpPr>
            <p:cNvPr id="16" name="Line 9"/>
            <p:cNvSpPr>
              <a:spLocks noChangeShapeType="1"/>
            </p:cNvSpPr>
            <p:nvPr/>
          </p:nvSpPr>
          <p:spPr bwMode="auto">
            <a:xfrm>
              <a:off x="1452" y="938"/>
              <a:ext cx="587" cy="93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Line 10"/>
            <p:cNvSpPr>
              <a:spLocks noChangeShapeType="1"/>
            </p:cNvSpPr>
            <p:nvPr/>
          </p:nvSpPr>
          <p:spPr bwMode="auto">
            <a:xfrm flipH="1" flipV="1">
              <a:off x="1467" y="784"/>
              <a:ext cx="617" cy="103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Line 11"/>
            <p:cNvSpPr>
              <a:spLocks noChangeShapeType="1"/>
            </p:cNvSpPr>
            <p:nvPr/>
          </p:nvSpPr>
          <p:spPr bwMode="auto">
            <a:xfrm flipH="1" flipV="1">
              <a:off x="1856" y="784"/>
              <a:ext cx="411" cy="82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Line 12"/>
            <p:cNvSpPr>
              <a:spLocks noChangeShapeType="1"/>
            </p:cNvSpPr>
            <p:nvPr/>
          </p:nvSpPr>
          <p:spPr bwMode="auto">
            <a:xfrm>
              <a:off x="1571" y="784"/>
              <a:ext cx="559" cy="98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Line 13"/>
            <p:cNvSpPr>
              <a:spLocks noChangeShapeType="1"/>
            </p:cNvSpPr>
            <p:nvPr/>
          </p:nvSpPr>
          <p:spPr bwMode="auto">
            <a:xfrm>
              <a:off x="1766" y="784"/>
              <a:ext cx="456" cy="87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Line 14"/>
            <p:cNvSpPr>
              <a:spLocks noChangeShapeType="1"/>
            </p:cNvSpPr>
            <p:nvPr/>
          </p:nvSpPr>
          <p:spPr bwMode="auto">
            <a:xfrm>
              <a:off x="1881" y="784"/>
              <a:ext cx="420" cy="83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Line 15"/>
            <p:cNvSpPr>
              <a:spLocks noChangeShapeType="1"/>
            </p:cNvSpPr>
            <p:nvPr/>
          </p:nvSpPr>
          <p:spPr bwMode="auto">
            <a:xfrm flipH="1" flipV="1">
              <a:off x="1671" y="784"/>
              <a:ext cx="505" cy="93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Line 16"/>
            <p:cNvSpPr>
              <a:spLocks noChangeShapeType="1"/>
            </p:cNvSpPr>
            <p:nvPr/>
          </p:nvSpPr>
          <p:spPr bwMode="auto">
            <a:xfrm>
              <a:off x="2195" y="784"/>
              <a:ext cx="651" cy="95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Line 17"/>
            <p:cNvSpPr>
              <a:spLocks noChangeShapeType="1"/>
            </p:cNvSpPr>
            <p:nvPr/>
          </p:nvSpPr>
          <p:spPr bwMode="auto">
            <a:xfrm flipH="1" flipV="1">
              <a:off x="2180" y="784"/>
              <a:ext cx="632" cy="94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Line 18"/>
            <p:cNvSpPr>
              <a:spLocks noChangeShapeType="1"/>
            </p:cNvSpPr>
            <p:nvPr/>
          </p:nvSpPr>
          <p:spPr bwMode="auto">
            <a:xfrm>
              <a:off x="2163" y="784"/>
              <a:ext cx="614" cy="9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Line 19"/>
            <p:cNvSpPr>
              <a:spLocks noChangeShapeType="1"/>
            </p:cNvSpPr>
            <p:nvPr/>
          </p:nvSpPr>
          <p:spPr bwMode="auto">
            <a:xfrm flipH="1" flipV="1">
              <a:off x="2147" y="784"/>
              <a:ext cx="597" cy="93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Line 20"/>
            <p:cNvSpPr>
              <a:spLocks noChangeShapeType="1"/>
            </p:cNvSpPr>
            <p:nvPr/>
          </p:nvSpPr>
          <p:spPr bwMode="auto">
            <a:xfrm>
              <a:off x="2128" y="784"/>
              <a:ext cx="582" cy="92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Line 21"/>
            <p:cNvSpPr>
              <a:spLocks noChangeShapeType="1"/>
            </p:cNvSpPr>
            <p:nvPr/>
          </p:nvSpPr>
          <p:spPr bwMode="auto">
            <a:xfrm flipH="1" flipV="1">
              <a:off x="1903" y="784"/>
              <a:ext cx="433" cy="8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Line 22"/>
            <p:cNvSpPr>
              <a:spLocks noChangeShapeType="1"/>
            </p:cNvSpPr>
            <p:nvPr/>
          </p:nvSpPr>
          <p:spPr bwMode="auto">
            <a:xfrm flipH="1" flipV="1">
              <a:off x="2261" y="784"/>
              <a:ext cx="755" cy="9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Line 23"/>
            <p:cNvSpPr>
              <a:spLocks noChangeShapeType="1"/>
            </p:cNvSpPr>
            <p:nvPr/>
          </p:nvSpPr>
          <p:spPr bwMode="auto">
            <a:xfrm>
              <a:off x="2249" y="784"/>
              <a:ext cx="734" cy="98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Line 24"/>
            <p:cNvSpPr>
              <a:spLocks noChangeShapeType="1"/>
            </p:cNvSpPr>
            <p:nvPr/>
          </p:nvSpPr>
          <p:spPr bwMode="auto">
            <a:xfrm flipH="1" flipV="1">
              <a:off x="2236" y="784"/>
              <a:ext cx="712" cy="9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Line 25"/>
            <p:cNvSpPr>
              <a:spLocks noChangeShapeType="1"/>
            </p:cNvSpPr>
            <p:nvPr/>
          </p:nvSpPr>
          <p:spPr bwMode="auto">
            <a:xfrm>
              <a:off x="2224" y="784"/>
              <a:ext cx="690" cy="9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26"/>
            <p:cNvSpPr>
              <a:spLocks noChangeShapeType="1"/>
            </p:cNvSpPr>
            <p:nvPr/>
          </p:nvSpPr>
          <p:spPr bwMode="auto">
            <a:xfrm flipH="1" flipV="1">
              <a:off x="2209" y="784"/>
              <a:ext cx="672" cy="95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Line 27"/>
            <p:cNvSpPr>
              <a:spLocks noChangeShapeType="1"/>
            </p:cNvSpPr>
            <p:nvPr/>
          </p:nvSpPr>
          <p:spPr bwMode="auto">
            <a:xfrm flipH="1" flipV="1">
              <a:off x="1947" y="784"/>
              <a:ext cx="456" cy="85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Line 28"/>
            <p:cNvSpPr>
              <a:spLocks noChangeShapeType="1"/>
            </p:cNvSpPr>
            <p:nvPr/>
          </p:nvSpPr>
          <p:spPr bwMode="auto">
            <a:xfrm>
              <a:off x="1970" y="784"/>
              <a:ext cx="468" cy="86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Line 29"/>
            <p:cNvSpPr>
              <a:spLocks noChangeShapeType="1"/>
            </p:cNvSpPr>
            <p:nvPr/>
          </p:nvSpPr>
          <p:spPr bwMode="auto">
            <a:xfrm>
              <a:off x="1924" y="784"/>
              <a:ext cx="445" cy="8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Line 30"/>
            <p:cNvSpPr>
              <a:spLocks noChangeShapeType="1"/>
            </p:cNvSpPr>
            <p:nvPr/>
          </p:nvSpPr>
          <p:spPr bwMode="auto">
            <a:xfrm flipH="1" flipV="1">
              <a:off x="1991" y="784"/>
              <a:ext cx="480" cy="86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Line 31"/>
            <p:cNvSpPr>
              <a:spLocks noChangeShapeType="1"/>
            </p:cNvSpPr>
            <p:nvPr/>
          </p:nvSpPr>
          <p:spPr bwMode="auto">
            <a:xfrm flipH="1" flipV="1">
              <a:off x="2072" y="784"/>
              <a:ext cx="537" cy="8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Line 32"/>
            <p:cNvSpPr>
              <a:spLocks noChangeShapeType="1"/>
            </p:cNvSpPr>
            <p:nvPr/>
          </p:nvSpPr>
          <p:spPr bwMode="auto">
            <a:xfrm>
              <a:off x="2012" y="784"/>
              <a:ext cx="495" cy="87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Line 33"/>
            <p:cNvSpPr>
              <a:spLocks noChangeShapeType="1"/>
            </p:cNvSpPr>
            <p:nvPr/>
          </p:nvSpPr>
          <p:spPr bwMode="auto">
            <a:xfrm>
              <a:off x="2091" y="784"/>
              <a:ext cx="551" cy="90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Line 34"/>
            <p:cNvSpPr>
              <a:spLocks noChangeShapeType="1"/>
            </p:cNvSpPr>
            <p:nvPr/>
          </p:nvSpPr>
          <p:spPr bwMode="auto">
            <a:xfrm>
              <a:off x="2053" y="784"/>
              <a:ext cx="520" cy="8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Line 35"/>
            <p:cNvSpPr>
              <a:spLocks noChangeShapeType="1"/>
            </p:cNvSpPr>
            <p:nvPr/>
          </p:nvSpPr>
          <p:spPr bwMode="auto">
            <a:xfrm flipH="1" flipV="1">
              <a:off x="2032" y="784"/>
              <a:ext cx="508" cy="88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Line 36"/>
            <p:cNvSpPr>
              <a:spLocks noChangeShapeType="1"/>
            </p:cNvSpPr>
            <p:nvPr/>
          </p:nvSpPr>
          <p:spPr bwMode="auto">
            <a:xfrm flipH="1" flipV="1">
              <a:off x="2109" y="784"/>
              <a:ext cx="566" cy="9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Line 37"/>
            <p:cNvSpPr>
              <a:spLocks noChangeShapeType="1"/>
            </p:cNvSpPr>
            <p:nvPr/>
          </p:nvSpPr>
          <p:spPr bwMode="auto">
            <a:xfrm flipH="1" flipV="1">
              <a:off x="1452" y="2404"/>
              <a:ext cx="79" cy="4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Line 38"/>
            <p:cNvSpPr>
              <a:spLocks noChangeShapeType="1"/>
            </p:cNvSpPr>
            <p:nvPr/>
          </p:nvSpPr>
          <p:spPr bwMode="auto">
            <a:xfrm>
              <a:off x="1452" y="2100"/>
              <a:ext cx="219" cy="1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6" name="Line 39"/>
            <p:cNvSpPr>
              <a:spLocks noChangeShapeType="1"/>
            </p:cNvSpPr>
            <p:nvPr/>
          </p:nvSpPr>
          <p:spPr bwMode="auto">
            <a:xfrm>
              <a:off x="1452" y="2209"/>
              <a:ext cx="173" cy="13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7" name="Line 40"/>
            <p:cNvSpPr>
              <a:spLocks noChangeShapeType="1"/>
            </p:cNvSpPr>
            <p:nvPr/>
          </p:nvSpPr>
          <p:spPr bwMode="auto">
            <a:xfrm>
              <a:off x="1452" y="1111"/>
              <a:ext cx="539" cy="81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Line 41"/>
            <p:cNvSpPr>
              <a:spLocks noChangeShapeType="1"/>
            </p:cNvSpPr>
            <p:nvPr/>
          </p:nvSpPr>
          <p:spPr bwMode="auto">
            <a:xfrm>
              <a:off x="1452" y="1275"/>
              <a:ext cx="493" cy="70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Line 42"/>
            <p:cNvSpPr>
              <a:spLocks noChangeShapeType="1"/>
            </p:cNvSpPr>
            <p:nvPr/>
          </p:nvSpPr>
          <p:spPr bwMode="auto">
            <a:xfrm>
              <a:off x="1452" y="1982"/>
              <a:ext cx="264" cy="26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Line 43"/>
            <p:cNvSpPr>
              <a:spLocks noChangeShapeType="1"/>
            </p:cNvSpPr>
            <p:nvPr/>
          </p:nvSpPr>
          <p:spPr bwMode="auto">
            <a:xfrm>
              <a:off x="1452" y="1431"/>
              <a:ext cx="447" cy="59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Line 44"/>
            <p:cNvSpPr>
              <a:spLocks noChangeShapeType="1"/>
            </p:cNvSpPr>
            <p:nvPr/>
          </p:nvSpPr>
          <p:spPr bwMode="auto">
            <a:xfrm>
              <a:off x="1452" y="1722"/>
              <a:ext cx="356" cy="41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Line 45"/>
            <p:cNvSpPr>
              <a:spLocks noChangeShapeType="1"/>
            </p:cNvSpPr>
            <p:nvPr/>
          </p:nvSpPr>
          <p:spPr bwMode="auto">
            <a:xfrm>
              <a:off x="1452" y="1855"/>
              <a:ext cx="310" cy="33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3" name="Line 46"/>
            <p:cNvSpPr>
              <a:spLocks noChangeShapeType="1"/>
            </p:cNvSpPr>
            <p:nvPr/>
          </p:nvSpPr>
          <p:spPr bwMode="auto">
            <a:xfrm>
              <a:off x="1452" y="1581"/>
              <a:ext cx="402" cy="50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4" name="Line 47"/>
            <p:cNvSpPr>
              <a:spLocks noChangeShapeType="1"/>
            </p:cNvSpPr>
            <p:nvPr/>
          </p:nvSpPr>
          <p:spPr bwMode="auto">
            <a:xfrm>
              <a:off x="1452" y="2310"/>
              <a:ext cx="127" cy="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5" name="Line 48"/>
            <p:cNvSpPr>
              <a:spLocks noChangeShapeType="1"/>
            </p:cNvSpPr>
            <p:nvPr/>
          </p:nvSpPr>
          <p:spPr bwMode="auto">
            <a:xfrm flipH="1" flipV="1">
              <a:off x="3047" y="784"/>
              <a:ext cx="595" cy="98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6" name="Line 49"/>
            <p:cNvSpPr>
              <a:spLocks noChangeShapeType="1"/>
            </p:cNvSpPr>
            <p:nvPr/>
          </p:nvSpPr>
          <p:spPr bwMode="auto">
            <a:xfrm>
              <a:off x="2983" y="784"/>
              <a:ext cx="628" cy="9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Line 50"/>
            <p:cNvSpPr>
              <a:spLocks noChangeShapeType="1"/>
            </p:cNvSpPr>
            <p:nvPr/>
          </p:nvSpPr>
          <p:spPr bwMode="auto">
            <a:xfrm flipH="1" flipV="1">
              <a:off x="2916" y="784"/>
              <a:ext cx="662" cy="9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Line 51"/>
            <p:cNvSpPr>
              <a:spLocks noChangeShapeType="1"/>
            </p:cNvSpPr>
            <p:nvPr/>
          </p:nvSpPr>
          <p:spPr bwMode="auto">
            <a:xfrm>
              <a:off x="2848" y="784"/>
              <a:ext cx="699" cy="100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Line 52"/>
            <p:cNvSpPr>
              <a:spLocks noChangeShapeType="1"/>
            </p:cNvSpPr>
            <p:nvPr/>
          </p:nvSpPr>
          <p:spPr bwMode="auto">
            <a:xfrm>
              <a:off x="3112" y="784"/>
              <a:ext cx="561" cy="9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Line 53"/>
            <p:cNvSpPr>
              <a:spLocks noChangeShapeType="1"/>
            </p:cNvSpPr>
            <p:nvPr/>
          </p:nvSpPr>
          <p:spPr bwMode="auto">
            <a:xfrm>
              <a:off x="3877" y="784"/>
              <a:ext cx="246" cy="86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Line 54"/>
            <p:cNvSpPr>
              <a:spLocks noChangeShapeType="1"/>
            </p:cNvSpPr>
            <p:nvPr/>
          </p:nvSpPr>
          <p:spPr bwMode="auto">
            <a:xfrm flipH="1" flipV="1">
              <a:off x="3827" y="784"/>
              <a:ext cx="262" cy="87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Line 55"/>
            <p:cNvSpPr>
              <a:spLocks noChangeShapeType="1"/>
            </p:cNvSpPr>
            <p:nvPr/>
          </p:nvSpPr>
          <p:spPr bwMode="auto">
            <a:xfrm flipH="1" flipV="1">
              <a:off x="3925" y="784"/>
              <a:ext cx="229" cy="86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Line 56"/>
            <p:cNvSpPr>
              <a:spLocks noChangeShapeType="1"/>
            </p:cNvSpPr>
            <p:nvPr/>
          </p:nvSpPr>
          <p:spPr bwMode="auto">
            <a:xfrm>
              <a:off x="3676" y="784"/>
              <a:ext cx="318" cy="8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Line 57"/>
            <p:cNvSpPr>
              <a:spLocks noChangeShapeType="1"/>
            </p:cNvSpPr>
            <p:nvPr/>
          </p:nvSpPr>
          <p:spPr bwMode="auto">
            <a:xfrm>
              <a:off x="3777" y="784"/>
              <a:ext cx="281" cy="88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Line 58"/>
            <p:cNvSpPr>
              <a:spLocks noChangeShapeType="1"/>
            </p:cNvSpPr>
            <p:nvPr/>
          </p:nvSpPr>
          <p:spPr bwMode="auto">
            <a:xfrm flipH="1" flipV="1">
              <a:off x="3728" y="784"/>
              <a:ext cx="299" cy="8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Line 59"/>
            <p:cNvSpPr>
              <a:spLocks noChangeShapeType="1"/>
            </p:cNvSpPr>
            <p:nvPr/>
          </p:nvSpPr>
          <p:spPr bwMode="auto">
            <a:xfrm flipH="1" flipV="1">
              <a:off x="4110" y="784"/>
              <a:ext cx="173" cy="83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Line 60"/>
            <p:cNvSpPr>
              <a:spLocks noChangeShapeType="1"/>
            </p:cNvSpPr>
            <p:nvPr/>
          </p:nvSpPr>
          <p:spPr bwMode="auto">
            <a:xfrm>
              <a:off x="4064" y="784"/>
              <a:ext cx="186" cy="8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Line 61"/>
            <p:cNvSpPr>
              <a:spLocks noChangeShapeType="1"/>
            </p:cNvSpPr>
            <p:nvPr/>
          </p:nvSpPr>
          <p:spPr bwMode="auto">
            <a:xfrm flipH="1" flipV="1">
              <a:off x="4019" y="784"/>
              <a:ext cx="199" cy="8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Line 62"/>
            <p:cNvSpPr>
              <a:spLocks noChangeShapeType="1"/>
            </p:cNvSpPr>
            <p:nvPr/>
          </p:nvSpPr>
          <p:spPr bwMode="auto">
            <a:xfrm>
              <a:off x="3973" y="784"/>
              <a:ext cx="212" cy="85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Line 63"/>
            <p:cNvSpPr>
              <a:spLocks noChangeShapeType="1"/>
            </p:cNvSpPr>
            <p:nvPr/>
          </p:nvSpPr>
          <p:spPr bwMode="auto">
            <a:xfrm>
              <a:off x="3463" y="784"/>
              <a:ext cx="404" cy="93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Line 64"/>
            <p:cNvSpPr>
              <a:spLocks noChangeShapeType="1"/>
            </p:cNvSpPr>
            <p:nvPr/>
          </p:nvSpPr>
          <p:spPr bwMode="auto">
            <a:xfrm>
              <a:off x="3351" y="784"/>
              <a:ext cx="451" cy="94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Line 65"/>
            <p:cNvSpPr>
              <a:spLocks noChangeShapeType="1"/>
            </p:cNvSpPr>
            <p:nvPr/>
          </p:nvSpPr>
          <p:spPr bwMode="auto">
            <a:xfrm flipH="1" flipV="1">
              <a:off x="3293" y="784"/>
              <a:ext cx="478" cy="95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Line 66"/>
            <p:cNvSpPr>
              <a:spLocks noChangeShapeType="1"/>
            </p:cNvSpPr>
            <p:nvPr/>
          </p:nvSpPr>
          <p:spPr bwMode="auto">
            <a:xfrm flipH="1" flipV="1">
              <a:off x="3626" y="784"/>
              <a:ext cx="337" cy="90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Line 67"/>
            <p:cNvSpPr>
              <a:spLocks noChangeShapeType="1"/>
            </p:cNvSpPr>
            <p:nvPr/>
          </p:nvSpPr>
          <p:spPr bwMode="auto">
            <a:xfrm flipH="1" flipV="1">
              <a:off x="3172" y="784"/>
              <a:ext cx="535" cy="9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Line 68"/>
            <p:cNvSpPr>
              <a:spLocks noChangeShapeType="1"/>
            </p:cNvSpPr>
            <p:nvPr/>
          </p:nvSpPr>
          <p:spPr bwMode="auto">
            <a:xfrm>
              <a:off x="3233" y="784"/>
              <a:ext cx="505" cy="95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Line 69"/>
            <p:cNvSpPr>
              <a:spLocks noChangeShapeType="1"/>
            </p:cNvSpPr>
            <p:nvPr/>
          </p:nvSpPr>
          <p:spPr bwMode="auto">
            <a:xfrm flipH="1" flipV="1">
              <a:off x="3517" y="784"/>
              <a:ext cx="381" cy="92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Line 70"/>
            <p:cNvSpPr>
              <a:spLocks noChangeShapeType="1"/>
            </p:cNvSpPr>
            <p:nvPr/>
          </p:nvSpPr>
          <p:spPr bwMode="auto">
            <a:xfrm>
              <a:off x="3572" y="784"/>
              <a:ext cx="357" cy="9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Line 71"/>
            <p:cNvSpPr>
              <a:spLocks noChangeShapeType="1"/>
            </p:cNvSpPr>
            <p:nvPr/>
          </p:nvSpPr>
          <p:spPr bwMode="auto">
            <a:xfrm flipH="1" flipV="1">
              <a:off x="3407" y="784"/>
              <a:ext cx="427" cy="9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Line 72"/>
            <p:cNvSpPr>
              <a:spLocks noChangeShapeType="1"/>
            </p:cNvSpPr>
            <p:nvPr/>
          </p:nvSpPr>
          <p:spPr bwMode="auto">
            <a:xfrm flipH="1" flipV="1">
              <a:off x="2634" y="784"/>
              <a:ext cx="817" cy="10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Line 73"/>
            <p:cNvSpPr>
              <a:spLocks noChangeShapeType="1"/>
            </p:cNvSpPr>
            <p:nvPr/>
          </p:nvSpPr>
          <p:spPr bwMode="auto">
            <a:xfrm flipH="1" flipV="1">
              <a:off x="2428" y="905"/>
              <a:ext cx="894" cy="9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Line 74"/>
            <p:cNvSpPr>
              <a:spLocks noChangeShapeType="1"/>
            </p:cNvSpPr>
            <p:nvPr/>
          </p:nvSpPr>
          <p:spPr bwMode="auto">
            <a:xfrm>
              <a:off x="2706" y="784"/>
              <a:ext cx="776" cy="102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Line 75"/>
            <p:cNvSpPr>
              <a:spLocks noChangeShapeType="1"/>
            </p:cNvSpPr>
            <p:nvPr/>
          </p:nvSpPr>
          <p:spPr bwMode="auto">
            <a:xfrm flipH="1" flipV="1">
              <a:off x="2363" y="842"/>
              <a:ext cx="892" cy="98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Line 76"/>
            <p:cNvSpPr>
              <a:spLocks noChangeShapeType="1"/>
            </p:cNvSpPr>
            <p:nvPr/>
          </p:nvSpPr>
          <p:spPr bwMode="auto">
            <a:xfrm flipH="1" flipV="1">
              <a:off x="2332" y="811"/>
              <a:ext cx="888" cy="100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Line 77"/>
            <p:cNvSpPr>
              <a:spLocks noChangeShapeType="1"/>
            </p:cNvSpPr>
            <p:nvPr/>
          </p:nvSpPr>
          <p:spPr bwMode="auto">
            <a:xfrm>
              <a:off x="2272" y="784"/>
              <a:ext cx="777" cy="9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Line 78"/>
            <p:cNvSpPr>
              <a:spLocks noChangeShapeType="1"/>
            </p:cNvSpPr>
            <p:nvPr/>
          </p:nvSpPr>
          <p:spPr bwMode="auto">
            <a:xfrm flipH="1" flipV="1">
              <a:off x="2478" y="873"/>
              <a:ext cx="877" cy="96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Line 79"/>
            <p:cNvSpPr>
              <a:spLocks noChangeShapeType="1"/>
            </p:cNvSpPr>
            <p:nvPr/>
          </p:nvSpPr>
          <p:spPr bwMode="auto">
            <a:xfrm>
              <a:off x="2290" y="784"/>
              <a:ext cx="828" cy="101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Line 80"/>
            <p:cNvSpPr>
              <a:spLocks noChangeShapeType="1"/>
            </p:cNvSpPr>
            <p:nvPr/>
          </p:nvSpPr>
          <p:spPr bwMode="auto">
            <a:xfrm flipH="1" flipV="1">
              <a:off x="2527" y="842"/>
              <a:ext cx="859" cy="98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Line 81"/>
            <p:cNvSpPr>
              <a:spLocks noChangeShapeType="1"/>
            </p:cNvSpPr>
            <p:nvPr/>
          </p:nvSpPr>
          <p:spPr bwMode="auto">
            <a:xfrm>
              <a:off x="2579" y="811"/>
              <a:ext cx="839" cy="100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Line 82"/>
            <p:cNvSpPr>
              <a:spLocks noChangeShapeType="1"/>
            </p:cNvSpPr>
            <p:nvPr/>
          </p:nvSpPr>
          <p:spPr bwMode="auto">
            <a:xfrm flipH="1" flipV="1">
              <a:off x="2297" y="784"/>
              <a:ext cx="856" cy="102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0" name="Line 83"/>
            <p:cNvSpPr>
              <a:spLocks noChangeShapeType="1"/>
            </p:cNvSpPr>
            <p:nvPr/>
          </p:nvSpPr>
          <p:spPr bwMode="auto">
            <a:xfrm flipH="1" flipV="1">
              <a:off x="2394" y="873"/>
              <a:ext cx="895" cy="96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1" name="Line 84"/>
            <p:cNvSpPr>
              <a:spLocks noChangeShapeType="1"/>
            </p:cNvSpPr>
            <p:nvPr/>
          </p:nvSpPr>
          <p:spPr bwMode="auto">
            <a:xfrm flipH="1" flipV="1">
              <a:off x="2282" y="784"/>
              <a:ext cx="803" cy="100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2" name="Line 85"/>
            <p:cNvSpPr>
              <a:spLocks noChangeShapeType="1"/>
            </p:cNvSpPr>
            <p:nvPr/>
          </p:nvSpPr>
          <p:spPr bwMode="auto">
            <a:xfrm>
              <a:off x="4156" y="784"/>
              <a:ext cx="158" cy="82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3" name="Line 86"/>
            <p:cNvSpPr>
              <a:spLocks noChangeShapeType="1"/>
            </p:cNvSpPr>
            <p:nvPr/>
          </p:nvSpPr>
          <p:spPr bwMode="auto">
            <a:xfrm flipH="1" flipV="1">
              <a:off x="2303" y="784"/>
              <a:ext cx="884" cy="10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4" name="Line 87"/>
            <p:cNvSpPr>
              <a:spLocks noChangeShapeType="1"/>
            </p:cNvSpPr>
            <p:nvPr/>
          </p:nvSpPr>
          <p:spPr bwMode="auto">
            <a:xfrm flipH="1" flipV="1">
              <a:off x="2779" y="784"/>
              <a:ext cx="736" cy="101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fr-FR" smtClean="0"/>
              <a:t>Modifier le style des sous-titres du masqu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fld id="{3C28EF7B-8615-4A66-97C8-3468AA6A6ED5}" type="datetime1">
              <a:rPr lang="en-GB" smtClean="0"/>
              <a:t>24/0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8457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5"/>
          <p:cNvSpPr>
            <a:spLocks noEditPoints="1"/>
          </p:cNvSpPr>
          <p:nvPr/>
        </p:nvSpPr>
        <p:spPr bwMode="auto">
          <a:xfrm>
            <a:off x="4218807" y="645537"/>
            <a:ext cx="5149850" cy="3983038"/>
          </a:xfrm>
          <a:custGeom>
            <a:avLst/>
            <a:gdLst>
              <a:gd name="T0" fmla="*/ 1980 w 8401"/>
              <a:gd name="T1" fmla="*/ 612 h 6505"/>
              <a:gd name="T2" fmla="*/ 4200 w 8401"/>
              <a:gd name="T3" fmla="*/ 5149 h 6505"/>
              <a:gd name="T4" fmla="*/ 6811 w 8401"/>
              <a:gd name="T5" fmla="*/ 3609 h 6505"/>
              <a:gd name="T6" fmla="*/ 1590 w 8401"/>
              <a:gd name="T7" fmla="*/ 2897 h 6505"/>
              <a:gd name="T8" fmla="*/ 1590 w 8401"/>
              <a:gd name="T9" fmla="*/ 2897 h 6505"/>
              <a:gd name="T10" fmla="*/ 7100 w 8401"/>
              <a:gd name="T11" fmla="*/ 2864 h 6505"/>
              <a:gd name="T12" fmla="*/ 7169 w 8401"/>
              <a:gd name="T13" fmla="*/ 2441 h 6505"/>
              <a:gd name="T14" fmla="*/ 7176 w 8401"/>
              <a:gd name="T15" fmla="*/ 1984 h 6505"/>
              <a:gd name="T16" fmla="*/ 1692 w 8401"/>
              <a:gd name="T17" fmla="*/ 1139 h 6505"/>
              <a:gd name="T18" fmla="*/ 1794 w 8401"/>
              <a:gd name="T19" fmla="*/ 3927 h 6505"/>
              <a:gd name="T20" fmla="*/ 1759 w 8401"/>
              <a:gd name="T21" fmla="*/ 4315 h 6505"/>
              <a:gd name="T22" fmla="*/ 7100 w 8401"/>
              <a:gd name="T23" fmla="*/ 3642 h 6505"/>
              <a:gd name="T24" fmla="*/ 7169 w 8401"/>
              <a:gd name="T25" fmla="*/ 2441 h 6505"/>
              <a:gd name="T26" fmla="*/ 7176 w 8401"/>
              <a:gd name="T27" fmla="*/ 1984 h 6505"/>
              <a:gd name="T28" fmla="*/ 961 w 8401"/>
              <a:gd name="T29" fmla="*/ 1882 h 6505"/>
              <a:gd name="T30" fmla="*/ 1048 w 8401"/>
              <a:gd name="T31" fmla="*/ 1360 h 6505"/>
              <a:gd name="T32" fmla="*/ 4200 w 8401"/>
              <a:gd name="T33" fmla="*/ 5692 h 6505"/>
              <a:gd name="T34" fmla="*/ 6909 w 8401"/>
              <a:gd name="T35" fmla="*/ 4421 h 6505"/>
              <a:gd name="T36" fmla="*/ 1791 w 8401"/>
              <a:gd name="T37" fmla="*/ 4738 h 6505"/>
              <a:gd name="T38" fmla="*/ 1492 w 8401"/>
              <a:gd name="T39" fmla="*/ 4421 h 6505"/>
              <a:gd name="T40" fmla="*/ 1134 w 8401"/>
              <a:gd name="T41" fmla="*/ 3253 h 6505"/>
              <a:gd name="T42" fmla="*/ 1015 w 8401"/>
              <a:gd name="T43" fmla="*/ 2830 h 6505"/>
              <a:gd name="T44" fmla="*/ 954 w 8401"/>
              <a:gd name="T45" fmla="*/ 2371 h 6505"/>
              <a:gd name="T46" fmla="*/ 698 w 8401"/>
              <a:gd name="T47" fmla="*/ 1781 h 6505"/>
              <a:gd name="T48" fmla="*/ 4200 w 8401"/>
              <a:gd name="T49" fmla="*/ 5963 h 6505"/>
              <a:gd name="T50" fmla="*/ 1492 w 8401"/>
              <a:gd name="T51" fmla="*/ 4421 h 6505"/>
              <a:gd name="T52" fmla="*/ 1543 w 8401"/>
              <a:gd name="T53" fmla="*/ 4876 h 6505"/>
              <a:gd name="T54" fmla="*/ 1225 w 8401"/>
              <a:gd name="T55" fmla="*/ 4521 h 6505"/>
              <a:gd name="T56" fmla="*/ 954 w 8401"/>
              <a:gd name="T57" fmla="*/ 4135 h 6505"/>
              <a:gd name="T58" fmla="*/ 7668 w 8401"/>
              <a:gd name="T59" fmla="*/ 2795 h 6505"/>
              <a:gd name="T60" fmla="*/ 452 w 8401"/>
              <a:gd name="T61" fmla="*/ 2761 h 6505"/>
              <a:gd name="T62" fmla="*/ 7949 w 8401"/>
              <a:gd name="T63" fmla="*/ 2761 h 6505"/>
              <a:gd name="T64" fmla="*/ 1543 w 8401"/>
              <a:gd name="T65" fmla="*/ 4876 h 6505"/>
              <a:gd name="T66" fmla="*/ 6858 w 8401"/>
              <a:gd name="T67" fmla="*/ 4876 h 6505"/>
              <a:gd name="T68" fmla="*/ 7176 w 8401"/>
              <a:gd name="T69" fmla="*/ 4521 h 6505"/>
              <a:gd name="T70" fmla="*/ 961 w 8401"/>
              <a:gd name="T71" fmla="*/ 4624 h 6505"/>
              <a:gd name="T72" fmla="*/ 563 w 8401"/>
              <a:gd name="T73" fmla="*/ 3253 h 6505"/>
              <a:gd name="T74" fmla="*/ 7949 w 8401"/>
              <a:gd name="T75" fmla="*/ 3745 h 6505"/>
              <a:gd name="T76" fmla="*/ 452 w 8401"/>
              <a:gd name="T77" fmla="*/ 2761 h 6505"/>
              <a:gd name="T78" fmla="*/ 2163 w 8401"/>
              <a:gd name="T79" fmla="*/ 5686 h 6505"/>
              <a:gd name="T80" fmla="*/ 6238 w 8401"/>
              <a:gd name="T81" fmla="*/ 5686 h 6505"/>
              <a:gd name="T82" fmla="*/ 6709 w 8401"/>
              <a:gd name="T83" fmla="*/ 5367 h 6505"/>
              <a:gd name="T84" fmla="*/ 7105 w 8401"/>
              <a:gd name="T85" fmla="*/ 5012 h 6505"/>
              <a:gd name="T86" fmla="*/ 7721 w 8401"/>
              <a:gd name="T87" fmla="*/ 4201 h 6505"/>
              <a:gd name="T88" fmla="*/ 8228 w 8401"/>
              <a:gd name="T89" fmla="*/ 3779 h 6505"/>
              <a:gd name="T90" fmla="*/ 8228 w 8401"/>
              <a:gd name="T91" fmla="*/ 3779 h 6505"/>
              <a:gd name="T92" fmla="*/ 2633 w 8401"/>
              <a:gd name="T93" fmla="*/ 6212 h 6505"/>
              <a:gd name="T94" fmla="*/ 1469 w 8401"/>
              <a:gd name="T95" fmla="*/ 5537 h 6505"/>
              <a:gd name="T96" fmla="*/ 3929 w 8401"/>
              <a:gd name="T97" fmla="*/ 3253 h 6505"/>
              <a:gd name="T98" fmla="*/ 5014 w 8401"/>
              <a:gd name="T99" fmla="*/ 3253 h 6505"/>
              <a:gd name="T100" fmla="*/ 4200 w 8401"/>
              <a:gd name="T101" fmla="*/ 2168 h 6505"/>
              <a:gd name="T102" fmla="*/ 4200 w 8401"/>
              <a:gd name="T103" fmla="*/ 1897 h 6505"/>
              <a:gd name="T104" fmla="*/ 6607 w 8401"/>
              <a:gd name="T105" fmla="*/ 2579 h 6505"/>
              <a:gd name="T106" fmla="*/ 4200 w 8401"/>
              <a:gd name="T107" fmla="*/ 814 h 6505"/>
              <a:gd name="T108" fmla="*/ 1913 w 8401"/>
              <a:gd name="T109" fmla="*/ 1310 h 6505"/>
              <a:gd name="T110" fmla="*/ 6238 w 8401"/>
              <a:gd name="T111" fmla="*/ 819 h 6505"/>
              <a:gd name="T112" fmla="*/ 1717 w 8401"/>
              <a:gd name="T113" fmla="*/ 3253 h 6505"/>
              <a:gd name="T114" fmla="*/ 1717 w 8401"/>
              <a:gd name="T115" fmla="*/ 3253 h 6505"/>
              <a:gd name="T116" fmla="*/ 6889 w 8401"/>
              <a:gd name="T117" fmla="*/ 2507 h 6505"/>
              <a:gd name="T118" fmla="*/ 1543 w 8401"/>
              <a:gd name="T119" fmla="*/ 1630 h 6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01" h="6505">
                <a:moveTo>
                  <a:pt x="6709" y="1139"/>
                </a:moveTo>
                <a:cubicBezTo>
                  <a:pt x="6560" y="1022"/>
                  <a:pt x="6403" y="915"/>
                  <a:pt x="6238" y="819"/>
                </a:cubicBezTo>
                <a:moveTo>
                  <a:pt x="2163" y="819"/>
                </a:moveTo>
                <a:cubicBezTo>
                  <a:pt x="1998" y="915"/>
                  <a:pt x="1841" y="1022"/>
                  <a:pt x="1692" y="1139"/>
                </a:cubicBezTo>
                <a:moveTo>
                  <a:pt x="1543" y="1630"/>
                </a:moveTo>
                <a:cubicBezTo>
                  <a:pt x="1659" y="1516"/>
                  <a:pt x="1783" y="1409"/>
                  <a:pt x="1913" y="1310"/>
                </a:cubicBezTo>
                <a:moveTo>
                  <a:pt x="2633" y="294"/>
                </a:moveTo>
                <a:cubicBezTo>
                  <a:pt x="2406" y="382"/>
                  <a:pt x="2187" y="488"/>
                  <a:pt x="1980" y="612"/>
                </a:cubicBezTo>
                <a:moveTo>
                  <a:pt x="1692" y="1139"/>
                </a:moveTo>
                <a:cubicBezTo>
                  <a:pt x="1841" y="1022"/>
                  <a:pt x="1998" y="915"/>
                  <a:pt x="2163" y="819"/>
                </a:cubicBezTo>
                <a:moveTo>
                  <a:pt x="6421" y="612"/>
                </a:moveTo>
                <a:cubicBezTo>
                  <a:pt x="6214" y="488"/>
                  <a:pt x="5995" y="382"/>
                  <a:pt x="5768" y="294"/>
                </a:cubicBezTo>
                <a:moveTo>
                  <a:pt x="6238" y="819"/>
                </a:moveTo>
                <a:cubicBezTo>
                  <a:pt x="6403" y="915"/>
                  <a:pt x="6560" y="1022"/>
                  <a:pt x="6709" y="1139"/>
                </a:cubicBezTo>
                <a:moveTo>
                  <a:pt x="1794" y="3927"/>
                </a:moveTo>
                <a:cubicBezTo>
                  <a:pt x="2336" y="4668"/>
                  <a:pt x="3212" y="5149"/>
                  <a:pt x="4200" y="5149"/>
                </a:cubicBezTo>
                <a:cubicBezTo>
                  <a:pt x="5189" y="5149"/>
                  <a:pt x="6065" y="4668"/>
                  <a:pt x="6607" y="3927"/>
                </a:cubicBezTo>
                <a:moveTo>
                  <a:pt x="6519" y="3572"/>
                </a:moveTo>
                <a:cubicBezTo>
                  <a:pt x="6044" y="4355"/>
                  <a:pt x="5183" y="4878"/>
                  <a:pt x="4200" y="4878"/>
                </a:cubicBezTo>
                <a:cubicBezTo>
                  <a:pt x="3218" y="4878"/>
                  <a:pt x="2357" y="4355"/>
                  <a:pt x="1882" y="3572"/>
                </a:cubicBezTo>
                <a:moveTo>
                  <a:pt x="6684" y="3253"/>
                </a:moveTo>
                <a:cubicBezTo>
                  <a:pt x="6636" y="3363"/>
                  <a:pt x="6581" y="3470"/>
                  <a:pt x="6519" y="3572"/>
                </a:cubicBezTo>
                <a:moveTo>
                  <a:pt x="6607" y="3927"/>
                </a:moveTo>
                <a:cubicBezTo>
                  <a:pt x="6682" y="3825"/>
                  <a:pt x="6750" y="3719"/>
                  <a:pt x="6811" y="3609"/>
                </a:cubicBezTo>
                <a:moveTo>
                  <a:pt x="1882" y="3572"/>
                </a:moveTo>
                <a:cubicBezTo>
                  <a:pt x="1820" y="3470"/>
                  <a:pt x="1765" y="3363"/>
                  <a:pt x="1717" y="3253"/>
                </a:cubicBezTo>
                <a:moveTo>
                  <a:pt x="1590" y="3609"/>
                </a:moveTo>
                <a:cubicBezTo>
                  <a:pt x="1651" y="3719"/>
                  <a:pt x="1719" y="3825"/>
                  <a:pt x="1794" y="3927"/>
                </a:cubicBezTo>
                <a:moveTo>
                  <a:pt x="6811" y="3609"/>
                </a:moveTo>
                <a:cubicBezTo>
                  <a:pt x="6874" y="3494"/>
                  <a:pt x="6929" y="3376"/>
                  <a:pt x="6977" y="3253"/>
                </a:cubicBezTo>
                <a:cubicBezTo>
                  <a:pt x="6929" y="3130"/>
                  <a:pt x="6874" y="3011"/>
                  <a:pt x="6811" y="2897"/>
                </a:cubicBezTo>
                <a:moveTo>
                  <a:pt x="1590" y="2897"/>
                </a:moveTo>
                <a:cubicBezTo>
                  <a:pt x="1527" y="3011"/>
                  <a:pt x="1472" y="3130"/>
                  <a:pt x="1424" y="3253"/>
                </a:cubicBezTo>
                <a:cubicBezTo>
                  <a:pt x="1472" y="3376"/>
                  <a:pt x="1527" y="3494"/>
                  <a:pt x="1590" y="3609"/>
                </a:cubicBezTo>
                <a:moveTo>
                  <a:pt x="7100" y="2864"/>
                </a:moveTo>
                <a:cubicBezTo>
                  <a:pt x="7037" y="2740"/>
                  <a:pt x="6967" y="2621"/>
                  <a:pt x="6889" y="2507"/>
                </a:cubicBezTo>
                <a:moveTo>
                  <a:pt x="6811" y="2897"/>
                </a:moveTo>
                <a:cubicBezTo>
                  <a:pt x="6874" y="3011"/>
                  <a:pt x="6929" y="3130"/>
                  <a:pt x="6977" y="3253"/>
                </a:cubicBezTo>
                <a:moveTo>
                  <a:pt x="1424" y="3253"/>
                </a:moveTo>
                <a:cubicBezTo>
                  <a:pt x="1472" y="3130"/>
                  <a:pt x="1527" y="3011"/>
                  <a:pt x="1590" y="2897"/>
                </a:cubicBezTo>
                <a:moveTo>
                  <a:pt x="1512" y="2507"/>
                </a:moveTo>
                <a:cubicBezTo>
                  <a:pt x="1434" y="2621"/>
                  <a:pt x="1364" y="2740"/>
                  <a:pt x="1301" y="2864"/>
                </a:cubicBezTo>
                <a:moveTo>
                  <a:pt x="1492" y="2084"/>
                </a:moveTo>
                <a:cubicBezTo>
                  <a:pt x="1398" y="2197"/>
                  <a:pt x="1311" y="2317"/>
                  <a:pt x="1232" y="2441"/>
                </a:cubicBezTo>
                <a:moveTo>
                  <a:pt x="1301" y="2864"/>
                </a:moveTo>
                <a:cubicBezTo>
                  <a:pt x="1364" y="2740"/>
                  <a:pt x="1434" y="2621"/>
                  <a:pt x="1512" y="2507"/>
                </a:cubicBezTo>
                <a:moveTo>
                  <a:pt x="6889" y="2507"/>
                </a:moveTo>
                <a:cubicBezTo>
                  <a:pt x="6967" y="2621"/>
                  <a:pt x="7037" y="2740"/>
                  <a:pt x="7100" y="2864"/>
                </a:cubicBezTo>
                <a:moveTo>
                  <a:pt x="7169" y="2441"/>
                </a:moveTo>
                <a:cubicBezTo>
                  <a:pt x="7090" y="2317"/>
                  <a:pt x="7003" y="2197"/>
                  <a:pt x="6909" y="2084"/>
                </a:cubicBezTo>
                <a:moveTo>
                  <a:pt x="1543" y="1630"/>
                </a:moveTo>
                <a:cubicBezTo>
                  <a:pt x="1430" y="1741"/>
                  <a:pt x="1323" y="1860"/>
                  <a:pt x="1225" y="1984"/>
                </a:cubicBezTo>
                <a:moveTo>
                  <a:pt x="1232" y="2441"/>
                </a:moveTo>
                <a:cubicBezTo>
                  <a:pt x="1311" y="2317"/>
                  <a:pt x="1398" y="2197"/>
                  <a:pt x="1492" y="2084"/>
                </a:cubicBezTo>
                <a:moveTo>
                  <a:pt x="6909" y="2084"/>
                </a:moveTo>
                <a:cubicBezTo>
                  <a:pt x="7003" y="2197"/>
                  <a:pt x="7090" y="2317"/>
                  <a:pt x="7169" y="2441"/>
                </a:cubicBezTo>
                <a:moveTo>
                  <a:pt x="7176" y="1984"/>
                </a:moveTo>
                <a:cubicBezTo>
                  <a:pt x="7078" y="1860"/>
                  <a:pt x="6971" y="1741"/>
                  <a:pt x="6858" y="1630"/>
                </a:cubicBezTo>
                <a:moveTo>
                  <a:pt x="1225" y="1984"/>
                </a:moveTo>
                <a:cubicBezTo>
                  <a:pt x="1323" y="1860"/>
                  <a:pt x="1430" y="1741"/>
                  <a:pt x="1543" y="1630"/>
                </a:cubicBezTo>
                <a:moveTo>
                  <a:pt x="1692" y="1139"/>
                </a:moveTo>
                <a:cubicBezTo>
                  <a:pt x="1552" y="1249"/>
                  <a:pt x="1420" y="1367"/>
                  <a:pt x="1296" y="1494"/>
                </a:cubicBezTo>
                <a:moveTo>
                  <a:pt x="6858" y="1630"/>
                </a:moveTo>
                <a:cubicBezTo>
                  <a:pt x="6971" y="1741"/>
                  <a:pt x="7078" y="1860"/>
                  <a:pt x="7176" y="1984"/>
                </a:cubicBezTo>
                <a:moveTo>
                  <a:pt x="7105" y="1494"/>
                </a:moveTo>
                <a:cubicBezTo>
                  <a:pt x="6981" y="1367"/>
                  <a:pt x="6849" y="1249"/>
                  <a:pt x="6709" y="1139"/>
                </a:cubicBezTo>
                <a:moveTo>
                  <a:pt x="6932" y="969"/>
                </a:moveTo>
                <a:cubicBezTo>
                  <a:pt x="6770" y="838"/>
                  <a:pt x="6600" y="719"/>
                  <a:pt x="6421" y="612"/>
                </a:cubicBezTo>
                <a:moveTo>
                  <a:pt x="6709" y="1139"/>
                </a:moveTo>
                <a:cubicBezTo>
                  <a:pt x="6849" y="1249"/>
                  <a:pt x="6981" y="1367"/>
                  <a:pt x="7105" y="1494"/>
                </a:cubicBezTo>
                <a:moveTo>
                  <a:pt x="1296" y="1494"/>
                </a:moveTo>
                <a:cubicBezTo>
                  <a:pt x="1420" y="1367"/>
                  <a:pt x="1552" y="1249"/>
                  <a:pt x="1692" y="1139"/>
                </a:cubicBezTo>
                <a:moveTo>
                  <a:pt x="1980" y="612"/>
                </a:moveTo>
                <a:cubicBezTo>
                  <a:pt x="1801" y="719"/>
                  <a:pt x="1630" y="838"/>
                  <a:pt x="1469" y="969"/>
                </a:cubicBezTo>
                <a:moveTo>
                  <a:pt x="1759" y="4315"/>
                </a:moveTo>
                <a:cubicBezTo>
                  <a:pt x="2355" y="4993"/>
                  <a:pt x="3228" y="5420"/>
                  <a:pt x="4200" y="5420"/>
                </a:cubicBezTo>
                <a:cubicBezTo>
                  <a:pt x="5173" y="5420"/>
                  <a:pt x="6046" y="4993"/>
                  <a:pt x="6642" y="4315"/>
                </a:cubicBezTo>
                <a:moveTo>
                  <a:pt x="6607" y="3927"/>
                </a:moveTo>
                <a:cubicBezTo>
                  <a:pt x="6065" y="4668"/>
                  <a:pt x="5189" y="5149"/>
                  <a:pt x="4200" y="5149"/>
                </a:cubicBezTo>
                <a:cubicBezTo>
                  <a:pt x="3212" y="5149"/>
                  <a:pt x="2336" y="4668"/>
                  <a:pt x="1794" y="3927"/>
                </a:cubicBezTo>
                <a:moveTo>
                  <a:pt x="6811" y="3609"/>
                </a:moveTo>
                <a:cubicBezTo>
                  <a:pt x="6750" y="3719"/>
                  <a:pt x="6682" y="3825"/>
                  <a:pt x="6607" y="3927"/>
                </a:cubicBezTo>
                <a:moveTo>
                  <a:pt x="6642" y="4315"/>
                </a:moveTo>
                <a:cubicBezTo>
                  <a:pt x="6731" y="4215"/>
                  <a:pt x="6813" y="4109"/>
                  <a:pt x="6889" y="3998"/>
                </a:cubicBezTo>
                <a:moveTo>
                  <a:pt x="1794" y="3927"/>
                </a:moveTo>
                <a:cubicBezTo>
                  <a:pt x="1719" y="3825"/>
                  <a:pt x="1651" y="3719"/>
                  <a:pt x="1590" y="3609"/>
                </a:cubicBezTo>
                <a:moveTo>
                  <a:pt x="1512" y="3998"/>
                </a:moveTo>
                <a:cubicBezTo>
                  <a:pt x="1588" y="4109"/>
                  <a:pt x="1670" y="4215"/>
                  <a:pt x="1759" y="4315"/>
                </a:cubicBezTo>
                <a:moveTo>
                  <a:pt x="1301" y="3642"/>
                </a:moveTo>
                <a:cubicBezTo>
                  <a:pt x="1364" y="3765"/>
                  <a:pt x="1434" y="3885"/>
                  <a:pt x="1512" y="3998"/>
                </a:cubicBezTo>
                <a:moveTo>
                  <a:pt x="1590" y="3609"/>
                </a:moveTo>
                <a:cubicBezTo>
                  <a:pt x="1527" y="3494"/>
                  <a:pt x="1472" y="3376"/>
                  <a:pt x="1424" y="3253"/>
                </a:cubicBezTo>
                <a:moveTo>
                  <a:pt x="6977" y="3253"/>
                </a:moveTo>
                <a:cubicBezTo>
                  <a:pt x="6929" y="3376"/>
                  <a:pt x="6874" y="3494"/>
                  <a:pt x="6811" y="3609"/>
                </a:cubicBezTo>
                <a:moveTo>
                  <a:pt x="6889" y="3998"/>
                </a:moveTo>
                <a:cubicBezTo>
                  <a:pt x="6967" y="3885"/>
                  <a:pt x="7037" y="3765"/>
                  <a:pt x="7100" y="3642"/>
                </a:cubicBezTo>
                <a:moveTo>
                  <a:pt x="1301" y="2864"/>
                </a:moveTo>
                <a:cubicBezTo>
                  <a:pt x="1237" y="2989"/>
                  <a:pt x="1181" y="3119"/>
                  <a:pt x="1134" y="3253"/>
                </a:cubicBezTo>
                <a:cubicBezTo>
                  <a:pt x="1181" y="3387"/>
                  <a:pt x="1237" y="3517"/>
                  <a:pt x="1301" y="3642"/>
                </a:cubicBezTo>
                <a:moveTo>
                  <a:pt x="7100" y="3642"/>
                </a:moveTo>
                <a:cubicBezTo>
                  <a:pt x="7163" y="3517"/>
                  <a:pt x="7220" y="3387"/>
                  <a:pt x="7267" y="3253"/>
                </a:cubicBezTo>
                <a:cubicBezTo>
                  <a:pt x="7220" y="3119"/>
                  <a:pt x="7163" y="2989"/>
                  <a:pt x="7100" y="2864"/>
                </a:cubicBezTo>
                <a:moveTo>
                  <a:pt x="7386" y="2830"/>
                </a:moveTo>
                <a:cubicBezTo>
                  <a:pt x="7322" y="2695"/>
                  <a:pt x="7249" y="2565"/>
                  <a:pt x="7169" y="2441"/>
                </a:cubicBezTo>
                <a:moveTo>
                  <a:pt x="7100" y="2864"/>
                </a:moveTo>
                <a:cubicBezTo>
                  <a:pt x="7163" y="2989"/>
                  <a:pt x="7220" y="3119"/>
                  <a:pt x="7267" y="3253"/>
                </a:cubicBezTo>
                <a:moveTo>
                  <a:pt x="1134" y="3253"/>
                </a:moveTo>
                <a:cubicBezTo>
                  <a:pt x="1181" y="3119"/>
                  <a:pt x="1237" y="2989"/>
                  <a:pt x="1301" y="2864"/>
                </a:cubicBezTo>
                <a:moveTo>
                  <a:pt x="1232" y="2441"/>
                </a:moveTo>
                <a:cubicBezTo>
                  <a:pt x="1152" y="2565"/>
                  <a:pt x="1079" y="2695"/>
                  <a:pt x="1015" y="2830"/>
                </a:cubicBezTo>
                <a:moveTo>
                  <a:pt x="7447" y="2371"/>
                </a:moveTo>
                <a:cubicBezTo>
                  <a:pt x="7365" y="2236"/>
                  <a:pt x="7274" y="2107"/>
                  <a:pt x="7176" y="1984"/>
                </a:cubicBezTo>
                <a:moveTo>
                  <a:pt x="7169" y="2441"/>
                </a:moveTo>
                <a:cubicBezTo>
                  <a:pt x="7249" y="2565"/>
                  <a:pt x="7322" y="2695"/>
                  <a:pt x="7386" y="2830"/>
                </a:cubicBezTo>
                <a:moveTo>
                  <a:pt x="1225" y="1984"/>
                </a:moveTo>
                <a:cubicBezTo>
                  <a:pt x="1127" y="2107"/>
                  <a:pt x="1036" y="2236"/>
                  <a:pt x="954" y="2371"/>
                </a:cubicBezTo>
                <a:moveTo>
                  <a:pt x="1015" y="2830"/>
                </a:moveTo>
                <a:cubicBezTo>
                  <a:pt x="1079" y="2695"/>
                  <a:pt x="1152" y="2565"/>
                  <a:pt x="1232" y="2441"/>
                </a:cubicBezTo>
                <a:moveTo>
                  <a:pt x="1296" y="1494"/>
                </a:moveTo>
                <a:cubicBezTo>
                  <a:pt x="1176" y="1616"/>
                  <a:pt x="1064" y="1745"/>
                  <a:pt x="961" y="1882"/>
                </a:cubicBezTo>
                <a:moveTo>
                  <a:pt x="954" y="2371"/>
                </a:moveTo>
                <a:cubicBezTo>
                  <a:pt x="1036" y="2236"/>
                  <a:pt x="1127" y="2107"/>
                  <a:pt x="1225" y="1984"/>
                </a:cubicBezTo>
                <a:moveTo>
                  <a:pt x="7176" y="1984"/>
                </a:moveTo>
                <a:cubicBezTo>
                  <a:pt x="7274" y="2107"/>
                  <a:pt x="7365" y="2236"/>
                  <a:pt x="7447" y="2371"/>
                </a:cubicBezTo>
                <a:moveTo>
                  <a:pt x="7440" y="1882"/>
                </a:moveTo>
                <a:cubicBezTo>
                  <a:pt x="7337" y="1745"/>
                  <a:pt x="7225" y="1616"/>
                  <a:pt x="7105" y="1494"/>
                </a:cubicBezTo>
                <a:moveTo>
                  <a:pt x="1469" y="969"/>
                </a:moveTo>
                <a:cubicBezTo>
                  <a:pt x="1320" y="1090"/>
                  <a:pt x="1180" y="1221"/>
                  <a:pt x="1048" y="1360"/>
                </a:cubicBezTo>
                <a:moveTo>
                  <a:pt x="961" y="1882"/>
                </a:moveTo>
                <a:cubicBezTo>
                  <a:pt x="1064" y="1745"/>
                  <a:pt x="1176" y="1616"/>
                  <a:pt x="1296" y="1494"/>
                </a:cubicBezTo>
                <a:moveTo>
                  <a:pt x="7353" y="1360"/>
                </a:moveTo>
                <a:cubicBezTo>
                  <a:pt x="7221" y="1221"/>
                  <a:pt x="7081" y="1090"/>
                  <a:pt x="6932" y="969"/>
                </a:cubicBezTo>
                <a:moveTo>
                  <a:pt x="7105" y="1494"/>
                </a:moveTo>
                <a:cubicBezTo>
                  <a:pt x="7225" y="1616"/>
                  <a:pt x="7337" y="1745"/>
                  <a:pt x="7440" y="1882"/>
                </a:cubicBezTo>
                <a:moveTo>
                  <a:pt x="1791" y="4738"/>
                </a:moveTo>
                <a:cubicBezTo>
                  <a:pt x="2421" y="5329"/>
                  <a:pt x="3268" y="5692"/>
                  <a:pt x="4200" y="5692"/>
                </a:cubicBezTo>
                <a:cubicBezTo>
                  <a:pt x="5133" y="5692"/>
                  <a:pt x="5980" y="5329"/>
                  <a:pt x="6610" y="4738"/>
                </a:cubicBezTo>
                <a:moveTo>
                  <a:pt x="6643" y="4339"/>
                </a:moveTo>
                <a:cubicBezTo>
                  <a:pt x="6643" y="4331"/>
                  <a:pt x="6642" y="4323"/>
                  <a:pt x="6642" y="4315"/>
                </a:cubicBezTo>
                <a:cubicBezTo>
                  <a:pt x="6046" y="4993"/>
                  <a:pt x="5173" y="5420"/>
                  <a:pt x="4200" y="5420"/>
                </a:cubicBezTo>
                <a:cubicBezTo>
                  <a:pt x="3228" y="5420"/>
                  <a:pt x="2355" y="4993"/>
                  <a:pt x="1759" y="4315"/>
                </a:cubicBezTo>
                <a:cubicBezTo>
                  <a:pt x="1759" y="4323"/>
                  <a:pt x="1758" y="4331"/>
                  <a:pt x="1758" y="4339"/>
                </a:cubicBezTo>
                <a:moveTo>
                  <a:pt x="6610" y="4738"/>
                </a:moveTo>
                <a:cubicBezTo>
                  <a:pt x="6716" y="4639"/>
                  <a:pt x="6816" y="4533"/>
                  <a:pt x="6909" y="4421"/>
                </a:cubicBezTo>
                <a:moveTo>
                  <a:pt x="6889" y="3998"/>
                </a:moveTo>
                <a:cubicBezTo>
                  <a:pt x="6813" y="4109"/>
                  <a:pt x="6731" y="4215"/>
                  <a:pt x="6642" y="4315"/>
                </a:cubicBezTo>
                <a:cubicBezTo>
                  <a:pt x="6642" y="4323"/>
                  <a:pt x="6643" y="4331"/>
                  <a:pt x="6643" y="4339"/>
                </a:cubicBezTo>
                <a:moveTo>
                  <a:pt x="1758" y="4339"/>
                </a:moveTo>
                <a:cubicBezTo>
                  <a:pt x="1758" y="4331"/>
                  <a:pt x="1759" y="4323"/>
                  <a:pt x="1759" y="4315"/>
                </a:cubicBezTo>
                <a:cubicBezTo>
                  <a:pt x="1670" y="4215"/>
                  <a:pt x="1588" y="4109"/>
                  <a:pt x="1512" y="3998"/>
                </a:cubicBezTo>
                <a:moveTo>
                  <a:pt x="1492" y="4421"/>
                </a:moveTo>
                <a:cubicBezTo>
                  <a:pt x="1585" y="4533"/>
                  <a:pt x="1685" y="4639"/>
                  <a:pt x="1791" y="4738"/>
                </a:cubicBezTo>
                <a:moveTo>
                  <a:pt x="7100" y="3642"/>
                </a:moveTo>
                <a:cubicBezTo>
                  <a:pt x="7037" y="3765"/>
                  <a:pt x="6967" y="3885"/>
                  <a:pt x="6889" y="3998"/>
                </a:cubicBezTo>
                <a:moveTo>
                  <a:pt x="6909" y="4421"/>
                </a:moveTo>
                <a:cubicBezTo>
                  <a:pt x="7003" y="4308"/>
                  <a:pt x="7090" y="4189"/>
                  <a:pt x="7169" y="4065"/>
                </a:cubicBezTo>
                <a:moveTo>
                  <a:pt x="1512" y="3998"/>
                </a:moveTo>
                <a:cubicBezTo>
                  <a:pt x="1434" y="3885"/>
                  <a:pt x="1364" y="3765"/>
                  <a:pt x="1301" y="3642"/>
                </a:cubicBezTo>
                <a:moveTo>
                  <a:pt x="1232" y="4065"/>
                </a:moveTo>
                <a:cubicBezTo>
                  <a:pt x="1311" y="4189"/>
                  <a:pt x="1398" y="4308"/>
                  <a:pt x="1492" y="4421"/>
                </a:cubicBezTo>
                <a:moveTo>
                  <a:pt x="7267" y="3253"/>
                </a:moveTo>
                <a:cubicBezTo>
                  <a:pt x="7220" y="3387"/>
                  <a:pt x="7163" y="3517"/>
                  <a:pt x="7100" y="3642"/>
                </a:cubicBezTo>
                <a:moveTo>
                  <a:pt x="7169" y="4065"/>
                </a:moveTo>
                <a:cubicBezTo>
                  <a:pt x="7249" y="3940"/>
                  <a:pt x="7322" y="3811"/>
                  <a:pt x="7386" y="3676"/>
                </a:cubicBezTo>
                <a:moveTo>
                  <a:pt x="1015" y="3676"/>
                </a:moveTo>
                <a:cubicBezTo>
                  <a:pt x="1079" y="3811"/>
                  <a:pt x="1152" y="3940"/>
                  <a:pt x="1232" y="4065"/>
                </a:cubicBezTo>
                <a:moveTo>
                  <a:pt x="1301" y="3642"/>
                </a:moveTo>
                <a:cubicBezTo>
                  <a:pt x="1237" y="3517"/>
                  <a:pt x="1181" y="3387"/>
                  <a:pt x="1134" y="3253"/>
                </a:cubicBezTo>
                <a:moveTo>
                  <a:pt x="7386" y="3676"/>
                </a:moveTo>
                <a:cubicBezTo>
                  <a:pt x="7450" y="3540"/>
                  <a:pt x="7506" y="3398"/>
                  <a:pt x="7553" y="3253"/>
                </a:cubicBezTo>
                <a:cubicBezTo>
                  <a:pt x="7506" y="3108"/>
                  <a:pt x="7450" y="2966"/>
                  <a:pt x="7386" y="2830"/>
                </a:cubicBezTo>
                <a:moveTo>
                  <a:pt x="1015" y="2830"/>
                </a:moveTo>
                <a:cubicBezTo>
                  <a:pt x="950" y="2966"/>
                  <a:pt x="895" y="3108"/>
                  <a:pt x="847" y="3253"/>
                </a:cubicBezTo>
                <a:cubicBezTo>
                  <a:pt x="895" y="3398"/>
                  <a:pt x="950" y="3540"/>
                  <a:pt x="1015" y="3676"/>
                </a:cubicBezTo>
                <a:moveTo>
                  <a:pt x="847" y="3253"/>
                </a:moveTo>
                <a:cubicBezTo>
                  <a:pt x="895" y="3108"/>
                  <a:pt x="950" y="2966"/>
                  <a:pt x="1015" y="2830"/>
                </a:cubicBezTo>
                <a:moveTo>
                  <a:pt x="954" y="2371"/>
                </a:moveTo>
                <a:cubicBezTo>
                  <a:pt x="872" y="2507"/>
                  <a:pt x="798" y="2649"/>
                  <a:pt x="733" y="2795"/>
                </a:cubicBezTo>
                <a:moveTo>
                  <a:pt x="7668" y="2795"/>
                </a:moveTo>
                <a:cubicBezTo>
                  <a:pt x="7602" y="2649"/>
                  <a:pt x="7529" y="2507"/>
                  <a:pt x="7447" y="2371"/>
                </a:cubicBezTo>
                <a:moveTo>
                  <a:pt x="7386" y="2830"/>
                </a:moveTo>
                <a:cubicBezTo>
                  <a:pt x="7450" y="2966"/>
                  <a:pt x="7506" y="3108"/>
                  <a:pt x="7553" y="3253"/>
                </a:cubicBezTo>
                <a:moveTo>
                  <a:pt x="733" y="2795"/>
                </a:moveTo>
                <a:cubicBezTo>
                  <a:pt x="798" y="2649"/>
                  <a:pt x="872" y="2507"/>
                  <a:pt x="954" y="2371"/>
                </a:cubicBezTo>
                <a:moveTo>
                  <a:pt x="961" y="1882"/>
                </a:moveTo>
                <a:cubicBezTo>
                  <a:pt x="858" y="2016"/>
                  <a:pt x="765" y="2158"/>
                  <a:pt x="680" y="2305"/>
                </a:cubicBezTo>
                <a:moveTo>
                  <a:pt x="7447" y="2371"/>
                </a:moveTo>
                <a:cubicBezTo>
                  <a:pt x="7529" y="2507"/>
                  <a:pt x="7602" y="2649"/>
                  <a:pt x="7668" y="2795"/>
                </a:cubicBezTo>
                <a:moveTo>
                  <a:pt x="7721" y="2305"/>
                </a:moveTo>
                <a:cubicBezTo>
                  <a:pt x="7636" y="2158"/>
                  <a:pt x="7543" y="2016"/>
                  <a:pt x="7440" y="1882"/>
                </a:cubicBezTo>
                <a:moveTo>
                  <a:pt x="1048" y="1360"/>
                </a:moveTo>
                <a:cubicBezTo>
                  <a:pt x="923" y="1493"/>
                  <a:pt x="805" y="1633"/>
                  <a:pt x="698" y="1781"/>
                </a:cubicBezTo>
                <a:moveTo>
                  <a:pt x="680" y="2305"/>
                </a:moveTo>
                <a:cubicBezTo>
                  <a:pt x="765" y="2158"/>
                  <a:pt x="858" y="2016"/>
                  <a:pt x="961" y="1882"/>
                </a:cubicBezTo>
                <a:moveTo>
                  <a:pt x="7703" y="1781"/>
                </a:moveTo>
                <a:cubicBezTo>
                  <a:pt x="7595" y="1633"/>
                  <a:pt x="7478" y="1493"/>
                  <a:pt x="7353" y="1360"/>
                </a:cubicBezTo>
                <a:moveTo>
                  <a:pt x="7440" y="1882"/>
                </a:moveTo>
                <a:cubicBezTo>
                  <a:pt x="7543" y="2016"/>
                  <a:pt x="7636" y="2158"/>
                  <a:pt x="7721" y="2305"/>
                </a:cubicBezTo>
                <a:moveTo>
                  <a:pt x="1913" y="5196"/>
                </a:moveTo>
                <a:cubicBezTo>
                  <a:pt x="2549" y="5677"/>
                  <a:pt x="3341" y="5963"/>
                  <a:pt x="4200" y="5963"/>
                </a:cubicBezTo>
                <a:cubicBezTo>
                  <a:pt x="5060" y="5963"/>
                  <a:pt x="5852" y="5677"/>
                  <a:pt x="6488" y="5196"/>
                </a:cubicBezTo>
                <a:moveTo>
                  <a:pt x="6610" y="4738"/>
                </a:moveTo>
                <a:cubicBezTo>
                  <a:pt x="5980" y="5329"/>
                  <a:pt x="5133" y="5692"/>
                  <a:pt x="4200" y="5692"/>
                </a:cubicBezTo>
                <a:cubicBezTo>
                  <a:pt x="3268" y="5692"/>
                  <a:pt x="2421" y="5329"/>
                  <a:pt x="1791" y="4738"/>
                </a:cubicBezTo>
                <a:moveTo>
                  <a:pt x="1543" y="4876"/>
                </a:moveTo>
                <a:cubicBezTo>
                  <a:pt x="1659" y="4990"/>
                  <a:pt x="1783" y="5097"/>
                  <a:pt x="1913" y="5196"/>
                </a:cubicBezTo>
                <a:moveTo>
                  <a:pt x="1791" y="4738"/>
                </a:moveTo>
                <a:cubicBezTo>
                  <a:pt x="1685" y="4639"/>
                  <a:pt x="1585" y="4533"/>
                  <a:pt x="1492" y="4421"/>
                </a:cubicBezTo>
                <a:moveTo>
                  <a:pt x="6909" y="4421"/>
                </a:moveTo>
                <a:cubicBezTo>
                  <a:pt x="6816" y="4533"/>
                  <a:pt x="6716" y="4639"/>
                  <a:pt x="6610" y="4738"/>
                </a:cubicBezTo>
                <a:moveTo>
                  <a:pt x="6488" y="5196"/>
                </a:moveTo>
                <a:cubicBezTo>
                  <a:pt x="6618" y="5097"/>
                  <a:pt x="6742" y="4990"/>
                  <a:pt x="6858" y="4876"/>
                </a:cubicBezTo>
                <a:moveTo>
                  <a:pt x="7169" y="4065"/>
                </a:moveTo>
                <a:cubicBezTo>
                  <a:pt x="7090" y="4189"/>
                  <a:pt x="7003" y="4308"/>
                  <a:pt x="6909" y="4421"/>
                </a:cubicBezTo>
                <a:moveTo>
                  <a:pt x="1225" y="4521"/>
                </a:moveTo>
                <a:cubicBezTo>
                  <a:pt x="1323" y="4646"/>
                  <a:pt x="1430" y="4765"/>
                  <a:pt x="1543" y="4876"/>
                </a:cubicBezTo>
                <a:moveTo>
                  <a:pt x="1492" y="4421"/>
                </a:moveTo>
                <a:cubicBezTo>
                  <a:pt x="1398" y="4308"/>
                  <a:pt x="1311" y="4189"/>
                  <a:pt x="1232" y="4065"/>
                </a:cubicBezTo>
                <a:moveTo>
                  <a:pt x="7386" y="3676"/>
                </a:moveTo>
                <a:cubicBezTo>
                  <a:pt x="7322" y="3811"/>
                  <a:pt x="7249" y="3940"/>
                  <a:pt x="7169" y="4065"/>
                </a:cubicBezTo>
                <a:moveTo>
                  <a:pt x="7176" y="4521"/>
                </a:moveTo>
                <a:cubicBezTo>
                  <a:pt x="7274" y="4398"/>
                  <a:pt x="7365" y="4270"/>
                  <a:pt x="7447" y="4135"/>
                </a:cubicBezTo>
                <a:moveTo>
                  <a:pt x="954" y="4135"/>
                </a:moveTo>
                <a:cubicBezTo>
                  <a:pt x="1036" y="4270"/>
                  <a:pt x="1127" y="4398"/>
                  <a:pt x="1225" y="4521"/>
                </a:cubicBezTo>
                <a:moveTo>
                  <a:pt x="1232" y="4065"/>
                </a:moveTo>
                <a:cubicBezTo>
                  <a:pt x="1152" y="3940"/>
                  <a:pt x="1079" y="3811"/>
                  <a:pt x="1015" y="3676"/>
                </a:cubicBezTo>
                <a:moveTo>
                  <a:pt x="7553" y="3253"/>
                </a:moveTo>
                <a:cubicBezTo>
                  <a:pt x="7506" y="3398"/>
                  <a:pt x="7450" y="3540"/>
                  <a:pt x="7386" y="3676"/>
                </a:cubicBezTo>
                <a:moveTo>
                  <a:pt x="7447" y="4135"/>
                </a:moveTo>
                <a:cubicBezTo>
                  <a:pt x="7529" y="3999"/>
                  <a:pt x="7602" y="3857"/>
                  <a:pt x="7668" y="3710"/>
                </a:cubicBezTo>
                <a:moveTo>
                  <a:pt x="733" y="3710"/>
                </a:moveTo>
                <a:cubicBezTo>
                  <a:pt x="798" y="3857"/>
                  <a:pt x="872" y="3999"/>
                  <a:pt x="954" y="4135"/>
                </a:cubicBezTo>
                <a:moveTo>
                  <a:pt x="1015" y="3676"/>
                </a:moveTo>
                <a:cubicBezTo>
                  <a:pt x="950" y="3540"/>
                  <a:pt x="895" y="3398"/>
                  <a:pt x="847" y="3253"/>
                </a:cubicBezTo>
                <a:moveTo>
                  <a:pt x="733" y="2795"/>
                </a:moveTo>
                <a:cubicBezTo>
                  <a:pt x="667" y="2943"/>
                  <a:pt x="610" y="3096"/>
                  <a:pt x="563" y="3253"/>
                </a:cubicBezTo>
                <a:cubicBezTo>
                  <a:pt x="610" y="3410"/>
                  <a:pt x="667" y="3563"/>
                  <a:pt x="733" y="3710"/>
                </a:cubicBezTo>
                <a:moveTo>
                  <a:pt x="7668" y="3710"/>
                </a:moveTo>
                <a:cubicBezTo>
                  <a:pt x="7734" y="3563"/>
                  <a:pt x="7791" y="3410"/>
                  <a:pt x="7837" y="3253"/>
                </a:cubicBezTo>
                <a:cubicBezTo>
                  <a:pt x="7791" y="3096"/>
                  <a:pt x="7734" y="2943"/>
                  <a:pt x="7668" y="2795"/>
                </a:cubicBezTo>
                <a:moveTo>
                  <a:pt x="7949" y="2761"/>
                </a:moveTo>
                <a:cubicBezTo>
                  <a:pt x="7883" y="2603"/>
                  <a:pt x="7806" y="2451"/>
                  <a:pt x="7721" y="2305"/>
                </a:cubicBezTo>
                <a:moveTo>
                  <a:pt x="7668" y="2795"/>
                </a:moveTo>
                <a:cubicBezTo>
                  <a:pt x="7734" y="2943"/>
                  <a:pt x="7791" y="3096"/>
                  <a:pt x="7837" y="3253"/>
                </a:cubicBezTo>
                <a:moveTo>
                  <a:pt x="563" y="3253"/>
                </a:moveTo>
                <a:cubicBezTo>
                  <a:pt x="610" y="3096"/>
                  <a:pt x="667" y="2943"/>
                  <a:pt x="733" y="2795"/>
                </a:cubicBezTo>
                <a:moveTo>
                  <a:pt x="680" y="2305"/>
                </a:moveTo>
                <a:cubicBezTo>
                  <a:pt x="595" y="2451"/>
                  <a:pt x="518" y="2603"/>
                  <a:pt x="452" y="2761"/>
                </a:cubicBezTo>
                <a:moveTo>
                  <a:pt x="698" y="1781"/>
                </a:moveTo>
                <a:cubicBezTo>
                  <a:pt x="592" y="1926"/>
                  <a:pt x="494" y="2078"/>
                  <a:pt x="407" y="2235"/>
                </a:cubicBezTo>
                <a:moveTo>
                  <a:pt x="452" y="2761"/>
                </a:moveTo>
                <a:cubicBezTo>
                  <a:pt x="518" y="2603"/>
                  <a:pt x="595" y="2451"/>
                  <a:pt x="680" y="2305"/>
                </a:cubicBezTo>
                <a:moveTo>
                  <a:pt x="7994" y="2235"/>
                </a:moveTo>
                <a:cubicBezTo>
                  <a:pt x="7907" y="2078"/>
                  <a:pt x="7809" y="1926"/>
                  <a:pt x="7703" y="1781"/>
                </a:cubicBezTo>
                <a:moveTo>
                  <a:pt x="7721" y="2305"/>
                </a:moveTo>
                <a:cubicBezTo>
                  <a:pt x="7806" y="2451"/>
                  <a:pt x="7883" y="2603"/>
                  <a:pt x="7949" y="2761"/>
                </a:cubicBezTo>
                <a:moveTo>
                  <a:pt x="2163" y="5686"/>
                </a:moveTo>
                <a:cubicBezTo>
                  <a:pt x="2763" y="6034"/>
                  <a:pt x="3458" y="6234"/>
                  <a:pt x="4200" y="6234"/>
                </a:cubicBezTo>
                <a:cubicBezTo>
                  <a:pt x="4943" y="6234"/>
                  <a:pt x="5638" y="6034"/>
                  <a:pt x="6238" y="5686"/>
                </a:cubicBezTo>
                <a:moveTo>
                  <a:pt x="6488" y="5196"/>
                </a:moveTo>
                <a:cubicBezTo>
                  <a:pt x="5852" y="5677"/>
                  <a:pt x="5060" y="5963"/>
                  <a:pt x="4200" y="5963"/>
                </a:cubicBezTo>
                <a:cubicBezTo>
                  <a:pt x="3341" y="5963"/>
                  <a:pt x="2549" y="5677"/>
                  <a:pt x="1913" y="5196"/>
                </a:cubicBezTo>
                <a:moveTo>
                  <a:pt x="1913" y="5196"/>
                </a:moveTo>
                <a:cubicBezTo>
                  <a:pt x="1783" y="5097"/>
                  <a:pt x="1659" y="4990"/>
                  <a:pt x="1543" y="4876"/>
                </a:cubicBezTo>
                <a:moveTo>
                  <a:pt x="1692" y="5367"/>
                </a:moveTo>
                <a:cubicBezTo>
                  <a:pt x="1841" y="5484"/>
                  <a:pt x="1998" y="5591"/>
                  <a:pt x="2163" y="5686"/>
                </a:cubicBezTo>
                <a:moveTo>
                  <a:pt x="6858" y="4876"/>
                </a:moveTo>
                <a:cubicBezTo>
                  <a:pt x="6742" y="4990"/>
                  <a:pt x="6618" y="5097"/>
                  <a:pt x="6488" y="5196"/>
                </a:cubicBezTo>
                <a:moveTo>
                  <a:pt x="6238" y="5686"/>
                </a:moveTo>
                <a:cubicBezTo>
                  <a:pt x="6403" y="5591"/>
                  <a:pt x="6560" y="5484"/>
                  <a:pt x="6709" y="5367"/>
                </a:cubicBezTo>
                <a:moveTo>
                  <a:pt x="7176" y="4521"/>
                </a:moveTo>
                <a:cubicBezTo>
                  <a:pt x="7078" y="4646"/>
                  <a:pt x="6971" y="4765"/>
                  <a:pt x="6858" y="4876"/>
                </a:cubicBezTo>
                <a:moveTo>
                  <a:pt x="6709" y="5367"/>
                </a:moveTo>
                <a:cubicBezTo>
                  <a:pt x="6849" y="5257"/>
                  <a:pt x="6981" y="5139"/>
                  <a:pt x="7105" y="5012"/>
                </a:cubicBezTo>
                <a:moveTo>
                  <a:pt x="1543" y="4876"/>
                </a:moveTo>
                <a:cubicBezTo>
                  <a:pt x="1430" y="4765"/>
                  <a:pt x="1323" y="4646"/>
                  <a:pt x="1225" y="4521"/>
                </a:cubicBezTo>
                <a:moveTo>
                  <a:pt x="1296" y="5012"/>
                </a:moveTo>
                <a:cubicBezTo>
                  <a:pt x="1420" y="5139"/>
                  <a:pt x="1552" y="5257"/>
                  <a:pt x="1692" y="5367"/>
                </a:cubicBezTo>
                <a:moveTo>
                  <a:pt x="7447" y="4135"/>
                </a:moveTo>
                <a:cubicBezTo>
                  <a:pt x="7365" y="4270"/>
                  <a:pt x="7274" y="4398"/>
                  <a:pt x="7176" y="4521"/>
                </a:cubicBezTo>
                <a:moveTo>
                  <a:pt x="7105" y="5012"/>
                </a:moveTo>
                <a:cubicBezTo>
                  <a:pt x="7225" y="4890"/>
                  <a:pt x="7337" y="4761"/>
                  <a:pt x="7440" y="4624"/>
                </a:cubicBezTo>
                <a:moveTo>
                  <a:pt x="961" y="4624"/>
                </a:moveTo>
                <a:cubicBezTo>
                  <a:pt x="1064" y="4761"/>
                  <a:pt x="1176" y="4890"/>
                  <a:pt x="1296" y="5012"/>
                </a:cubicBezTo>
                <a:moveTo>
                  <a:pt x="954" y="4135"/>
                </a:moveTo>
                <a:cubicBezTo>
                  <a:pt x="872" y="3999"/>
                  <a:pt x="798" y="3857"/>
                  <a:pt x="733" y="3710"/>
                </a:cubicBezTo>
                <a:moveTo>
                  <a:pt x="680" y="4201"/>
                </a:moveTo>
                <a:cubicBezTo>
                  <a:pt x="765" y="4348"/>
                  <a:pt x="858" y="4490"/>
                  <a:pt x="961" y="4624"/>
                </a:cubicBezTo>
                <a:moveTo>
                  <a:pt x="7668" y="3710"/>
                </a:moveTo>
                <a:cubicBezTo>
                  <a:pt x="7602" y="3857"/>
                  <a:pt x="7529" y="3999"/>
                  <a:pt x="7447" y="4135"/>
                </a:cubicBezTo>
                <a:moveTo>
                  <a:pt x="7440" y="4624"/>
                </a:moveTo>
                <a:cubicBezTo>
                  <a:pt x="7543" y="4490"/>
                  <a:pt x="7636" y="4348"/>
                  <a:pt x="7721" y="4201"/>
                </a:cubicBezTo>
                <a:moveTo>
                  <a:pt x="452" y="3745"/>
                </a:moveTo>
                <a:cubicBezTo>
                  <a:pt x="518" y="3903"/>
                  <a:pt x="595" y="4055"/>
                  <a:pt x="680" y="4201"/>
                </a:cubicBezTo>
                <a:moveTo>
                  <a:pt x="733" y="3710"/>
                </a:moveTo>
                <a:cubicBezTo>
                  <a:pt x="667" y="3563"/>
                  <a:pt x="610" y="3410"/>
                  <a:pt x="563" y="3253"/>
                </a:cubicBezTo>
                <a:moveTo>
                  <a:pt x="7837" y="3253"/>
                </a:moveTo>
                <a:cubicBezTo>
                  <a:pt x="7791" y="3410"/>
                  <a:pt x="7734" y="3563"/>
                  <a:pt x="7668" y="3710"/>
                </a:cubicBezTo>
                <a:moveTo>
                  <a:pt x="7721" y="4201"/>
                </a:moveTo>
                <a:cubicBezTo>
                  <a:pt x="7806" y="4055"/>
                  <a:pt x="7883" y="3903"/>
                  <a:pt x="7949" y="3745"/>
                </a:cubicBezTo>
                <a:moveTo>
                  <a:pt x="452" y="2761"/>
                </a:moveTo>
                <a:cubicBezTo>
                  <a:pt x="384" y="2920"/>
                  <a:pt x="328" y="3084"/>
                  <a:pt x="282" y="3253"/>
                </a:cubicBezTo>
                <a:cubicBezTo>
                  <a:pt x="328" y="3422"/>
                  <a:pt x="384" y="3586"/>
                  <a:pt x="452" y="3745"/>
                </a:cubicBezTo>
                <a:moveTo>
                  <a:pt x="7949" y="3745"/>
                </a:moveTo>
                <a:cubicBezTo>
                  <a:pt x="8016" y="3586"/>
                  <a:pt x="8073" y="3422"/>
                  <a:pt x="8119" y="3253"/>
                </a:cubicBezTo>
                <a:cubicBezTo>
                  <a:pt x="8073" y="3084"/>
                  <a:pt x="8016" y="2920"/>
                  <a:pt x="7949" y="2761"/>
                </a:cubicBezTo>
                <a:moveTo>
                  <a:pt x="8228" y="2727"/>
                </a:moveTo>
                <a:cubicBezTo>
                  <a:pt x="8160" y="2558"/>
                  <a:pt x="8082" y="2393"/>
                  <a:pt x="7994" y="2235"/>
                </a:cubicBezTo>
                <a:moveTo>
                  <a:pt x="7949" y="2761"/>
                </a:moveTo>
                <a:cubicBezTo>
                  <a:pt x="8016" y="2920"/>
                  <a:pt x="8073" y="3084"/>
                  <a:pt x="8119" y="3253"/>
                </a:cubicBezTo>
                <a:moveTo>
                  <a:pt x="282" y="3253"/>
                </a:moveTo>
                <a:cubicBezTo>
                  <a:pt x="328" y="3084"/>
                  <a:pt x="384" y="2920"/>
                  <a:pt x="452" y="2761"/>
                </a:cubicBezTo>
                <a:moveTo>
                  <a:pt x="407" y="2235"/>
                </a:moveTo>
                <a:cubicBezTo>
                  <a:pt x="319" y="2393"/>
                  <a:pt x="241" y="2558"/>
                  <a:pt x="173" y="2727"/>
                </a:cubicBezTo>
                <a:moveTo>
                  <a:pt x="2633" y="6212"/>
                </a:moveTo>
                <a:cubicBezTo>
                  <a:pt x="3119" y="6401"/>
                  <a:pt x="3647" y="6505"/>
                  <a:pt x="4200" y="6505"/>
                </a:cubicBezTo>
                <a:cubicBezTo>
                  <a:pt x="4753" y="6505"/>
                  <a:pt x="5282" y="6401"/>
                  <a:pt x="5768" y="6212"/>
                </a:cubicBezTo>
                <a:moveTo>
                  <a:pt x="6238" y="5686"/>
                </a:moveTo>
                <a:cubicBezTo>
                  <a:pt x="5638" y="6034"/>
                  <a:pt x="4943" y="6234"/>
                  <a:pt x="4200" y="6234"/>
                </a:cubicBezTo>
                <a:cubicBezTo>
                  <a:pt x="3458" y="6234"/>
                  <a:pt x="2763" y="6034"/>
                  <a:pt x="2163" y="5686"/>
                </a:cubicBezTo>
                <a:moveTo>
                  <a:pt x="1980" y="5894"/>
                </a:moveTo>
                <a:cubicBezTo>
                  <a:pt x="2187" y="6018"/>
                  <a:pt x="2406" y="6124"/>
                  <a:pt x="2633" y="6212"/>
                </a:cubicBezTo>
                <a:moveTo>
                  <a:pt x="2163" y="5686"/>
                </a:moveTo>
                <a:cubicBezTo>
                  <a:pt x="1998" y="5591"/>
                  <a:pt x="1841" y="5484"/>
                  <a:pt x="1692" y="5367"/>
                </a:cubicBezTo>
                <a:moveTo>
                  <a:pt x="5768" y="6212"/>
                </a:moveTo>
                <a:cubicBezTo>
                  <a:pt x="5995" y="6124"/>
                  <a:pt x="6214" y="6018"/>
                  <a:pt x="6421" y="5894"/>
                </a:cubicBezTo>
                <a:moveTo>
                  <a:pt x="6709" y="5367"/>
                </a:moveTo>
                <a:cubicBezTo>
                  <a:pt x="6560" y="5484"/>
                  <a:pt x="6403" y="5591"/>
                  <a:pt x="6238" y="5686"/>
                </a:cubicBezTo>
                <a:moveTo>
                  <a:pt x="1469" y="5537"/>
                </a:moveTo>
                <a:cubicBezTo>
                  <a:pt x="1630" y="5668"/>
                  <a:pt x="1801" y="5787"/>
                  <a:pt x="1980" y="5894"/>
                </a:cubicBezTo>
                <a:moveTo>
                  <a:pt x="1692" y="5367"/>
                </a:moveTo>
                <a:cubicBezTo>
                  <a:pt x="1552" y="5257"/>
                  <a:pt x="1420" y="5139"/>
                  <a:pt x="1296" y="5012"/>
                </a:cubicBezTo>
                <a:moveTo>
                  <a:pt x="6421" y="5894"/>
                </a:moveTo>
                <a:cubicBezTo>
                  <a:pt x="6600" y="5787"/>
                  <a:pt x="6770" y="5668"/>
                  <a:pt x="6932" y="5537"/>
                </a:cubicBezTo>
                <a:moveTo>
                  <a:pt x="7105" y="5012"/>
                </a:moveTo>
                <a:cubicBezTo>
                  <a:pt x="6981" y="5139"/>
                  <a:pt x="6849" y="5257"/>
                  <a:pt x="6709" y="5367"/>
                </a:cubicBezTo>
                <a:moveTo>
                  <a:pt x="1048" y="5145"/>
                </a:moveTo>
                <a:cubicBezTo>
                  <a:pt x="1180" y="5285"/>
                  <a:pt x="1320" y="5416"/>
                  <a:pt x="1469" y="5537"/>
                </a:cubicBezTo>
                <a:moveTo>
                  <a:pt x="1296" y="5012"/>
                </a:moveTo>
                <a:cubicBezTo>
                  <a:pt x="1176" y="4890"/>
                  <a:pt x="1064" y="4761"/>
                  <a:pt x="961" y="4624"/>
                </a:cubicBezTo>
                <a:moveTo>
                  <a:pt x="6932" y="5537"/>
                </a:moveTo>
                <a:cubicBezTo>
                  <a:pt x="7081" y="5416"/>
                  <a:pt x="7221" y="5285"/>
                  <a:pt x="7353" y="5145"/>
                </a:cubicBezTo>
                <a:moveTo>
                  <a:pt x="7440" y="4624"/>
                </a:moveTo>
                <a:cubicBezTo>
                  <a:pt x="7337" y="4761"/>
                  <a:pt x="7225" y="4890"/>
                  <a:pt x="7105" y="5012"/>
                </a:cubicBezTo>
                <a:moveTo>
                  <a:pt x="7353" y="5145"/>
                </a:moveTo>
                <a:cubicBezTo>
                  <a:pt x="7478" y="5013"/>
                  <a:pt x="7595" y="4872"/>
                  <a:pt x="7703" y="4725"/>
                </a:cubicBezTo>
                <a:moveTo>
                  <a:pt x="7721" y="4201"/>
                </a:moveTo>
                <a:cubicBezTo>
                  <a:pt x="7636" y="4348"/>
                  <a:pt x="7543" y="4490"/>
                  <a:pt x="7440" y="4624"/>
                </a:cubicBezTo>
                <a:moveTo>
                  <a:pt x="7703" y="4725"/>
                </a:moveTo>
                <a:cubicBezTo>
                  <a:pt x="7809" y="4580"/>
                  <a:pt x="7907" y="4428"/>
                  <a:pt x="7994" y="4270"/>
                </a:cubicBezTo>
                <a:moveTo>
                  <a:pt x="7949" y="3745"/>
                </a:moveTo>
                <a:cubicBezTo>
                  <a:pt x="7883" y="3903"/>
                  <a:pt x="7806" y="4055"/>
                  <a:pt x="7721" y="4201"/>
                </a:cubicBezTo>
                <a:moveTo>
                  <a:pt x="407" y="4270"/>
                </a:moveTo>
                <a:cubicBezTo>
                  <a:pt x="494" y="4428"/>
                  <a:pt x="592" y="4580"/>
                  <a:pt x="698" y="4725"/>
                </a:cubicBezTo>
                <a:moveTo>
                  <a:pt x="680" y="4201"/>
                </a:moveTo>
                <a:cubicBezTo>
                  <a:pt x="595" y="4055"/>
                  <a:pt x="518" y="3903"/>
                  <a:pt x="452" y="3745"/>
                </a:cubicBezTo>
                <a:moveTo>
                  <a:pt x="8119" y="3253"/>
                </a:moveTo>
                <a:cubicBezTo>
                  <a:pt x="8073" y="3422"/>
                  <a:pt x="8016" y="3586"/>
                  <a:pt x="7949" y="3745"/>
                </a:cubicBezTo>
                <a:moveTo>
                  <a:pt x="7994" y="4270"/>
                </a:moveTo>
                <a:cubicBezTo>
                  <a:pt x="8082" y="4112"/>
                  <a:pt x="8160" y="3948"/>
                  <a:pt x="8228" y="3779"/>
                </a:cubicBezTo>
                <a:moveTo>
                  <a:pt x="173" y="3779"/>
                </a:moveTo>
                <a:cubicBezTo>
                  <a:pt x="241" y="3948"/>
                  <a:pt x="319" y="4112"/>
                  <a:pt x="407" y="4270"/>
                </a:cubicBezTo>
                <a:moveTo>
                  <a:pt x="452" y="3745"/>
                </a:moveTo>
                <a:cubicBezTo>
                  <a:pt x="384" y="3586"/>
                  <a:pt x="328" y="3422"/>
                  <a:pt x="282" y="3253"/>
                </a:cubicBezTo>
                <a:moveTo>
                  <a:pt x="173" y="2727"/>
                </a:moveTo>
                <a:cubicBezTo>
                  <a:pt x="105" y="2898"/>
                  <a:pt x="46" y="3073"/>
                  <a:pt x="0" y="3253"/>
                </a:cubicBezTo>
                <a:cubicBezTo>
                  <a:pt x="46" y="3433"/>
                  <a:pt x="105" y="3608"/>
                  <a:pt x="173" y="3779"/>
                </a:cubicBezTo>
                <a:moveTo>
                  <a:pt x="8228" y="3779"/>
                </a:moveTo>
                <a:cubicBezTo>
                  <a:pt x="8296" y="3608"/>
                  <a:pt x="8355" y="3433"/>
                  <a:pt x="8401" y="3253"/>
                </a:cubicBezTo>
                <a:cubicBezTo>
                  <a:pt x="8355" y="3073"/>
                  <a:pt x="8296" y="2898"/>
                  <a:pt x="8228" y="2727"/>
                </a:cubicBezTo>
                <a:moveTo>
                  <a:pt x="5768" y="6212"/>
                </a:moveTo>
                <a:cubicBezTo>
                  <a:pt x="5282" y="6401"/>
                  <a:pt x="4753" y="6505"/>
                  <a:pt x="4200" y="6505"/>
                </a:cubicBezTo>
                <a:cubicBezTo>
                  <a:pt x="3647" y="6505"/>
                  <a:pt x="3119" y="6401"/>
                  <a:pt x="2633" y="6212"/>
                </a:cubicBezTo>
                <a:moveTo>
                  <a:pt x="6421" y="5894"/>
                </a:moveTo>
                <a:cubicBezTo>
                  <a:pt x="6214" y="6018"/>
                  <a:pt x="5995" y="6124"/>
                  <a:pt x="5768" y="6212"/>
                </a:cubicBezTo>
                <a:moveTo>
                  <a:pt x="2633" y="6212"/>
                </a:moveTo>
                <a:cubicBezTo>
                  <a:pt x="2406" y="6124"/>
                  <a:pt x="2187" y="6018"/>
                  <a:pt x="1980" y="5894"/>
                </a:cubicBezTo>
                <a:moveTo>
                  <a:pt x="6932" y="5537"/>
                </a:moveTo>
                <a:cubicBezTo>
                  <a:pt x="6770" y="5668"/>
                  <a:pt x="6600" y="5787"/>
                  <a:pt x="6421" y="5894"/>
                </a:cubicBezTo>
                <a:moveTo>
                  <a:pt x="1980" y="5894"/>
                </a:moveTo>
                <a:cubicBezTo>
                  <a:pt x="1801" y="5787"/>
                  <a:pt x="1630" y="5668"/>
                  <a:pt x="1469" y="5537"/>
                </a:cubicBezTo>
                <a:moveTo>
                  <a:pt x="7353" y="5145"/>
                </a:moveTo>
                <a:cubicBezTo>
                  <a:pt x="7221" y="5285"/>
                  <a:pt x="7081" y="5416"/>
                  <a:pt x="6932" y="5537"/>
                </a:cubicBezTo>
                <a:moveTo>
                  <a:pt x="1469" y="5537"/>
                </a:moveTo>
                <a:cubicBezTo>
                  <a:pt x="1320" y="5416"/>
                  <a:pt x="1180" y="5285"/>
                  <a:pt x="1048" y="5145"/>
                </a:cubicBezTo>
                <a:moveTo>
                  <a:pt x="7703" y="4725"/>
                </a:moveTo>
                <a:cubicBezTo>
                  <a:pt x="7595" y="4872"/>
                  <a:pt x="7478" y="5013"/>
                  <a:pt x="7353" y="5145"/>
                </a:cubicBezTo>
                <a:moveTo>
                  <a:pt x="1048" y="5145"/>
                </a:moveTo>
                <a:cubicBezTo>
                  <a:pt x="923" y="5013"/>
                  <a:pt x="805" y="4872"/>
                  <a:pt x="698" y="4725"/>
                </a:cubicBezTo>
                <a:moveTo>
                  <a:pt x="4472" y="3253"/>
                </a:moveTo>
                <a:cubicBezTo>
                  <a:pt x="4472" y="3403"/>
                  <a:pt x="4350" y="3524"/>
                  <a:pt x="4200" y="3524"/>
                </a:cubicBezTo>
                <a:cubicBezTo>
                  <a:pt x="4051" y="3524"/>
                  <a:pt x="3929" y="3403"/>
                  <a:pt x="3929" y="3253"/>
                </a:cubicBezTo>
                <a:cubicBezTo>
                  <a:pt x="3929" y="3103"/>
                  <a:pt x="4051" y="2982"/>
                  <a:pt x="4200" y="2982"/>
                </a:cubicBezTo>
                <a:cubicBezTo>
                  <a:pt x="4350" y="2982"/>
                  <a:pt x="4472" y="3103"/>
                  <a:pt x="4472" y="3253"/>
                </a:cubicBezTo>
                <a:close/>
                <a:moveTo>
                  <a:pt x="4743" y="3253"/>
                </a:moveTo>
                <a:cubicBezTo>
                  <a:pt x="4743" y="3553"/>
                  <a:pt x="4500" y="3795"/>
                  <a:pt x="4200" y="3795"/>
                </a:cubicBezTo>
                <a:cubicBezTo>
                  <a:pt x="3901" y="3795"/>
                  <a:pt x="3658" y="3553"/>
                  <a:pt x="3658" y="3253"/>
                </a:cubicBezTo>
                <a:cubicBezTo>
                  <a:pt x="3658" y="2953"/>
                  <a:pt x="3901" y="2710"/>
                  <a:pt x="4200" y="2710"/>
                </a:cubicBezTo>
                <a:cubicBezTo>
                  <a:pt x="4500" y="2710"/>
                  <a:pt x="4743" y="2953"/>
                  <a:pt x="4743" y="3253"/>
                </a:cubicBezTo>
                <a:close/>
                <a:moveTo>
                  <a:pt x="5014" y="3253"/>
                </a:moveTo>
                <a:cubicBezTo>
                  <a:pt x="5014" y="3702"/>
                  <a:pt x="4650" y="4067"/>
                  <a:pt x="4200" y="4067"/>
                </a:cubicBezTo>
                <a:cubicBezTo>
                  <a:pt x="3751" y="4067"/>
                  <a:pt x="3387" y="3702"/>
                  <a:pt x="3387" y="3253"/>
                </a:cubicBezTo>
                <a:cubicBezTo>
                  <a:pt x="3387" y="2803"/>
                  <a:pt x="3751" y="2439"/>
                  <a:pt x="4200" y="2439"/>
                </a:cubicBezTo>
                <a:cubicBezTo>
                  <a:pt x="4650" y="2439"/>
                  <a:pt x="5014" y="2803"/>
                  <a:pt x="5014" y="3253"/>
                </a:cubicBezTo>
                <a:close/>
                <a:moveTo>
                  <a:pt x="5285" y="3253"/>
                </a:moveTo>
                <a:cubicBezTo>
                  <a:pt x="5285" y="3852"/>
                  <a:pt x="4800" y="4338"/>
                  <a:pt x="4200" y="4338"/>
                </a:cubicBezTo>
                <a:cubicBezTo>
                  <a:pt x="3601" y="4338"/>
                  <a:pt x="3116" y="3852"/>
                  <a:pt x="3116" y="3253"/>
                </a:cubicBezTo>
                <a:cubicBezTo>
                  <a:pt x="3116" y="2654"/>
                  <a:pt x="3601" y="2168"/>
                  <a:pt x="4200" y="2168"/>
                </a:cubicBezTo>
                <a:cubicBezTo>
                  <a:pt x="4800" y="2168"/>
                  <a:pt x="5285" y="2654"/>
                  <a:pt x="5285" y="3253"/>
                </a:cubicBezTo>
                <a:close/>
                <a:moveTo>
                  <a:pt x="4200" y="4609"/>
                </a:moveTo>
                <a:cubicBezTo>
                  <a:pt x="5159" y="4609"/>
                  <a:pt x="5988" y="4057"/>
                  <a:pt x="6388" y="3253"/>
                </a:cubicBezTo>
                <a:cubicBezTo>
                  <a:pt x="5988" y="2449"/>
                  <a:pt x="5159" y="1897"/>
                  <a:pt x="4200" y="1897"/>
                </a:cubicBezTo>
                <a:cubicBezTo>
                  <a:pt x="3242" y="1897"/>
                  <a:pt x="2413" y="2449"/>
                  <a:pt x="2013" y="3253"/>
                </a:cubicBezTo>
                <a:cubicBezTo>
                  <a:pt x="2413" y="4057"/>
                  <a:pt x="3242" y="4609"/>
                  <a:pt x="4200" y="4609"/>
                </a:cubicBezTo>
                <a:close/>
                <a:moveTo>
                  <a:pt x="2013" y="3253"/>
                </a:moveTo>
                <a:cubicBezTo>
                  <a:pt x="2413" y="2449"/>
                  <a:pt x="3242" y="1897"/>
                  <a:pt x="4200" y="1897"/>
                </a:cubicBezTo>
                <a:cubicBezTo>
                  <a:pt x="5159" y="1897"/>
                  <a:pt x="5988" y="2449"/>
                  <a:pt x="6388" y="3253"/>
                </a:cubicBezTo>
                <a:moveTo>
                  <a:pt x="6519" y="2934"/>
                </a:moveTo>
                <a:cubicBezTo>
                  <a:pt x="6044" y="2151"/>
                  <a:pt x="5183" y="1628"/>
                  <a:pt x="4200" y="1628"/>
                </a:cubicBezTo>
                <a:cubicBezTo>
                  <a:pt x="3218" y="1628"/>
                  <a:pt x="2357" y="2151"/>
                  <a:pt x="1882" y="2934"/>
                </a:cubicBezTo>
                <a:moveTo>
                  <a:pt x="1882" y="2934"/>
                </a:moveTo>
                <a:cubicBezTo>
                  <a:pt x="2357" y="2151"/>
                  <a:pt x="3218" y="1628"/>
                  <a:pt x="4200" y="1628"/>
                </a:cubicBezTo>
                <a:cubicBezTo>
                  <a:pt x="5183" y="1628"/>
                  <a:pt x="6044" y="2151"/>
                  <a:pt x="6519" y="2934"/>
                </a:cubicBezTo>
                <a:moveTo>
                  <a:pt x="6607" y="2579"/>
                </a:moveTo>
                <a:cubicBezTo>
                  <a:pt x="6065" y="1838"/>
                  <a:pt x="5189" y="1357"/>
                  <a:pt x="4200" y="1357"/>
                </a:cubicBezTo>
                <a:cubicBezTo>
                  <a:pt x="3212" y="1357"/>
                  <a:pt x="2336" y="1838"/>
                  <a:pt x="1794" y="2579"/>
                </a:cubicBezTo>
                <a:moveTo>
                  <a:pt x="1758" y="2166"/>
                </a:moveTo>
                <a:cubicBezTo>
                  <a:pt x="1758" y="2174"/>
                  <a:pt x="1759" y="2182"/>
                  <a:pt x="1759" y="2190"/>
                </a:cubicBezTo>
                <a:cubicBezTo>
                  <a:pt x="2355" y="1513"/>
                  <a:pt x="3228" y="1085"/>
                  <a:pt x="4200" y="1085"/>
                </a:cubicBezTo>
                <a:cubicBezTo>
                  <a:pt x="5173" y="1085"/>
                  <a:pt x="6046" y="1513"/>
                  <a:pt x="6642" y="2190"/>
                </a:cubicBezTo>
                <a:moveTo>
                  <a:pt x="6610" y="1768"/>
                </a:moveTo>
                <a:cubicBezTo>
                  <a:pt x="5980" y="1177"/>
                  <a:pt x="5133" y="814"/>
                  <a:pt x="4200" y="814"/>
                </a:cubicBezTo>
                <a:cubicBezTo>
                  <a:pt x="3268" y="814"/>
                  <a:pt x="2421" y="1177"/>
                  <a:pt x="1791" y="1768"/>
                </a:cubicBezTo>
                <a:moveTo>
                  <a:pt x="1791" y="1768"/>
                </a:moveTo>
                <a:cubicBezTo>
                  <a:pt x="2421" y="1177"/>
                  <a:pt x="3268" y="814"/>
                  <a:pt x="4200" y="814"/>
                </a:cubicBezTo>
                <a:cubicBezTo>
                  <a:pt x="5133" y="814"/>
                  <a:pt x="5980" y="1177"/>
                  <a:pt x="6610" y="1768"/>
                </a:cubicBezTo>
                <a:moveTo>
                  <a:pt x="6488" y="1310"/>
                </a:moveTo>
                <a:cubicBezTo>
                  <a:pt x="5852" y="829"/>
                  <a:pt x="5060" y="543"/>
                  <a:pt x="4200" y="543"/>
                </a:cubicBezTo>
                <a:cubicBezTo>
                  <a:pt x="3341" y="543"/>
                  <a:pt x="2549" y="829"/>
                  <a:pt x="1913" y="1310"/>
                </a:cubicBezTo>
                <a:moveTo>
                  <a:pt x="1913" y="1310"/>
                </a:moveTo>
                <a:cubicBezTo>
                  <a:pt x="2549" y="829"/>
                  <a:pt x="3341" y="543"/>
                  <a:pt x="4200" y="543"/>
                </a:cubicBezTo>
                <a:cubicBezTo>
                  <a:pt x="5060" y="543"/>
                  <a:pt x="5852" y="829"/>
                  <a:pt x="6488" y="1310"/>
                </a:cubicBezTo>
                <a:moveTo>
                  <a:pt x="6238" y="819"/>
                </a:moveTo>
                <a:cubicBezTo>
                  <a:pt x="5638" y="472"/>
                  <a:pt x="4943" y="272"/>
                  <a:pt x="4200" y="272"/>
                </a:cubicBezTo>
                <a:cubicBezTo>
                  <a:pt x="3458" y="272"/>
                  <a:pt x="2762" y="472"/>
                  <a:pt x="2163" y="819"/>
                </a:cubicBezTo>
                <a:moveTo>
                  <a:pt x="2163" y="819"/>
                </a:moveTo>
                <a:cubicBezTo>
                  <a:pt x="2762" y="472"/>
                  <a:pt x="3458" y="272"/>
                  <a:pt x="4200" y="272"/>
                </a:cubicBezTo>
                <a:cubicBezTo>
                  <a:pt x="4943" y="272"/>
                  <a:pt x="5638" y="472"/>
                  <a:pt x="6238" y="819"/>
                </a:cubicBezTo>
                <a:moveTo>
                  <a:pt x="5768" y="294"/>
                </a:moveTo>
                <a:cubicBezTo>
                  <a:pt x="5282" y="105"/>
                  <a:pt x="4753" y="0"/>
                  <a:pt x="4200" y="0"/>
                </a:cubicBezTo>
                <a:cubicBezTo>
                  <a:pt x="3647" y="0"/>
                  <a:pt x="3119" y="105"/>
                  <a:pt x="2633" y="294"/>
                </a:cubicBezTo>
                <a:moveTo>
                  <a:pt x="2633" y="294"/>
                </a:moveTo>
                <a:cubicBezTo>
                  <a:pt x="3119" y="105"/>
                  <a:pt x="3647" y="0"/>
                  <a:pt x="4200" y="0"/>
                </a:cubicBezTo>
                <a:cubicBezTo>
                  <a:pt x="4753" y="0"/>
                  <a:pt x="5282" y="105"/>
                  <a:pt x="5768" y="294"/>
                </a:cubicBezTo>
                <a:moveTo>
                  <a:pt x="1882" y="2934"/>
                </a:moveTo>
                <a:cubicBezTo>
                  <a:pt x="1820" y="3036"/>
                  <a:pt x="1765" y="3143"/>
                  <a:pt x="1717" y="3253"/>
                </a:cubicBezTo>
                <a:cubicBezTo>
                  <a:pt x="1765" y="3363"/>
                  <a:pt x="1820" y="3470"/>
                  <a:pt x="1882" y="3572"/>
                </a:cubicBezTo>
                <a:moveTo>
                  <a:pt x="6811" y="2897"/>
                </a:moveTo>
                <a:cubicBezTo>
                  <a:pt x="6750" y="2787"/>
                  <a:pt x="6682" y="2681"/>
                  <a:pt x="6607" y="2579"/>
                </a:cubicBezTo>
                <a:moveTo>
                  <a:pt x="6519" y="2934"/>
                </a:moveTo>
                <a:cubicBezTo>
                  <a:pt x="6581" y="3036"/>
                  <a:pt x="6636" y="3143"/>
                  <a:pt x="6684" y="3253"/>
                </a:cubicBezTo>
                <a:moveTo>
                  <a:pt x="1794" y="2579"/>
                </a:moveTo>
                <a:cubicBezTo>
                  <a:pt x="1719" y="2681"/>
                  <a:pt x="1651" y="2787"/>
                  <a:pt x="1590" y="2897"/>
                </a:cubicBezTo>
                <a:moveTo>
                  <a:pt x="1717" y="3253"/>
                </a:moveTo>
                <a:cubicBezTo>
                  <a:pt x="1765" y="3143"/>
                  <a:pt x="1820" y="3036"/>
                  <a:pt x="1882" y="2934"/>
                </a:cubicBezTo>
                <a:moveTo>
                  <a:pt x="6607" y="2579"/>
                </a:moveTo>
                <a:cubicBezTo>
                  <a:pt x="6682" y="2681"/>
                  <a:pt x="6750" y="2787"/>
                  <a:pt x="6811" y="2897"/>
                </a:cubicBezTo>
                <a:moveTo>
                  <a:pt x="1512" y="2507"/>
                </a:moveTo>
                <a:cubicBezTo>
                  <a:pt x="1588" y="2397"/>
                  <a:pt x="1670" y="2291"/>
                  <a:pt x="1759" y="2190"/>
                </a:cubicBezTo>
                <a:cubicBezTo>
                  <a:pt x="1759" y="2182"/>
                  <a:pt x="1758" y="2174"/>
                  <a:pt x="1758" y="2166"/>
                </a:cubicBezTo>
                <a:moveTo>
                  <a:pt x="6642" y="2190"/>
                </a:moveTo>
                <a:cubicBezTo>
                  <a:pt x="6731" y="2291"/>
                  <a:pt x="6813" y="2397"/>
                  <a:pt x="6889" y="2507"/>
                </a:cubicBezTo>
                <a:moveTo>
                  <a:pt x="6610" y="1768"/>
                </a:moveTo>
                <a:cubicBezTo>
                  <a:pt x="6716" y="1867"/>
                  <a:pt x="6816" y="1973"/>
                  <a:pt x="6909" y="2084"/>
                </a:cubicBezTo>
                <a:moveTo>
                  <a:pt x="6858" y="1630"/>
                </a:moveTo>
                <a:cubicBezTo>
                  <a:pt x="6742" y="1516"/>
                  <a:pt x="6618" y="1409"/>
                  <a:pt x="6488" y="1310"/>
                </a:cubicBezTo>
                <a:moveTo>
                  <a:pt x="1492" y="2084"/>
                </a:moveTo>
                <a:cubicBezTo>
                  <a:pt x="1585" y="1973"/>
                  <a:pt x="1685" y="1867"/>
                  <a:pt x="1791" y="1768"/>
                </a:cubicBezTo>
                <a:moveTo>
                  <a:pt x="1913" y="1310"/>
                </a:moveTo>
                <a:cubicBezTo>
                  <a:pt x="1783" y="1409"/>
                  <a:pt x="1659" y="1516"/>
                  <a:pt x="1543" y="1630"/>
                </a:cubicBezTo>
                <a:moveTo>
                  <a:pt x="6488" y="1310"/>
                </a:moveTo>
                <a:cubicBezTo>
                  <a:pt x="6618" y="1409"/>
                  <a:pt x="6742" y="1516"/>
                  <a:pt x="6858" y="1630"/>
                </a:cubicBezTo>
              </a:path>
            </a:pathLst>
          </a:custGeom>
          <a:noFill/>
          <a:ln w="12700" cap="flat">
            <a:solidFill>
              <a:srgbClr val="FBC9A0"/>
            </a:solidFill>
            <a:prstDash val="solid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718B3E51-B844-4364-985B-055D76DFB125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1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60290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AB1A5E9-D45D-481D-9EC6-78CAE1078D22}" type="datetime1">
              <a:rPr lang="en-GB" smtClean="0"/>
              <a:t>24/01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68525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54FF1E52-5E1B-4A4A-B7FE-84E81B2CE7AC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5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97447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D21AFBD6-3654-4C09-B4F7-B48BB57AD4D5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33466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390B0B5-035C-43A5-87CE-9819026B6BA0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5967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823D7697-9CCB-46ED-8DA0-765B3890A815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17164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6E548F63-C9D7-42DE-B689-4FC5DB34F3B4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63836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B4397D0-B4B8-444E-9190-6D4B02EB8521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64442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7820A3F2-D274-4A3A-91C1-916210475F1B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92918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3CC45804-A637-408E-952D-07F967E0E464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8399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8"/>
          <p:cNvGrpSpPr>
            <a:grpSpLocks noChangeAspect="1"/>
          </p:cNvGrpSpPr>
          <p:nvPr/>
        </p:nvGrpSpPr>
        <p:grpSpPr bwMode="auto">
          <a:xfrm>
            <a:off x="-25399" y="-12701"/>
            <a:ext cx="7475538" cy="4356813"/>
            <a:chOff x="1452" y="784"/>
            <a:chExt cx="2862" cy="1668"/>
          </a:xfrm>
        </p:grpSpPr>
        <p:sp>
          <p:nvSpPr>
            <p:cNvPr id="17" name="Line 9"/>
            <p:cNvSpPr>
              <a:spLocks noChangeShapeType="1"/>
            </p:cNvSpPr>
            <p:nvPr/>
          </p:nvSpPr>
          <p:spPr bwMode="auto">
            <a:xfrm>
              <a:off x="1452" y="938"/>
              <a:ext cx="587" cy="93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Line 10"/>
            <p:cNvSpPr>
              <a:spLocks noChangeShapeType="1"/>
            </p:cNvSpPr>
            <p:nvPr/>
          </p:nvSpPr>
          <p:spPr bwMode="auto">
            <a:xfrm flipH="1" flipV="1">
              <a:off x="1467" y="784"/>
              <a:ext cx="617" cy="103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Line 11"/>
            <p:cNvSpPr>
              <a:spLocks noChangeShapeType="1"/>
            </p:cNvSpPr>
            <p:nvPr/>
          </p:nvSpPr>
          <p:spPr bwMode="auto">
            <a:xfrm flipH="1" flipV="1">
              <a:off x="1856" y="784"/>
              <a:ext cx="411" cy="82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Line 12"/>
            <p:cNvSpPr>
              <a:spLocks noChangeShapeType="1"/>
            </p:cNvSpPr>
            <p:nvPr/>
          </p:nvSpPr>
          <p:spPr bwMode="auto">
            <a:xfrm>
              <a:off x="1571" y="784"/>
              <a:ext cx="559" cy="98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Line 13"/>
            <p:cNvSpPr>
              <a:spLocks noChangeShapeType="1"/>
            </p:cNvSpPr>
            <p:nvPr/>
          </p:nvSpPr>
          <p:spPr bwMode="auto">
            <a:xfrm>
              <a:off x="1766" y="784"/>
              <a:ext cx="456" cy="87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Line 14"/>
            <p:cNvSpPr>
              <a:spLocks noChangeShapeType="1"/>
            </p:cNvSpPr>
            <p:nvPr/>
          </p:nvSpPr>
          <p:spPr bwMode="auto">
            <a:xfrm>
              <a:off x="1881" y="784"/>
              <a:ext cx="420" cy="83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Line 15"/>
            <p:cNvSpPr>
              <a:spLocks noChangeShapeType="1"/>
            </p:cNvSpPr>
            <p:nvPr/>
          </p:nvSpPr>
          <p:spPr bwMode="auto">
            <a:xfrm flipH="1" flipV="1">
              <a:off x="1671" y="784"/>
              <a:ext cx="505" cy="93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Line 16"/>
            <p:cNvSpPr>
              <a:spLocks noChangeShapeType="1"/>
            </p:cNvSpPr>
            <p:nvPr/>
          </p:nvSpPr>
          <p:spPr bwMode="auto">
            <a:xfrm>
              <a:off x="2195" y="784"/>
              <a:ext cx="651" cy="95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Line 17"/>
            <p:cNvSpPr>
              <a:spLocks noChangeShapeType="1"/>
            </p:cNvSpPr>
            <p:nvPr/>
          </p:nvSpPr>
          <p:spPr bwMode="auto">
            <a:xfrm flipH="1" flipV="1">
              <a:off x="2180" y="784"/>
              <a:ext cx="632" cy="94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Line 18"/>
            <p:cNvSpPr>
              <a:spLocks noChangeShapeType="1"/>
            </p:cNvSpPr>
            <p:nvPr/>
          </p:nvSpPr>
          <p:spPr bwMode="auto">
            <a:xfrm>
              <a:off x="2163" y="784"/>
              <a:ext cx="614" cy="9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Line 19"/>
            <p:cNvSpPr>
              <a:spLocks noChangeShapeType="1"/>
            </p:cNvSpPr>
            <p:nvPr/>
          </p:nvSpPr>
          <p:spPr bwMode="auto">
            <a:xfrm flipH="1" flipV="1">
              <a:off x="2147" y="784"/>
              <a:ext cx="597" cy="93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Line 20"/>
            <p:cNvSpPr>
              <a:spLocks noChangeShapeType="1"/>
            </p:cNvSpPr>
            <p:nvPr/>
          </p:nvSpPr>
          <p:spPr bwMode="auto">
            <a:xfrm>
              <a:off x="2128" y="784"/>
              <a:ext cx="582" cy="92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Line 21"/>
            <p:cNvSpPr>
              <a:spLocks noChangeShapeType="1"/>
            </p:cNvSpPr>
            <p:nvPr/>
          </p:nvSpPr>
          <p:spPr bwMode="auto">
            <a:xfrm flipH="1" flipV="1">
              <a:off x="1903" y="784"/>
              <a:ext cx="433" cy="8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Line 22"/>
            <p:cNvSpPr>
              <a:spLocks noChangeShapeType="1"/>
            </p:cNvSpPr>
            <p:nvPr/>
          </p:nvSpPr>
          <p:spPr bwMode="auto">
            <a:xfrm flipH="1" flipV="1">
              <a:off x="2261" y="784"/>
              <a:ext cx="755" cy="99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Line 23"/>
            <p:cNvSpPr>
              <a:spLocks noChangeShapeType="1"/>
            </p:cNvSpPr>
            <p:nvPr/>
          </p:nvSpPr>
          <p:spPr bwMode="auto">
            <a:xfrm>
              <a:off x="2249" y="784"/>
              <a:ext cx="734" cy="98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Line 24"/>
            <p:cNvSpPr>
              <a:spLocks noChangeShapeType="1"/>
            </p:cNvSpPr>
            <p:nvPr/>
          </p:nvSpPr>
          <p:spPr bwMode="auto">
            <a:xfrm flipH="1" flipV="1">
              <a:off x="2236" y="784"/>
              <a:ext cx="712" cy="9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25"/>
            <p:cNvSpPr>
              <a:spLocks noChangeShapeType="1"/>
            </p:cNvSpPr>
            <p:nvPr/>
          </p:nvSpPr>
          <p:spPr bwMode="auto">
            <a:xfrm>
              <a:off x="2224" y="784"/>
              <a:ext cx="690" cy="9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Line 26"/>
            <p:cNvSpPr>
              <a:spLocks noChangeShapeType="1"/>
            </p:cNvSpPr>
            <p:nvPr/>
          </p:nvSpPr>
          <p:spPr bwMode="auto">
            <a:xfrm flipH="1" flipV="1">
              <a:off x="2209" y="784"/>
              <a:ext cx="672" cy="95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Line 27"/>
            <p:cNvSpPr>
              <a:spLocks noChangeShapeType="1"/>
            </p:cNvSpPr>
            <p:nvPr/>
          </p:nvSpPr>
          <p:spPr bwMode="auto">
            <a:xfrm flipH="1" flipV="1">
              <a:off x="1947" y="784"/>
              <a:ext cx="456" cy="85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Line 28"/>
            <p:cNvSpPr>
              <a:spLocks noChangeShapeType="1"/>
            </p:cNvSpPr>
            <p:nvPr/>
          </p:nvSpPr>
          <p:spPr bwMode="auto">
            <a:xfrm>
              <a:off x="1970" y="784"/>
              <a:ext cx="468" cy="86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Line 29"/>
            <p:cNvSpPr>
              <a:spLocks noChangeShapeType="1"/>
            </p:cNvSpPr>
            <p:nvPr/>
          </p:nvSpPr>
          <p:spPr bwMode="auto">
            <a:xfrm>
              <a:off x="1924" y="784"/>
              <a:ext cx="445" cy="8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Line 30"/>
            <p:cNvSpPr>
              <a:spLocks noChangeShapeType="1"/>
            </p:cNvSpPr>
            <p:nvPr/>
          </p:nvSpPr>
          <p:spPr bwMode="auto">
            <a:xfrm flipH="1" flipV="1">
              <a:off x="1991" y="784"/>
              <a:ext cx="480" cy="86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Line 31"/>
            <p:cNvSpPr>
              <a:spLocks noChangeShapeType="1"/>
            </p:cNvSpPr>
            <p:nvPr/>
          </p:nvSpPr>
          <p:spPr bwMode="auto">
            <a:xfrm flipH="1" flipV="1">
              <a:off x="2072" y="784"/>
              <a:ext cx="537" cy="8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Line 32"/>
            <p:cNvSpPr>
              <a:spLocks noChangeShapeType="1"/>
            </p:cNvSpPr>
            <p:nvPr/>
          </p:nvSpPr>
          <p:spPr bwMode="auto">
            <a:xfrm>
              <a:off x="2012" y="784"/>
              <a:ext cx="495" cy="87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Line 33"/>
            <p:cNvSpPr>
              <a:spLocks noChangeShapeType="1"/>
            </p:cNvSpPr>
            <p:nvPr/>
          </p:nvSpPr>
          <p:spPr bwMode="auto">
            <a:xfrm>
              <a:off x="2091" y="784"/>
              <a:ext cx="551" cy="90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Line 34"/>
            <p:cNvSpPr>
              <a:spLocks noChangeShapeType="1"/>
            </p:cNvSpPr>
            <p:nvPr/>
          </p:nvSpPr>
          <p:spPr bwMode="auto">
            <a:xfrm>
              <a:off x="2053" y="784"/>
              <a:ext cx="520" cy="8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Line 35"/>
            <p:cNvSpPr>
              <a:spLocks noChangeShapeType="1"/>
            </p:cNvSpPr>
            <p:nvPr/>
          </p:nvSpPr>
          <p:spPr bwMode="auto">
            <a:xfrm flipH="1" flipV="1">
              <a:off x="2032" y="784"/>
              <a:ext cx="508" cy="88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Line 36"/>
            <p:cNvSpPr>
              <a:spLocks noChangeShapeType="1"/>
            </p:cNvSpPr>
            <p:nvPr/>
          </p:nvSpPr>
          <p:spPr bwMode="auto">
            <a:xfrm flipH="1" flipV="1">
              <a:off x="2109" y="784"/>
              <a:ext cx="566" cy="9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Line 37"/>
            <p:cNvSpPr>
              <a:spLocks noChangeShapeType="1"/>
            </p:cNvSpPr>
            <p:nvPr/>
          </p:nvSpPr>
          <p:spPr bwMode="auto">
            <a:xfrm flipH="1" flipV="1">
              <a:off x="1452" y="2404"/>
              <a:ext cx="79" cy="4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6" name="Line 38"/>
            <p:cNvSpPr>
              <a:spLocks noChangeShapeType="1"/>
            </p:cNvSpPr>
            <p:nvPr/>
          </p:nvSpPr>
          <p:spPr bwMode="auto">
            <a:xfrm>
              <a:off x="1452" y="2100"/>
              <a:ext cx="219" cy="19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7" name="Line 39"/>
            <p:cNvSpPr>
              <a:spLocks noChangeShapeType="1"/>
            </p:cNvSpPr>
            <p:nvPr/>
          </p:nvSpPr>
          <p:spPr bwMode="auto">
            <a:xfrm>
              <a:off x="1452" y="2209"/>
              <a:ext cx="173" cy="13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Line 40"/>
            <p:cNvSpPr>
              <a:spLocks noChangeShapeType="1"/>
            </p:cNvSpPr>
            <p:nvPr/>
          </p:nvSpPr>
          <p:spPr bwMode="auto">
            <a:xfrm>
              <a:off x="1452" y="1111"/>
              <a:ext cx="539" cy="81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Line 41"/>
            <p:cNvSpPr>
              <a:spLocks noChangeShapeType="1"/>
            </p:cNvSpPr>
            <p:nvPr/>
          </p:nvSpPr>
          <p:spPr bwMode="auto">
            <a:xfrm>
              <a:off x="1452" y="1275"/>
              <a:ext cx="493" cy="70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Line 42"/>
            <p:cNvSpPr>
              <a:spLocks noChangeShapeType="1"/>
            </p:cNvSpPr>
            <p:nvPr/>
          </p:nvSpPr>
          <p:spPr bwMode="auto">
            <a:xfrm>
              <a:off x="1452" y="1982"/>
              <a:ext cx="264" cy="26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Line 43"/>
            <p:cNvSpPr>
              <a:spLocks noChangeShapeType="1"/>
            </p:cNvSpPr>
            <p:nvPr/>
          </p:nvSpPr>
          <p:spPr bwMode="auto">
            <a:xfrm>
              <a:off x="1452" y="1431"/>
              <a:ext cx="447" cy="59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Line 44"/>
            <p:cNvSpPr>
              <a:spLocks noChangeShapeType="1"/>
            </p:cNvSpPr>
            <p:nvPr/>
          </p:nvSpPr>
          <p:spPr bwMode="auto">
            <a:xfrm>
              <a:off x="1452" y="1722"/>
              <a:ext cx="356" cy="41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3" name="Line 45"/>
            <p:cNvSpPr>
              <a:spLocks noChangeShapeType="1"/>
            </p:cNvSpPr>
            <p:nvPr/>
          </p:nvSpPr>
          <p:spPr bwMode="auto">
            <a:xfrm>
              <a:off x="1452" y="1855"/>
              <a:ext cx="310" cy="33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4" name="Line 46"/>
            <p:cNvSpPr>
              <a:spLocks noChangeShapeType="1"/>
            </p:cNvSpPr>
            <p:nvPr/>
          </p:nvSpPr>
          <p:spPr bwMode="auto">
            <a:xfrm>
              <a:off x="1452" y="1581"/>
              <a:ext cx="402" cy="50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5" name="Line 47"/>
            <p:cNvSpPr>
              <a:spLocks noChangeShapeType="1"/>
            </p:cNvSpPr>
            <p:nvPr/>
          </p:nvSpPr>
          <p:spPr bwMode="auto">
            <a:xfrm>
              <a:off x="1452" y="2310"/>
              <a:ext cx="127" cy="9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6" name="Line 48"/>
            <p:cNvSpPr>
              <a:spLocks noChangeShapeType="1"/>
            </p:cNvSpPr>
            <p:nvPr/>
          </p:nvSpPr>
          <p:spPr bwMode="auto">
            <a:xfrm flipH="1" flipV="1">
              <a:off x="3047" y="784"/>
              <a:ext cx="595" cy="98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Line 49"/>
            <p:cNvSpPr>
              <a:spLocks noChangeShapeType="1"/>
            </p:cNvSpPr>
            <p:nvPr/>
          </p:nvSpPr>
          <p:spPr bwMode="auto">
            <a:xfrm>
              <a:off x="2983" y="784"/>
              <a:ext cx="628" cy="99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Line 50"/>
            <p:cNvSpPr>
              <a:spLocks noChangeShapeType="1"/>
            </p:cNvSpPr>
            <p:nvPr/>
          </p:nvSpPr>
          <p:spPr bwMode="auto">
            <a:xfrm flipH="1" flipV="1">
              <a:off x="2916" y="784"/>
              <a:ext cx="662" cy="9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Line 51"/>
            <p:cNvSpPr>
              <a:spLocks noChangeShapeType="1"/>
            </p:cNvSpPr>
            <p:nvPr/>
          </p:nvSpPr>
          <p:spPr bwMode="auto">
            <a:xfrm>
              <a:off x="2848" y="784"/>
              <a:ext cx="699" cy="100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Line 52"/>
            <p:cNvSpPr>
              <a:spLocks noChangeShapeType="1"/>
            </p:cNvSpPr>
            <p:nvPr/>
          </p:nvSpPr>
          <p:spPr bwMode="auto">
            <a:xfrm>
              <a:off x="3112" y="784"/>
              <a:ext cx="561" cy="9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Line 53"/>
            <p:cNvSpPr>
              <a:spLocks noChangeShapeType="1"/>
            </p:cNvSpPr>
            <p:nvPr/>
          </p:nvSpPr>
          <p:spPr bwMode="auto">
            <a:xfrm>
              <a:off x="3877" y="784"/>
              <a:ext cx="246" cy="86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Line 54"/>
            <p:cNvSpPr>
              <a:spLocks noChangeShapeType="1"/>
            </p:cNvSpPr>
            <p:nvPr/>
          </p:nvSpPr>
          <p:spPr bwMode="auto">
            <a:xfrm flipH="1" flipV="1">
              <a:off x="3827" y="784"/>
              <a:ext cx="262" cy="87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Line 55"/>
            <p:cNvSpPr>
              <a:spLocks noChangeShapeType="1"/>
            </p:cNvSpPr>
            <p:nvPr/>
          </p:nvSpPr>
          <p:spPr bwMode="auto">
            <a:xfrm flipH="1" flipV="1">
              <a:off x="3925" y="784"/>
              <a:ext cx="229" cy="86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Line 56"/>
            <p:cNvSpPr>
              <a:spLocks noChangeShapeType="1"/>
            </p:cNvSpPr>
            <p:nvPr/>
          </p:nvSpPr>
          <p:spPr bwMode="auto">
            <a:xfrm>
              <a:off x="3676" y="784"/>
              <a:ext cx="318" cy="8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Line 57"/>
            <p:cNvSpPr>
              <a:spLocks noChangeShapeType="1"/>
            </p:cNvSpPr>
            <p:nvPr/>
          </p:nvSpPr>
          <p:spPr bwMode="auto">
            <a:xfrm>
              <a:off x="3777" y="784"/>
              <a:ext cx="281" cy="88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Line 58"/>
            <p:cNvSpPr>
              <a:spLocks noChangeShapeType="1"/>
            </p:cNvSpPr>
            <p:nvPr/>
          </p:nvSpPr>
          <p:spPr bwMode="auto">
            <a:xfrm flipH="1" flipV="1">
              <a:off x="3728" y="784"/>
              <a:ext cx="299" cy="8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Line 59"/>
            <p:cNvSpPr>
              <a:spLocks noChangeShapeType="1"/>
            </p:cNvSpPr>
            <p:nvPr/>
          </p:nvSpPr>
          <p:spPr bwMode="auto">
            <a:xfrm flipH="1" flipV="1">
              <a:off x="4110" y="784"/>
              <a:ext cx="173" cy="83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Line 60"/>
            <p:cNvSpPr>
              <a:spLocks noChangeShapeType="1"/>
            </p:cNvSpPr>
            <p:nvPr/>
          </p:nvSpPr>
          <p:spPr bwMode="auto">
            <a:xfrm>
              <a:off x="4064" y="784"/>
              <a:ext cx="186" cy="8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Line 61"/>
            <p:cNvSpPr>
              <a:spLocks noChangeShapeType="1"/>
            </p:cNvSpPr>
            <p:nvPr/>
          </p:nvSpPr>
          <p:spPr bwMode="auto">
            <a:xfrm flipH="1" flipV="1">
              <a:off x="4019" y="784"/>
              <a:ext cx="199" cy="8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Line 62"/>
            <p:cNvSpPr>
              <a:spLocks noChangeShapeType="1"/>
            </p:cNvSpPr>
            <p:nvPr/>
          </p:nvSpPr>
          <p:spPr bwMode="auto">
            <a:xfrm>
              <a:off x="3973" y="784"/>
              <a:ext cx="212" cy="85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Line 63"/>
            <p:cNvSpPr>
              <a:spLocks noChangeShapeType="1"/>
            </p:cNvSpPr>
            <p:nvPr/>
          </p:nvSpPr>
          <p:spPr bwMode="auto">
            <a:xfrm>
              <a:off x="3463" y="784"/>
              <a:ext cx="404" cy="93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Line 64"/>
            <p:cNvSpPr>
              <a:spLocks noChangeShapeType="1"/>
            </p:cNvSpPr>
            <p:nvPr/>
          </p:nvSpPr>
          <p:spPr bwMode="auto">
            <a:xfrm>
              <a:off x="3351" y="784"/>
              <a:ext cx="451" cy="94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Line 65"/>
            <p:cNvSpPr>
              <a:spLocks noChangeShapeType="1"/>
            </p:cNvSpPr>
            <p:nvPr/>
          </p:nvSpPr>
          <p:spPr bwMode="auto">
            <a:xfrm flipH="1" flipV="1">
              <a:off x="3293" y="784"/>
              <a:ext cx="478" cy="95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Line 66"/>
            <p:cNvSpPr>
              <a:spLocks noChangeShapeType="1"/>
            </p:cNvSpPr>
            <p:nvPr/>
          </p:nvSpPr>
          <p:spPr bwMode="auto">
            <a:xfrm flipH="1" flipV="1">
              <a:off x="3626" y="784"/>
              <a:ext cx="337" cy="90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Line 67"/>
            <p:cNvSpPr>
              <a:spLocks noChangeShapeType="1"/>
            </p:cNvSpPr>
            <p:nvPr/>
          </p:nvSpPr>
          <p:spPr bwMode="auto">
            <a:xfrm flipH="1" flipV="1">
              <a:off x="3172" y="784"/>
              <a:ext cx="535" cy="9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Line 68"/>
            <p:cNvSpPr>
              <a:spLocks noChangeShapeType="1"/>
            </p:cNvSpPr>
            <p:nvPr/>
          </p:nvSpPr>
          <p:spPr bwMode="auto">
            <a:xfrm>
              <a:off x="3233" y="784"/>
              <a:ext cx="505" cy="95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Line 69"/>
            <p:cNvSpPr>
              <a:spLocks noChangeShapeType="1"/>
            </p:cNvSpPr>
            <p:nvPr/>
          </p:nvSpPr>
          <p:spPr bwMode="auto">
            <a:xfrm flipH="1" flipV="1">
              <a:off x="3517" y="784"/>
              <a:ext cx="381" cy="92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Line 70"/>
            <p:cNvSpPr>
              <a:spLocks noChangeShapeType="1"/>
            </p:cNvSpPr>
            <p:nvPr/>
          </p:nvSpPr>
          <p:spPr bwMode="auto">
            <a:xfrm>
              <a:off x="3572" y="784"/>
              <a:ext cx="357" cy="9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Line 71"/>
            <p:cNvSpPr>
              <a:spLocks noChangeShapeType="1"/>
            </p:cNvSpPr>
            <p:nvPr/>
          </p:nvSpPr>
          <p:spPr bwMode="auto">
            <a:xfrm flipH="1" flipV="1">
              <a:off x="3407" y="784"/>
              <a:ext cx="427" cy="9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Line 72"/>
            <p:cNvSpPr>
              <a:spLocks noChangeShapeType="1"/>
            </p:cNvSpPr>
            <p:nvPr/>
          </p:nvSpPr>
          <p:spPr bwMode="auto">
            <a:xfrm flipH="1" flipV="1">
              <a:off x="2634" y="784"/>
              <a:ext cx="817" cy="10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Line 73"/>
            <p:cNvSpPr>
              <a:spLocks noChangeShapeType="1"/>
            </p:cNvSpPr>
            <p:nvPr/>
          </p:nvSpPr>
          <p:spPr bwMode="auto">
            <a:xfrm flipH="1" flipV="1">
              <a:off x="2428" y="905"/>
              <a:ext cx="894" cy="9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Line 74"/>
            <p:cNvSpPr>
              <a:spLocks noChangeShapeType="1"/>
            </p:cNvSpPr>
            <p:nvPr/>
          </p:nvSpPr>
          <p:spPr bwMode="auto">
            <a:xfrm>
              <a:off x="2706" y="784"/>
              <a:ext cx="776" cy="102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Line 75"/>
            <p:cNvSpPr>
              <a:spLocks noChangeShapeType="1"/>
            </p:cNvSpPr>
            <p:nvPr/>
          </p:nvSpPr>
          <p:spPr bwMode="auto">
            <a:xfrm flipH="1" flipV="1">
              <a:off x="2363" y="842"/>
              <a:ext cx="892" cy="98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Line 76"/>
            <p:cNvSpPr>
              <a:spLocks noChangeShapeType="1"/>
            </p:cNvSpPr>
            <p:nvPr/>
          </p:nvSpPr>
          <p:spPr bwMode="auto">
            <a:xfrm flipH="1" flipV="1">
              <a:off x="2332" y="811"/>
              <a:ext cx="888" cy="100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Line 77"/>
            <p:cNvSpPr>
              <a:spLocks noChangeShapeType="1"/>
            </p:cNvSpPr>
            <p:nvPr/>
          </p:nvSpPr>
          <p:spPr bwMode="auto">
            <a:xfrm>
              <a:off x="2272" y="784"/>
              <a:ext cx="777" cy="9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Line 78"/>
            <p:cNvSpPr>
              <a:spLocks noChangeShapeType="1"/>
            </p:cNvSpPr>
            <p:nvPr/>
          </p:nvSpPr>
          <p:spPr bwMode="auto">
            <a:xfrm flipH="1" flipV="1">
              <a:off x="2478" y="873"/>
              <a:ext cx="877" cy="96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Line 79"/>
            <p:cNvSpPr>
              <a:spLocks noChangeShapeType="1"/>
            </p:cNvSpPr>
            <p:nvPr/>
          </p:nvSpPr>
          <p:spPr bwMode="auto">
            <a:xfrm>
              <a:off x="2290" y="784"/>
              <a:ext cx="828" cy="101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Line 80"/>
            <p:cNvSpPr>
              <a:spLocks noChangeShapeType="1"/>
            </p:cNvSpPr>
            <p:nvPr/>
          </p:nvSpPr>
          <p:spPr bwMode="auto">
            <a:xfrm flipH="1" flipV="1">
              <a:off x="2527" y="842"/>
              <a:ext cx="859" cy="98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Line 81"/>
            <p:cNvSpPr>
              <a:spLocks noChangeShapeType="1"/>
            </p:cNvSpPr>
            <p:nvPr/>
          </p:nvSpPr>
          <p:spPr bwMode="auto">
            <a:xfrm>
              <a:off x="2579" y="811"/>
              <a:ext cx="839" cy="100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0" name="Line 82"/>
            <p:cNvSpPr>
              <a:spLocks noChangeShapeType="1"/>
            </p:cNvSpPr>
            <p:nvPr/>
          </p:nvSpPr>
          <p:spPr bwMode="auto">
            <a:xfrm flipH="1" flipV="1">
              <a:off x="2297" y="784"/>
              <a:ext cx="856" cy="102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1" name="Line 83"/>
            <p:cNvSpPr>
              <a:spLocks noChangeShapeType="1"/>
            </p:cNvSpPr>
            <p:nvPr/>
          </p:nvSpPr>
          <p:spPr bwMode="auto">
            <a:xfrm flipH="1" flipV="1">
              <a:off x="2394" y="873"/>
              <a:ext cx="895" cy="96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2" name="Line 84"/>
            <p:cNvSpPr>
              <a:spLocks noChangeShapeType="1"/>
            </p:cNvSpPr>
            <p:nvPr/>
          </p:nvSpPr>
          <p:spPr bwMode="auto">
            <a:xfrm flipH="1" flipV="1">
              <a:off x="2282" y="784"/>
              <a:ext cx="803" cy="100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3" name="Line 85"/>
            <p:cNvSpPr>
              <a:spLocks noChangeShapeType="1"/>
            </p:cNvSpPr>
            <p:nvPr/>
          </p:nvSpPr>
          <p:spPr bwMode="auto">
            <a:xfrm>
              <a:off x="4156" y="784"/>
              <a:ext cx="158" cy="82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4" name="Line 86"/>
            <p:cNvSpPr>
              <a:spLocks noChangeShapeType="1"/>
            </p:cNvSpPr>
            <p:nvPr/>
          </p:nvSpPr>
          <p:spPr bwMode="auto">
            <a:xfrm flipH="1" flipV="1">
              <a:off x="2303" y="784"/>
              <a:ext cx="884" cy="10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5" name="Line 87"/>
            <p:cNvSpPr>
              <a:spLocks noChangeShapeType="1"/>
            </p:cNvSpPr>
            <p:nvPr/>
          </p:nvSpPr>
          <p:spPr bwMode="auto">
            <a:xfrm flipH="1" flipV="1">
              <a:off x="2779" y="784"/>
              <a:ext cx="736" cy="101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chemeClr val="accent1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fr-FR" smtClean="0"/>
              <a:t>Modifier le style des sous-titres du masqu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447676" y="41878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6758100" y="4347000"/>
            <a:ext cx="1746900" cy="2754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chemeClr val="accent1"/>
                </a:solidFill>
              </a:defRPr>
            </a:lvl1pPr>
          </a:lstStyle>
          <a:p>
            <a:fld id="{66FF19C1-52FE-42DD-B897-C6E050F86BDB}" type="datetime1">
              <a:rPr lang="en-GB" smtClean="0"/>
              <a:t>24/0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1636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399" y="985500"/>
            <a:ext cx="39258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400" y="1571400"/>
            <a:ext cx="39258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78800" y="985500"/>
            <a:ext cx="39501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78800" y="1571400"/>
            <a:ext cx="39501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6AA545C3-AD3B-47D1-9B94-FBEB328F87A3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73205" y="1088122"/>
            <a:ext cx="0" cy="3637087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62049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2-Spli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re 1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72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52"/>
          </p:nvPr>
        </p:nvSpPr>
        <p:spPr bwMode="auto">
          <a:xfrm>
            <a:off x="4992683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55"/>
          </p:nvPr>
        </p:nvSpPr>
        <p:spPr/>
        <p:txBody>
          <a:bodyPr/>
          <a:lstStyle/>
          <a:p>
            <a:pPr algn="ctr"/>
            <a:fld id="{B3F37CF8-DD9C-4E5F-AF72-D860CBAD19CF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58"/>
          </p:nvPr>
        </p:nvSpPr>
        <p:spPr>
          <a:xfrm>
            <a:off x="842401" y="1373981"/>
            <a:ext cx="3912956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9"/>
          </p:nvPr>
        </p:nvSpPr>
        <p:spPr>
          <a:xfrm>
            <a:off x="4992683" y="1373981"/>
            <a:ext cx="3913200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60"/>
          </p:nvPr>
        </p:nvSpPr>
        <p:spPr>
          <a:xfrm>
            <a:off x="4992684" y="3137608"/>
            <a:ext cx="3913192" cy="1587983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61"/>
          </p:nvPr>
        </p:nvSpPr>
        <p:spPr>
          <a:xfrm>
            <a:off x="842963" y="3137298"/>
            <a:ext cx="3912394" cy="158829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316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2" y="935715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38"/>
          </p:nvPr>
        </p:nvSpPr>
        <p:spPr bwMode="auto">
          <a:xfrm>
            <a:off x="842459" y="2866853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3"/>
          </p:nvPr>
        </p:nvSpPr>
        <p:spPr bwMode="auto">
          <a:xfrm>
            <a:off x="4992673" y="923759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40"/>
          </p:nvPr>
        </p:nvSpPr>
        <p:spPr bwMode="auto">
          <a:xfrm>
            <a:off x="4992670" y="2873531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pPr algn="ctr"/>
            <a:fld id="{BCD584FA-4A73-46B6-ABEE-AB9C2F6BE062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4"/>
          </p:nvPr>
        </p:nvSpPr>
        <p:spPr>
          <a:xfrm>
            <a:off x="842401" y="1374031"/>
            <a:ext cx="3913259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5"/>
          </p:nvPr>
        </p:nvSpPr>
        <p:spPr>
          <a:xfrm>
            <a:off x="4992670" y="1374031"/>
            <a:ext cx="3913200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56"/>
          </p:nvPr>
        </p:nvSpPr>
        <p:spPr>
          <a:xfrm>
            <a:off x="4992291" y="3305175"/>
            <a:ext cx="3913584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57"/>
          </p:nvPr>
        </p:nvSpPr>
        <p:spPr>
          <a:xfrm>
            <a:off x="842401" y="3305175"/>
            <a:ext cx="3912956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92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34"/>
          </p:nvPr>
        </p:nvSpPr>
        <p:spPr bwMode="auto">
          <a:xfrm>
            <a:off x="3573370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32"/>
          </p:nvPr>
        </p:nvSpPr>
        <p:spPr bwMode="auto">
          <a:xfrm>
            <a:off x="630907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pPr algn="ctr"/>
            <a:fld id="{8E47D621-D575-450C-947A-7C0C362B73D1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8"/>
          </p:nvPr>
        </p:nvSpPr>
        <p:spPr>
          <a:xfrm>
            <a:off x="840338" y="1376208"/>
            <a:ext cx="2589326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9"/>
          </p:nvPr>
        </p:nvSpPr>
        <p:spPr>
          <a:xfrm>
            <a:off x="3573370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50"/>
          </p:nvPr>
        </p:nvSpPr>
        <p:spPr>
          <a:xfrm>
            <a:off x="6309075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18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485654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0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83957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1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83957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2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83957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3</a:t>
            </a:r>
          </a:p>
        </p:txBody>
      </p:sp>
      <p:sp>
        <p:nvSpPr>
          <p:cNvPr id="24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452324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4</a:t>
            </a:r>
          </a:p>
        </p:txBody>
      </p:sp>
      <p:sp>
        <p:nvSpPr>
          <p:cNvPr id="25" name="Text Placeholder 31"/>
          <p:cNvSpPr>
            <a:spLocks noGrp="1"/>
          </p:cNvSpPr>
          <p:nvPr>
            <p:ph type="body" sz="quarter" idx="20" hasCustomPrompt="1"/>
          </p:nvPr>
        </p:nvSpPr>
        <p:spPr>
          <a:xfrm>
            <a:off x="452324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5</a:t>
            </a:r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452324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6</a:t>
            </a:r>
          </a:p>
        </p:txBody>
      </p:sp>
      <p:sp>
        <p:nvSpPr>
          <p:cNvPr id="27" name="Text Placeholder 3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654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1485654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9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5169823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0" name="Text Placeholder 31"/>
          <p:cNvSpPr>
            <a:spLocks noGrp="1"/>
          </p:cNvSpPr>
          <p:nvPr>
            <p:ph type="body" sz="quarter" idx="26" hasCustomPrompt="1"/>
          </p:nvPr>
        </p:nvSpPr>
        <p:spPr>
          <a:xfrm>
            <a:off x="5169823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1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5169823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Summary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algn="ctr"/>
            <a:fld id="{A5F1AB97-9E9E-42C1-B14D-2C38971091B9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91267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08006" y="226219"/>
            <a:ext cx="2020491" cy="449937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42963" y="226219"/>
            <a:ext cx="5950744" cy="4499372"/>
          </a:xfrm>
        </p:spPr>
        <p:txBody>
          <a:bodyPr vert="vert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2BD886F-0A2B-4046-907D-A9FEEF3D3205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64486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rgbClr val="FBC9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7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4218807" y="645537"/>
            <a:ext cx="5149850" cy="3983038"/>
          </a:xfrm>
          <a:custGeom>
            <a:avLst/>
            <a:gdLst>
              <a:gd name="T0" fmla="*/ 1980 w 8401"/>
              <a:gd name="T1" fmla="*/ 612 h 6505"/>
              <a:gd name="T2" fmla="*/ 4200 w 8401"/>
              <a:gd name="T3" fmla="*/ 5149 h 6505"/>
              <a:gd name="T4" fmla="*/ 6811 w 8401"/>
              <a:gd name="T5" fmla="*/ 3609 h 6505"/>
              <a:gd name="T6" fmla="*/ 1590 w 8401"/>
              <a:gd name="T7" fmla="*/ 2897 h 6505"/>
              <a:gd name="T8" fmla="*/ 1590 w 8401"/>
              <a:gd name="T9" fmla="*/ 2897 h 6505"/>
              <a:gd name="T10" fmla="*/ 7100 w 8401"/>
              <a:gd name="T11" fmla="*/ 2864 h 6505"/>
              <a:gd name="T12" fmla="*/ 7169 w 8401"/>
              <a:gd name="T13" fmla="*/ 2441 h 6505"/>
              <a:gd name="T14" fmla="*/ 7176 w 8401"/>
              <a:gd name="T15" fmla="*/ 1984 h 6505"/>
              <a:gd name="T16" fmla="*/ 1692 w 8401"/>
              <a:gd name="T17" fmla="*/ 1139 h 6505"/>
              <a:gd name="T18" fmla="*/ 1794 w 8401"/>
              <a:gd name="T19" fmla="*/ 3927 h 6505"/>
              <a:gd name="T20" fmla="*/ 1759 w 8401"/>
              <a:gd name="T21" fmla="*/ 4315 h 6505"/>
              <a:gd name="T22" fmla="*/ 7100 w 8401"/>
              <a:gd name="T23" fmla="*/ 3642 h 6505"/>
              <a:gd name="T24" fmla="*/ 7169 w 8401"/>
              <a:gd name="T25" fmla="*/ 2441 h 6505"/>
              <a:gd name="T26" fmla="*/ 7176 w 8401"/>
              <a:gd name="T27" fmla="*/ 1984 h 6505"/>
              <a:gd name="T28" fmla="*/ 961 w 8401"/>
              <a:gd name="T29" fmla="*/ 1882 h 6505"/>
              <a:gd name="T30" fmla="*/ 1048 w 8401"/>
              <a:gd name="T31" fmla="*/ 1360 h 6505"/>
              <a:gd name="T32" fmla="*/ 4200 w 8401"/>
              <a:gd name="T33" fmla="*/ 5692 h 6505"/>
              <a:gd name="T34" fmla="*/ 6909 w 8401"/>
              <a:gd name="T35" fmla="*/ 4421 h 6505"/>
              <a:gd name="T36" fmla="*/ 1791 w 8401"/>
              <a:gd name="T37" fmla="*/ 4738 h 6505"/>
              <a:gd name="T38" fmla="*/ 1492 w 8401"/>
              <a:gd name="T39" fmla="*/ 4421 h 6505"/>
              <a:gd name="T40" fmla="*/ 1134 w 8401"/>
              <a:gd name="T41" fmla="*/ 3253 h 6505"/>
              <a:gd name="T42" fmla="*/ 1015 w 8401"/>
              <a:gd name="T43" fmla="*/ 2830 h 6505"/>
              <a:gd name="T44" fmla="*/ 954 w 8401"/>
              <a:gd name="T45" fmla="*/ 2371 h 6505"/>
              <a:gd name="T46" fmla="*/ 698 w 8401"/>
              <a:gd name="T47" fmla="*/ 1781 h 6505"/>
              <a:gd name="T48" fmla="*/ 4200 w 8401"/>
              <a:gd name="T49" fmla="*/ 5963 h 6505"/>
              <a:gd name="T50" fmla="*/ 1492 w 8401"/>
              <a:gd name="T51" fmla="*/ 4421 h 6505"/>
              <a:gd name="T52" fmla="*/ 1543 w 8401"/>
              <a:gd name="T53" fmla="*/ 4876 h 6505"/>
              <a:gd name="T54" fmla="*/ 1225 w 8401"/>
              <a:gd name="T55" fmla="*/ 4521 h 6505"/>
              <a:gd name="T56" fmla="*/ 954 w 8401"/>
              <a:gd name="T57" fmla="*/ 4135 h 6505"/>
              <a:gd name="T58" fmla="*/ 7668 w 8401"/>
              <a:gd name="T59" fmla="*/ 2795 h 6505"/>
              <a:gd name="T60" fmla="*/ 452 w 8401"/>
              <a:gd name="T61" fmla="*/ 2761 h 6505"/>
              <a:gd name="T62" fmla="*/ 7949 w 8401"/>
              <a:gd name="T63" fmla="*/ 2761 h 6505"/>
              <a:gd name="T64" fmla="*/ 1543 w 8401"/>
              <a:gd name="T65" fmla="*/ 4876 h 6505"/>
              <a:gd name="T66" fmla="*/ 6858 w 8401"/>
              <a:gd name="T67" fmla="*/ 4876 h 6505"/>
              <a:gd name="T68" fmla="*/ 7176 w 8401"/>
              <a:gd name="T69" fmla="*/ 4521 h 6505"/>
              <a:gd name="T70" fmla="*/ 961 w 8401"/>
              <a:gd name="T71" fmla="*/ 4624 h 6505"/>
              <a:gd name="T72" fmla="*/ 563 w 8401"/>
              <a:gd name="T73" fmla="*/ 3253 h 6505"/>
              <a:gd name="T74" fmla="*/ 7949 w 8401"/>
              <a:gd name="T75" fmla="*/ 3745 h 6505"/>
              <a:gd name="T76" fmla="*/ 452 w 8401"/>
              <a:gd name="T77" fmla="*/ 2761 h 6505"/>
              <a:gd name="T78" fmla="*/ 2163 w 8401"/>
              <a:gd name="T79" fmla="*/ 5686 h 6505"/>
              <a:gd name="T80" fmla="*/ 6238 w 8401"/>
              <a:gd name="T81" fmla="*/ 5686 h 6505"/>
              <a:gd name="T82" fmla="*/ 6709 w 8401"/>
              <a:gd name="T83" fmla="*/ 5367 h 6505"/>
              <a:gd name="T84" fmla="*/ 7105 w 8401"/>
              <a:gd name="T85" fmla="*/ 5012 h 6505"/>
              <a:gd name="T86" fmla="*/ 7721 w 8401"/>
              <a:gd name="T87" fmla="*/ 4201 h 6505"/>
              <a:gd name="T88" fmla="*/ 8228 w 8401"/>
              <a:gd name="T89" fmla="*/ 3779 h 6505"/>
              <a:gd name="T90" fmla="*/ 8228 w 8401"/>
              <a:gd name="T91" fmla="*/ 3779 h 6505"/>
              <a:gd name="T92" fmla="*/ 2633 w 8401"/>
              <a:gd name="T93" fmla="*/ 6212 h 6505"/>
              <a:gd name="T94" fmla="*/ 1469 w 8401"/>
              <a:gd name="T95" fmla="*/ 5537 h 6505"/>
              <a:gd name="T96" fmla="*/ 3929 w 8401"/>
              <a:gd name="T97" fmla="*/ 3253 h 6505"/>
              <a:gd name="T98" fmla="*/ 5014 w 8401"/>
              <a:gd name="T99" fmla="*/ 3253 h 6505"/>
              <a:gd name="T100" fmla="*/ 4200 w 8401"/>
              <a:gd name="T101" fmla="*/ 2168 h 6505"/>
              <a:gd name="T102" fmla="*/ 4200 w 8401"/>
              <a:gd name="T103" fmla="*/ 1897 h 6505"/>
              <a:gd name="T104" fmla="*/ 6607 w 8401"/>
              <a:gd name="T105" fmla="*/ 2579 h 6505"/>
              <a:gd name="T106" fmla="*/ 4200 w 8401"/>
              <a:gd name="T107" fmla="*/ 814 h 6505"/>
              <a:gd name="T108" fmla="*/ 1913 w 8401"/>
              <a:gd name="T109" fmla="*/ 1310 h 6505"/>
              <a:gd name="T110" fmla="*/ 6238 w 8401"/>
              <a:gd name="T111" fmla="*/ 819 h 6505"/>
              <a:gd name="T112" fmla="*/ 1717 w 8401"/>
              <a:gd name="T113" fmla="*/ 3253 h 6505"/>
              <a:gd name="T114" fmla="*/ 1717 w 8401"/>
              <a:gd name="T115" fmla="*/ 3253 h 6505"/>
              <a:gd name="T116" fmla="*/ 6889 w 8401"/>
              <a:gd name="T117" fmla="*/ 2507 h 6505"/>
              <a:gd name="T118" fmla="*/ 1543 w 8401"/>
              <a:gd name="T119" fmla="*/ 1630 h 6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01" h="6505">
                <a:moveTo>
                  <a:pt x="6709" y="1139"/>
                </a:moveTo>
                <a:cubicBezTo>
                  <a:pt x="6560" y="1022"/>
                  <a:pt x="6403" y="915"/>
                  <a:pt x="6238" y="819"/>
                </a:cubicBezTo>
                <a:moveTo>
                  <a:pt x="2163" y="819"/>
                </a:moveTo>
                <a:cubicBezTo>
                  <a:pt x="1998" y="915"/>
                  <a:pt x="1841" y="1022"/>
                  <a:pt x="1692" y="1139"/>
                </a:cubicBezTo>
                <a:moveTo>
                  <a:pt x="1543" y="1630"/>
                </a:moveTo>
                <a:cubicBezTo>
                  <a:pt x="1659" y="1516"/>
                  <a:pt x="1783" y="1409"/>
                  <a:pt x="1913" y="1310"/>
                </a:cubicBezTo>
                <a:moveTo>
                  <a:pt x="2633" y="294"/>
                </a:moveTo>
                <a:cubicBezTo>
                  <a:pt x="2406" y="382"/>
                  <a:pt x="2187" y="488"/>
                  <a:pt x="1980" y="612"/>
                </a:cubicBezTo>
                <a:moveTo>
                  <a:pt x="1692" y="1139"/>
                </a:moveTo>
                <a:cubicBezTo>
                  <a:pt x="1841" y="1022"/>
                  <a:pt x="1998" y="915"/>
                  <a:pt x="2163" y="819"/>
                </a:cubicBezTo>
                <a:moveTo>
                  <a:pt x="6421" y="612"/>
                </a:moveTo>
                <a:cubicBezTo>
                  <a:pt x="6214" y="488"/>
                  <a:pt x="5995" y="382"/>
                  <a:pt x="5768" y="294"/>
                </a:cubicBezTo>
                <a:moveTo>
                  <a:pt x="6238" y="819"/>
                </a:moveTo>
                <a:cubicBezTo>
                  <a:pt x="6403" y="915"/>
                  <a:pt x="6560" y="1022"/>
                  <a:pt x="6709" y="1139"/>
                </a:cubicBezTo>
                <a:moveTo>
                  <a:pt x="1794" y="3927"/>
                </a:moveTo>
                <a:cubicBezTo>
                  <a:pt x="2336" y="4668"/>
                  <a:pt x="3212" y="5149"/>
                  <a:pt x="4200" y="5149"/>
                </a:cubicBezTo>
                <a:cubicBezTo>
                  <a:pt x="5189" y="5149"/>
                  <a:pt x="6065" y="4668"/>
                  <a:pt x="6607" y="3927"/>
                </a:cubicBezTo>
                <a:moveTo>
                  <a:pt x="6519" y="3572"/>
                </a:moveTo>
                <a:cubicBezTo>
                  <a:pt x="6044" y="4355"/>
                  <a:pt x="5183" y="4878"/>
                  <a:pt x="4200" y="4878"/>
                </a:cubicBezTo>
                <a:cubicBezTo>
                  <a:pt x="3218" y="4878"/>
                  <a:pt x="2357" y="4355"/>
                  <a:pt x="1882" y="3572"/>
                </a:cubicBezTo>
                <a:moveTo>
                  <a:pt x="6684" y="3253"/>
                </a:moveTo>
                <a:cubicBezTo>
                  <a:pt x="6636" y="3363"/>
                  <a:pt x="6581" y="3470"/>
                  <a:pt x="6519" y="3572"/>
                </a:cubicBezTo>
                <a:moveTo>
                  <a:pt x="6607" y="3927"/>
                </a:moveTo>
                <a:cubicBezTo>
                  <a:pt x="6682" y="3825"/>
                  <a:pt x="6750" y="3719"/>
                  <a:pt x="6811" y="3609"/>
                </a:cubicBezTo>
                <a:moveTo>
                  <a:pt x="1882" y="3572"/>
                </a:moveTo>
                <a:cubicBezTo>
                  <a:pt x="1820" y="3470"/>
                  <a:pt x="1765" y="3363"/>
                  <a:pt x="1717" y="3253"/>
                </a:cubicBezTo>
                <a:moveTo>
                  <a:pt x="1590" y="3609"/>
                </a:moveTo>
                <a:cubicBezTo>
                  <a:pt x="1651" y="3719"/>
                  <a:pt x="1719" y="3825"/>
                  <a:pt x="1794" y="3927"/>
                </a:cubicBezTo>
                <a:moveTo>
                  <a:pt x="6811" y="3609"/>
                </a:moveTo>
                <a:cubicBezTo>
                  <a:pt x="6874" y="3494"/>
                  <a:pt x="6929" y="3376"/>
                  <a:pt x="6977" y="3253"/>
                </a:cubicBezTo>
                <a:cubicBezTo>
                  <a:pt x="6929" y="3130"/>
                  <a:pt x="6874" y="3011"/>
                  <a:pt x="6811" y="2897"/>
                </a:cubicBezTo>
                <a:moveTo>
                  <a:pt x="1590" y="2897"/>
                </a:moveTo>
                <a:cubicBezTo>
                  <a:pt x="1527" y="3011"/>
                  <a:pt x="1472" y="3130"/>
                  <a:pt x="1424" y="3253"/>
                </a:cubicBezTo>
                <a:cubicBezTo>
                  <a:pt x="1472" y="3376"/>
                  <a:pt x="1527" y="3494"/>
                  <a:pt x="1590" y="3609"/>
                </a:cubicBezTo>
                <a:moveTo>
                  <a:pt x="7100" y="2864"/>
                </a:moveTo>
                <a:cubicBezTo>
                  <a:pt x="7037" y="2740"/>
                  <a:pt x="6967" y="2621"/>
                  <a:pt x="6889" y="2507"/>
                </a:cubicBezTo>
                <a:moveTo>
                  <a:pt x="6811" y="2897"/>
                </a:moveTo>
                <a:cubicBezTo>
                  <a:pt x="6874" y="3011"/>
                  <a:pt x="6929" y="3130"/>
                  <a:pt x="6977" y="3253"/>
                </a:cubicBezTo>
                <a:moveTo>
                  <a:pt x="1424" y="3253"/>
                </a:moveTo>
                <a:cubicBezTo>
                  <a:pt x="1472" y="3130"/>
                  <a:pt x="1527" y="3011"/>
                  <a:pt x="1590" y="2897"/>
                </a:cubicBezTo>
                <a:moveTo>
                  <a:pt x="1512" y="2507"/>
                </a:moveTo>
                <a:cubicBezTo>
                  <a:pt x="1434" y="2621"/>
                  <a:pt x="1364" y="2740"/>
                  <a:pt x="1301" y="2864"/>
                </a:cubicBezTo>
                <a:moveTo>
                  <a:pt x="1492" y="2084"/>
                </a:moveTo>
                <a:cubicBezTo>
                  <a:pt x="1398" y="2197"/>
                  <a:pt x="1311" y="2317"/>
                  <a:pt x="1232" y="2441"/>
                </a:cubicBezTo>
                <a:moveTo>
                  <a:pt x="1301" y="2864"/>
                </a:moveTo>
                <a:cubicBezTo>
                  <a:pt x="1364" y="2740"/>
                  <a:pt x="1434" y="2621"/>
                  <a:pt x="1512" y="2507"/>
                </a:cubicBezTo>
                <a:moveTo>
                  <a:pt x="6889" y="2507"/>
                </a:moveTo>
                <a:cubicBezTo>
                  <a:pt x="6967" y="2621"/>
                  <a:pt x="7037" y="2740"/>
                  <a:pt x="7100" y="2864"/>
                </a:cubicBezTo>
                <a:moveTo>
                  <a:pt x="7169" y="2441"/>
                </a:moveTo>
                <a:cubicBezTo>
                  <a:pt x="7090" y="2317"/>
                  <a:pt x="7003" y="2197"/>
                  <a:pt x="6909" y="2084"/>
                </a:cubicBezTo>
                <a:moveTo>
                  <a:pt x="1543" y="1630"/>
                </a:moveTo>
                <a:cubicBezTo>
                  <a:pt x="1430" y="1741"/>
                  <a:pt x="1323" y="1860"/>
                  <a:pt x="1225" y="1984"/>
                </a:cubicBezTo>
                <a:moveTo>
                  <a:pt x="1232" y="2441"/>
                </a:moveTo>
                <a:cubicBezTo>
                  <a:pt x="1311" y="2317"/>
                  <a:pt x="1398" y="2197"/>
                  <a:pt x="1492" y="2084"/>
                </a:cubicBezTo>
                <a:moveTo>
                  <a:pt x="6909" y="2084"/>
                </a:moveTo>
                <a:cubicBezTo>
                  <a:pt x="7003" y="2197"/>
                  <a:pt x="7090" y="2317"/>
                  <a:pt x="7169" y="2441"/>
                </a:cubicBezTo>
                <a:moveTo>
                  <a:pt x="7176" y="1984"/>
                </a:moveTo>
                <a:cubicBezTo>
                  <a:pt x="7078" y="1860"/>
                  <a:pt x="6971" y="1741"/>
                  <a:pt x="6858" y="1630"/>
                </a:cubicBezTo>
                <a:moveTo>
                  <a:pt x="1225" y="1984"/>
                </a:moveTo>
                <a:cubicBezTo>
                  <a:pt x="1323" y="1860"/>
                  <a:pt x="1430" y="1741"/>
                  <a:pt x="1543" y="1630"/>
                </a:cubicBezTo>
                <a:moveTo>
                  <a:pt x="1692" y="1139"/>
                </a:moveTo>
                <a:cubicBezTo>
                  <a:pt x="1552" y="1249"/>
                  <a:pt x="1420" y="1367"/>
                  <a:pt x="1296" y="1494"/>
                </a:cubicBezTo>
                <a:moveTo>
                  <a:pt x="6858" y="1630"/>
                </a:moveTo>
                <a:cubicBezTo>
                  <a:pt x="6971" y="1741"/>
                  <a:pt x="7078" y="1860"/>
                  <a:pt x="7176" y="1984"/>
                </a:cubicBezTo>
                <a:moveTo>
                  <a:pt x="7105" y="1494"/>
                </a:moveTo>
                <a:cubicBezTo>
                  <a:pt x="6981" y="1367"/>
                  <a:pt x="6849" y="1249"/>
                  <a:pt x="6709" y="1139"/>
                </a:cubicBezTo>
                <a:moveTo>
                  <a:pt x="6932" y="969"/>
                </a:moveTo>
                <a:cubicBezTo>
                  <a:pt x="6770" y="838"/>
                  <a:pt x="6600" y="719"/>
                  <a:pt x="6421" y="612"/>
                </a:cubicBezTo>
                <a:moveTo>
                  <a:pt x="6709" y="1139"/>
                </a:moveTo>
                <a:cubicBezTo>
                  <a:pt x="6849" y="1249"/>
                  <a:pt x="6981" y="1367"/>
                  <a:pt x="7105" y="1494"/>
                </a:cubicBezTo>
                <a:moveTo>
                  <a:pt x="1296" y="1494"/>
                </a:moveTo>
                <a:cubicBezTo>
                  <a:pt x="1420" y="1367"/>
                  <a:pt x="1552" y="1249"/>
                  <a:pt x="1692" y="1139"/>
                </a:cubicBezTo>
                <a:moveTo>
                  <a:pt x="1980" y="612"/>
                </a:moveTo>
                <a:cubicBezTo>
                  <a:pt x="1801" y="719"/>
                  <a:pt x="1630" y="838"/>
                  <a:pt x="1469" y="969"/>
                </a:cubicBezTo>
                <a:moveTo>
                  <a:pt x="1759" y="4315"/>
                </a:moveTo>
                <a:cubicBezTo>
                  <a:pt x="2355" y="4993"/>
                  <a:pt x="3228" y="5420"/>
                  <a:pt x="4200" y="5420"/>
                </a:cubicBezTo>
                <a:cubicBezTo>
                  <a:pt x="5173" y="5420"/>
                  <a:pt x="6046" y="4993"/>
                  <a:pt x="6642" y="4315"/>
                </a:cubicBezTo>
                <a:moveTo>
                  <a:pt x="6607" y="3927"/>
                </a:moveTo>
                <a:cubicBezTo>
                  <a:pt x="6065" y="4668"/>
                  <a:pt x="5189" y="5149"/>
                  <a:pt x="4200" y="5149"/>
                </a:cubicBezTo>
                <a:cubicBezTo>
                  <a:pt x="3212" y="5149"/>
                  <a:pt x="2336" y="4668"/>
                  <a:pt x="1794" y="3927"/>
                </a:cubicBezTo>
                <a:moveTo>
                  <a:pt x="6811" y="3609"/>
                </a:moveTo>
                <a:cubicBezTo>
                  <a:pt x="6750" y="3719"/>
                  <a:pt x="6682" y="3825"/>
                  <a:pt x="6607" y="3927"/>
                </a:cubicBezTo>
                <a:moveTo>
                  <a:pt x="6642" y="4315"/>
                </a:moveTo>
                <a:cubicBezTo>
                  <a:pt x="6731" y="4215"/>
                  <a:pt x="6813" y="4109"/>
                  <a:pt x="6889" y="3998"/>
                </a:cubicBezTo>
                <a:moveTo>
                  <a:pt x="1794" y="3927"/>
                </a:moveTo>
                <a:cubicBezTo>
                  <a:pt x="1719" y="3825"/>
                  <a:pt x="1651" y="3719"/>
                  <a:pt x="1590" y="3609"/>
                </a:cubicBezTo>
                <a:moveTo>
                  <a:pt x="1512" y="3998"/>
                </a:moveTo>
                <a:cubicBezTo>
                  <a:pt x="1588" y="4109"/>
                  <a:pt x="1670" y="4215"/>
                  <a:pt x="1759" y="4315"/>
                </a:cubicBezTo>
                <a:moveTo>
                  <a:pt x="1301" y="3642"/>
                </a:moveTo>
                <a:cubicBezTo>
                  <a:pt x="1364" y="3765"/>
                  <a:pt x="1434" y="3885"/>
                  <a:pt x="1512" y="3998"/>
                </a:cubicBezTo>
                <a:moveTo>
                  <a:pt x="1590" y="3609"/>
                </a:moveTo>
                <a:cubicBezTo>
                  <a:pt x="1527" y="3494"/>
                  <a:pt x="1472" y="3376"/>
                  <a:pt x="1424" y="3253"/>
                </a:cubicBezTo>
                <a:moveTo>
                  <a:pt x="6977" y="3253"/>
                </a:moveTo>
                <a:cubicBezTo>
                  <a:pt x="6929" y="3376"/>
                  <a:pt x="6874" y="3494"/>
                  <a:pt x="6811" y="3609"/>
                </a:cubicBezTo>
                <a:moveTo>
                  <a:pt x="6889" y="3998"/>
                </a:moveTo>
                <a:cubicBezTo>
                  <a:pt x="6967" y="3885"/>
                  <a:pt x="7037" y="3765"/>
                  <a:pt x="7100" y="3642"/>
                </a:cubicBezTo>
                <a:moveTo>
                  <a:pt x="1301" y="2864"/>
                </a:moveTo>
                <a:cubicBezTo>
                  <a:pt x="1237" y="2989"/>
                  <a:pt x="1181" y="3119"/>
                  <a:pt x="1134" y="3253"/>
                </a:cubicBezTo>
                <a:cubicBezTo>
                  <a:pt x="1181" y="3387"/>
                  <a:pt x="1237" y="3517"/>
                  <a:pt x="1301" y="3642"/>
                </a:cubicBezTo>
                <a:moveTo>
                  <a:pt x="7100" y="3642"/>
                </a:moveTo>
                <a:cubicBezTo>
                  <a:pt x="7163" y="3517"/>
                  <a:pt x="7220" y="3387"/>
                  <a:pt x="7267" y="3253"/>
                </a:cubicBezTo>
                <a:cubicBezTo>
                  <a:pt x="7220" y="3119"/>
                  <a:pt x="7163" y="2989"/>
                  <a:pt x="7100" y="2864"/>
                </a:cubicBezTo>
                <a:moveTo>
                  <a:pt x="7386" y="2830"/>
                </a:moveTo>
                <a:cubicBezTo>
                  <a:pt x="7322" y="2695"/>
                  <a:pt x="7249" y="2565"/>
                  <a:pt x="7169" y="2441"/>
                </a:cubicBezTo>
                <a:moveTo>
                  <a:pt x="7100" y="2864"/>
                </a:moveTo>
                <a:cubicBezTo>
                  <a:pt x="7163" y="2989"/>
                  <a:pt x="7220" y="3119"/>
                  <a:pt x="7267" y="3253"/>
                </a:cubicBezTo>
                <a:moveTo>
                  <a:pt x="1134" y="3253"/>
                </a:moveTo>
                <a:cubicBezTo>
                  <a:pt x="1181" y="3119"/>
                  <a:pt x="1237" y="2989"/>
                  <a:pt x="1301" y="2864"/>
                </a:cubicBezTo>
                <a:moveTo>
                  <a:pt x="1232" y="2441"/>
                </a:moveTo>
                <a:cubicBezTo>
                  <a:pt x="1152" y="2565"/>
                  <a:pt x="1079" y="2695"/>
                  <a:pt x="1015" y="2830"/>
                </a:cubicBezTo>
                <a:moveTo>
                  <a:pt x="7447" y="2371"/>
                </a:moveTo>
                <a:cubicBezTo>
                  <a:pt x="7365" y="2236"/>
                  <a:pt x="7274" y="2107"/>
                  <a:pt x="7176" y="1984"/>
                </a:cubicBezTo>
                <a:moveTo>
                  <a:pt x="7169" y="2441"/>
                </a:moveTo>
                <a:cubicBezTo>
                  <a:pt x="7249" y="2565"/>
                  <a:pt x="7322" y="2695"/>
                  <a:pt x="7386" y="2830"/>
                </a:cubicBezTo>
                <a:moveTo>
                  <a:pt x="1225" y="1984"/>
                </a:moveTo>
                <a:cubicBezTo>
                  <a:pt x="1127" y="2107"/>
                  <a:pt x="1036" y="2236"/>
                  <a:pt x="954" y="2371"/>
                </a:cubicBezTo>
                <a:moveTo>
                  <a:pt x="1015" y="2830"/>
                </a:moveTo>
                <a:cubicBezTo>
                  <a:pt x="1079" y="2695"/>
                  <a:pt x="1152" y="2565"/>
                  <a:pt x="1232" y="2441"/>
                </a:cubicBezTo>
                <a:moveTo>
                  <a:pt x="1296" y="1494"/>
                </a:moveTo>
                <a:cubicBezTo>
                  <a:pt x="1176" y="1616"/>
                  <a:pt x="1064" y="1745"/>
                  <a:pt x="961" y="1882"/>
                </a:cubicBezTo>
                <a:moveTo>
                  <a:pt x="954" y="2371"/>
                </a:moveTo>
                <a:cubicBezTo>
                  <a:pt x="1036" y="2236"/>
                  <a:pt x="1127" y="2107"/>
                  <a:pt x="1225" y="1984"/>
                </a:cubicBezTo>
                <a:moveTo>
                  <a:pt x="7176" y="1984"/>
                </a:moveTo>
                <a:cubicBezTo>
                  <a:pt x="7274" y="2107"/>
                  <a:pt x="7365" y="2236"/>
                  <a:pt x="7447" y="2371"/>
                </a:cubicBezTo>
                <a:moveTo>
                  <a:pt x="7440" y="1882"/>
                </a:moveTo>
                <a:cubicBezTo>
                  <a:pt x="7337" y="1745"/>
                  <a:pt x="7225" y="1616"/>
                  <a:pt x="7105" y="1494"/>
                </a:cubicBezTo>
                <a:moveTo>
                  <a:pt x="1469" y="969"/>
                </a:moveTo>
                <a:cubicBezTo>
                  <a:pt x="1320" y="1090"/>
                  <a:pt x="1180" y="1221"/>
                  <a:pt x="1048" y="1360"/>
                </a:cubicBezTo>
                <a:moveTo>
                  <a:pt x="961" y="1882"/>
                </a:moveTo>
                <a:cubicBezTo>
                  <a:pt x="1064" y="1745"/>
                  <a:pt x="1176" y="1616"/>
                  <a:pt x="1296" y="1494"/>
                </a:cubicBezTo>
                <a:moveTo>
                  <a:pt x="7353" y="1360"/>
                </a:moveTo>
                <a:cubicBezTo>
                  <a:pt x="7221" y="1221"/>
                  <a:pt x="7081" y="1090"/>
                  <a:pt x="6932" y="969"/>
                </a:cubicBezTo>
                <a:moveTo>
                  <a:pt x="7105" y="1494"/>
                </a:moveTo>
                <a:cubicBezTo>
                  <a:pt x="7225" y="1616"/>
                  <a:pt x="7337" y="1745"/>
                  <a:pt x="7440" y="1882"/>
                </a:cubicBezTo>
                <a:moveTo>
                  <a:pt x="1791" y="4738"/>
                </a:moveTo>
                <a:cubicBezTo>
                  <a:pt x="2421" y="5329"/>
                  <a:pt x="3268" y="5692"/>
                  <a:pt x="4200" y="5692"/>
                </a:cubicBezTo>
                <a:cubicBezTo>
                  <a:pt x="5133" y="5692"/>
                  <a:pt x="5980" y="5329"/>
                  <a:pt x="6610" y="4738"/>
                </a:cubicBezTo>
                <a:moveTo>
                  <a:pt x="6643" y="4339"/>
                </a:moveTo>
                <a:cubicBezTo>
                  <a:pt x="6643" y="4331"/>
                  <a:pt x="6642" y="4323"/>
                  <a:pt x="6642" y="4315"/>
                </a:cubicBezTo>
                <a:cubicBezTo>
                  <a:pt x="6046" y="4993"/>
                  <a:pt x="5173" y="5420"/>
                  <a:pt x="4200" y="5420"/>
                </a:cubicBezTo>
                <a:cubicBezTo>
                  <a:pt x="3228" y="5420"/>
                  <a:pt x="2355" y="4993"/>
                  <a:pt x="1759" y="4315"/>
                </a:cubicBezTo>
                <a:cubicBezTo>
                  <a:pt x="1759" y="4323"/>
                  <a:pt x="1758" y="4331"/>
                  <a:pt x="1758" y="4339"/>
                </a:cubicBezTo>
                <a:moveTo>
                  <a:pt x="6610" y="4738"/>
                </a:moveTo>
                <a:cubicBezTo>
                  <a:pt x="6716" y="4639"/>
                  <a:pt x="6816" y="4533"/>
                  <a:pt x="6909" y="4421"/>
                </a:cubicBezTo>
                <a:moveTo>
                  <a:pt x="6889" y="3998"/>
                </a:moveTo>
                <a:cubicBezTo>
                  <a:pt x="6813" y="4109"/>
                  <a:pt x="6731" y="4215"/>
                  <a:pt x="6642" y="4315"/>
                </a:cubicBezTo>
                <a:cubicBezTo>
                  <a:pt x="6642" y="4323"/>
                  <a:pt x="6643" y="4331"/>
                  <a:pt x="6643" y="4339"/>
                </a:cubicBezTo>
                <a:moveTo>
                  <a:pt x="1758" y="4339"/>
                </a:moveTo>
                <a:cubicBezTo>
                  <a:pt x="1758" y="4331"/>
                  <a:pt x="1759" y="4323"/>
                  <a:pt x="1759" y="4315"/>
                </a:cubicBezTo>
                <a:cubicBezTo>
                  <a:pt x="1670" y="4215"/>
                  <a:pt x="1588" y="4109"/>
                  <a:pt x="1512" y="3998"/>
                </a:cubicBezTo>
                <a:moveTo>
                  <a:pt x="1492" y="4421"/>
                </a:moveTo>
                <a:cubicBezTo>
                  <a:pt x="1585" y="4533"/>
                  <a:pt x="1685" y="4639"/>
                  <a:pt x="1791" y="4738"/>
                </a:cubicBezTo>
                <a:moveTo>
                  <a:pt x="7100" y="3642"/>
                </a:moveTo>
                <a:cubicBezTo>
                  <a:pt x="7037" y="3765"/>
                  <a:pt x="6967" y="3885"/>
                  <a:pt x="6889" y="3998"/>
                </a:cubicBezTo>
                <a:moveTo>
                  <a:pt x="6909" y="4421"/>
                </a:moveTo>
                <a:cubicBezTo>
                  <a:pt x="7003" y="4308"/>
                  <a:pt x="7090" y="4189"/>
                  <a:pt x="7169" y="4065"/>
                </a:cubicBezTo>
                <a:moveTo>
                  <a:pt x="1512" y="3998"/>
                </a:moveTo>
                <a:cubicBezTo>
                  <a:pt x="1434" y="3885"/>
                  <a:pt x="1364" y="3765"/>
                  <a:pt x="1301" y="3642"/>
                </a:cubicBezTo>
                <a:moveTo>
                  <a:pt x="1232" y="4065"/>
                </a:moveTo>
                <a:cubicBezTo>
                  <a:pt x="1311" y="4189"/>
                  <a:pt x="1398" y="4308"/>
                  <a:pt x="1492" y="4421"/>
                </a:cubicBezTo>
                <a:moveTo>
                  <a:pt x="7267" y="3253"/>
                </a:moveTo>
                <a:cubicBezTo>
                  <a:pt x="7220" y="3387"/>
                  <a:pt x="7163" y="3517"/>
                  <a:pt x="7100" y="3642"/>
                </a:cubicBezTo>
                <a:moveTo>
                  <a:pt x="7169" y="4065"/>
                </a:moveTo>
                <a:cubicBezTo>
                  <a:pt x="7249" y="3940"/>
                  <a:pt x="7322" y="3811"/>
                  <a:pt x="7386" y="3676"/>
                </a:cubicBezTo>
                <a:moveTo>
                  <a:pt x="1015" y="3676"/>
                </a:moveTo>
                <a:cubicBezTo>
                  <a:pt x="1079" y="3811"/>
                  <a:pt x="1152" y="3940"/>
                  <a:pt x="1232" y="4065"/>
                </a:cubicBezTo>
                <a:moveTo>
                  <a:pt x="1301" y="3642"/>
                </a:moveTo>
                <a:cubicBezTo>
                  <a:pt x="1237" y="3517"/>
                  <a:pt x="1181" y="3387"/>
                  <a:pt x="1134" y="3253"/>
                </a:cubicBezTo>
                <a:moveTo>
                  <a:pt x="7386" y="3676"/>
                </a:moveTo>
                <a:cubicBezTo>
                  <a:pt x="7450" y="3540"/>
                  <a:pt x="7506" y="3398"/>
                  <a:pt x="7553" y="3253"/>
                </a:cubicBezTo>
                <a:cubicBezTo>
                  <a:pt x="7506" y="3108"/>
                  <a:pt x="7450" y="2966"/>
                  <a:pt x="7386" y="2830"/>
                </a:cubicBezTo>
                <a:moveTo>
                  <a:pt x="1015" y="2830"/>
                </a:moveTo>
                <a:cubicBezTo>
                  <a:pt x="950" y="2966"/>
                  <a:pt x="895" y="3108"/>
                  <a:pt x="847" y="3253"/>
                </a:cubicBezTo>
                <a:cubicBezTo>
                  <a:pt x="895" y="3398"/>
                  <a:pt x="950" y="3540"/>
                  <a:pt x="1015" y="3676"/>
                </a:cubicBezTo>
                <a:moveTo>
                  <a:pt x="847" y="3253"/>
                </a:moveTo>
                <a:cubicBezTo>
                  <a:pt x="895" y="3108"/>
                  <a:pt x="950" y="2966"/>
                  <a:pt x="1015" y="2830"/>
                </a:cubicBezTo>
                <a:moveTo>
                  <a:pt x="954" y="2371"/>
                </a:moveTo>
                <a:cubicBezTo>
                  <a:pt x="872" y="2507"/>
                  <a:pt x="798" y="2649"/>
                  <a:pt x="733" y="2795"/>
                </a:cubicBezTo>
                <a:moveTo>
                  <a:pt x="7668" y="2795"/>
                </a:moveTo>
                <a:cubicBezTo>
                  <a:pt x="7602" y="2649"/>
                  <a:pt x="7529" y="2507"/>
                  <a:pt x="7447" y="2371"/>
                </a:cubicBezTo>
                <a:moveTo>
                  <a:pt x="7386" y="2830"/>
                </a:moveTo>
                <a:cubicBezTo>
                  <a:pt x="7450" y="2966"/>
                  <a:pt x="7506" y="3108"/>
                  <a:pt x="7553" y="3253"/>
                </a:cubicBezTo>
                <a:moveTo>
                  <a:pt x="733" y="2795"/>
                </a:moveTo>
                <a:cubicBezTo>
                  <a:pt x="798" y="2649"/>
                  <a:pt x="872" y="2507"/>
                  <a:pt x="954" y="2371"/>
                </a:cubicBezTo>
                <a:moveTo>
                  <a:pt x="961" y="1882"/>
                </a:moveTo>
                <a:cubicBezTo>
                  <a:pt x="858" y="2016"/>
                  <a:pt x="765" y="2158"/>
                  <a:pt x="680" y="2305"/>
                </a:cubicBezTo>
                <a:moveTo>
                  <a:pt x="7447" y="2371"/>
                </a:moveTo>
                <a:cubicBezTo>
                  <a:pt x="7529" y="2507"/>
                  <a:pt x="7602" y="2649"/>
                  <a:pt x="7668" y="2795"/>
                </a:cubicBezTo>
                <a:moveTo>
                  <a:pt x="7721" y="2305"/>
                </a:moveTo>
                <a:cubicBezTo>
                  <a:pt x="7636" y="2158"/>
                  <a:pt x="7543" y="2016"/>
                  <a:pt x="7440" y="1882"/>
                </a:cubicBezTo>
                <a:moveTo>
                  <a:pt x="1048" y="1360"/>
                </a:moveTo>
                <a:cubicBezTo>
                  <a:pt x="923" y="1493"/>
                  <a:pt x="805" y="1633"/>
                  <a:pt x="698" y="1781"/>
                </a:cubicBezTo>
                <a:moveTo>
                  <a:pt x="680" y="2305"/>
                </a:moveTo>
                <a:cubicBezTo>
                  <a:pt x="765" y="2158"/>
                  <a:pt x="858" y="2016"/>
                  <a:pt x="961" y="1882"/>
                </a:cubicBezTo>
                <a:moveTo>
                  <a:pt x="7703" y="1781"/>
                </a:moveTo>
                <a:cubicBezTo>
                  <a:pt x="7595" y="1633"/>
                  <a:pt x="7478" y="1493"/>
                  <a:pt x="7353" y="1360"/>
                </a:cubicBezTo>
                <a:moveTo>
                  <a:pt x="7440" y="1882"/>
                </a:moveTo>
                <a:cubicBezTo>
                  <a:pt x="7543" y="2016"/>
                  <a:pt x="7636" y="2158"/>
                  <a:pt x="7721" y="2305"/>
                </a:cubicBezTo>
                <a:moveTo>
                  <a:pt x="1913" y="5196"/>
                </a:moveTo>
                <a:cubicBezTo>
                  <a:pt x="2549" y="5677"/>
                  <a:pt x="3341" y="5963"/>
                  <a:pt x="4200" y="5963"/>
                </a:cubicBezTo>
                <a:cubicBezTo>
                  <a:pt x="5060" y="5963"/>
                  <a:pt x="5852" y="5677"/>
                  <a:pt x="6488" y="5196"/>
                </a:cubicBezTo>
                <a:moveTo>
                  <a:pt x="6610" y="4738"/>
                </a:moveTo>
                <a:cubicBezTo>
                  <a:pt x="5980" y="5329"/>
                  <a:pt x="5133" y="5692"/>
                  <a:pt x="4200" y="5692"/>
                </a:cubicBezTo>
                <a:cubicBezTo>
                  <a:pt x="3268" y="5692"/>
                  <a:pt x="2421" y="5329"/>
                  <a:pt x="1791" y="4738"/>
                </a:cubicBezTo>
                <a:moveTo>
                  <a:pt x="1543" y="4876"/>
                </a:moveTo>
                <a:cubicBezTo>
                  <a:pt x="1659" y="4990"/>
                  <a:pt x="1783" y="5097"/>
                  <a:pt x="1913" y="5196"/>
                </a:cubicBezTo>
                <a:moveTo>
                  <a:pt x="1791" y="4738"/>
                </a:moveTo>
                <a:cubicBezTo>
                  <a:pt x="1685" y="4639"/>
                  <a:pt x="1585" y="4533"/>
                  <a:pt x="1492" y="4421"/>
                </a:cubicBezTo>
                <a:moveTo>
                  <a:pt x="6909" y="4421"/>
                </a:moveTo>
                <a:cubicBezTo>
                  <a:pt x="6816" y="4533"/>
                  <a:pt x="6716" y="4639"/>
                  <a:pt x="6610" y="4738"/>
                </a:cubicBezTo>
                <a:moveTo>
                  <a:pt x="6488" y="5196"/>
                </a:moveTo>
                <a:cubicBezTo>
                  <a:pt x="6618" y="5097"/>
                  <a:pt x="6742" y="4990"/>
                  <a:pt x="6858" y="4876"/>
                </a:cubicBezTo>
                <a:moveTo>
                  <a:pt x="7169" y="4065"/>
                </a:moveTo>
                <a:cubicBezTo>
                  <a:pt x="7090" y="4189"/>
                  <a:pt x="7003" y="4308"/>
                  <a:pt x="6909" y="4421"/>
                </a:cubicBezTo>
                <a:moveTo>
                  <a:pt x="1225" y="4521"/>
                </a:moveTo>
                <a:cubicBezTo>
                  <a:pt x="1323" y="4646"/>
                  <a:pt x="1430" y="4765"/>
                  <a:pt x="1543" y="4876"/>
                </a:cubicBezTo>
                <a:moveTo>
                  <a:pt x="1492" y="4421"/>
                </a:moveTo>
                <a:cubicBezTo>
                  <a:pt x="1398" y="4308"/>
                  <a:pt x="1311" y="4189"/>
                  <a:pt x="1232" y="4065"/>
                </a:cubicBezTo>
                <a:moveTo>
                  <a:pt x="7386" y="3676"/>
                </a:moveTo>
                <a:cubicBezTo>
                  <a:pt x="7322" y="3811"/>
                  <a:pt x="7249" y="3940"/>
                  <a:pt x="7169" y="4065"/>
                </a:cubicBezTo>
                <a:moveTo>
                  <a:pt x="7176" y="4521"/>
                </a:moveTo>
                <a:cubicBezTo>
                  <a:pt x="7274" y="4398"/>
                  <a:pt x="7365" y="4270"/>
                  <a:pt x="7447" y="4135"/>
                </a:cubicBezTo>
                <a:moveTo>
                  <a:pt x="954" y="4135"/>
                </a:moveTo>
                <a:cubicBezTo>
                  <a:pt x="1036" y="4270"/>
                  <a:pt x="1127" y="4398"/>
                  <a:pt x="1225" y="4521"/>
                </a:cubicBezTo>
                <a:moveTo>
                  <a:pt x="1232" y="4065"/>
                </a:moveTo>
                <a:cubicBezTo>
                  <a:pt x="1152" y="3940"/>
                  <a:pt x="1079" y="3811"/>
                  <a:pt x="1015" y="3676"/>
                </a:cubicBezTo>
                <a:moveTo>
                  <a:pt x="7553" y="3253"/>
                </a:moveTo>
                <a:cubicBezTo>
                  <a:pt x="7506" y="3398"/>
                  <a:pt x="7450" y="3540"/>
                  <a:pt x="7386" y="3676"/>
                </a:cubicBezTo>
                <a:moveTo>
                  <a:pt x="7447" y="4135"/>
                </a:moveTo>
                <a:cubicBezTo>
                  <a:pt x="7529" y="3999"/>
                  <a:pt x="7602" y="3857"/>
                  <a:pt x="7668" y="3710"/>
                </a:cubicBezTo>
                <a:moveTo>
                  <a:pt x="733" y="3710"/>
                </a:moveTo>
                <a:cubicBezTo>
                  <a:pt x="798" y="3857"/>
                  <a:pt x="872" y="3999"/>
                  <a:pt x="954" y="4135"/>
                </a:cubicBezTo>
                <a:moveTo>
                  <a:pt x="1015" y="3676"/>
                </a:moveTo>
                <a:cubicBezTo>
                  <a:pt x="950" y="3540"/>
                  <a:pt x="895" y="3398"/>
                  <a:pt x="847" y="3253"/>
                </a:cubicBezTo>
                <a:moveTo>
                  <a:pt x="733" y="2795"/>
                </a:moveTo>
                <a:cubicBezTo>
                  <a:pt x="667" y="2943"/>
                  <a:pt x="610" y="3096"/>
                  <a:pt x="563" y="3253"/>
                </a:cubicBezTo>
                <a:cubicBezTo>
                  <a:pt x="610" y="3410"/>
                  <a:pt x="667" y="3563"/>
                  <a:pt x="733" y="3710"/>
                </a:cubicBezTo>
                <a:moveTo>
                  <a:pt x="7668" y="3710"/>
                </a:moveTo>
                <a:cubicBezTo>
                  <a:pt x="7734" y="3563"/>
                  <a:pt x="7791" y="3410"/>
                  <a:pt x="7837" y="3253"/>
                </a:cubicBezTo>
                <a:cubicBezTo>
                  <a:pt x="7791" y="3096"/>
                  <a:pt x="7734" y="2943"/>
                  <a:pt x="7668" y="2795"/>
                </a:cubicBezTo>
                <a:moveTo>
                  <a:pt x="7949" y="2761"/>
                </a:moveTo>
                <a:cubicBezTo>
                  <a:pt x="7883" y="2603"/>
                  <a:pt x="7806" y="2451"/>
                  <a:pt x="7721" y="2305"/>
                </a:cubicBezTo>
                <a:moveTo>
                  <a:pt x="7668" y="2795"/>
                </a:moveTo>
                <a:cubicBezTo>
                  <a:pt x="7734" y="2943"/>
                  <a:pt x="7791" y="3096"/>
                  <a:pt x="7837" y="3253"/>
                </a:cubicBezTo>
                <a:moveTo>
                  <a:pt x="563" y="3253"/>
                </a:moveTo>
                <a:cubicBezTo>
                  <a:pt x="610" y="3096"/>
                  <a:pt x="667" y="2943"/>
                  <a:pt x="733" y="2795"/>
                </a:cubicBezTo>
                <a:moveTo>
                  <a:pt x="680" y="2305"/>
                </a:moveTo>
                <a:cubicBezTo>
                  <a:pt x="595" y="2451"/>
                  <a:pt x="518" y="2603"/>
                  <a:pt x="452" y="2761"/>
                </a:cubicBezTo>
                <a:moveTo>
                  <a:pt x="698" y="1781"/>
                </a:moveTo>
                <a:cubicBezTo>
                  <a:pt x="592" y="1926"/>
                  <a:pt x="494" y="2078"/>
                  <a:pt x="407" y="2235"/>
                </a:cubicBezTo>
                <a:moveTo>
                  <a:pt x="452" y="2761"/>
                </a:moveTo>
                <a:cubicBezTo>
                  <a:pt x="518" y="2603"/>
                  <a:pt x="595" y="2451"/>
                  <a:pt x="680" y="2305"/>
                </a:cubicBezTo>
                <a:moveTo>
                  <a:pt x="7994" y="2235"/>
                </a:moveTo>
                <a:cubicBezTo>
                  <a:pt x="7907" y="2078"/>
                  <a:pt x="7809" y="1926"/>
                  <a:pt x="7703" y="1781"/>
                </a:cubicBezTo>
                <a:moveTo>
                  <a:pt x="7721" y="2305"/>
                </a:moveTo>
                <a:cubicBezTo>
                  <a:pt x="7806" y="2451"/>
                  <a:pt x="7883" y="2603"/>
                  <a:pt x="7949" y="2761"/>
                </a:cubicBezTo>
                <a:moveTo>
                  <a:pt x="2163" y="5686"/>
                </a:moveTo>
                <a:cubicBezTo>
                  <a:pt x="2763" y="6034"/>
                  <a:pt x="3458" y="6234"/>
                  <a:pt x="4200" y="6234"/>
                </a:cubicBezTo>
                <a:cubicBezTo>
                  <a:pt x="4943" y="6234"/>
                  <a:pt x="5638" y="6034"/>
                  <a:pt x="6238" y="5686"/>
                </a:cubicBezTo>
                <a:moveTo>
                  <a:pt x="6488" y="5196"/>
                </a:moveTo>
                <a:cubicBezTo>
                  <a:pt x="5852" y="5677"/>
                  <a:pt x="5060" y="5963"/>
                  <a:pt x="4200" y="5963"/>
                </a:cubicBezTo>
                <a:cubicBezTo>
                  <a:pt x="3341" y="5963"/>
                  <a:pt x="2549" y="5677"/>
                  <a:pt x="1913" y="5196"/>
                </a:cubicBezTo>
                <a:moveTo>
                  <a:pt x="1913" y="5196"/>
                </a:moveTo>
                <a:cubicBezTo>
                  <a:pt x="1783" y="5097"/>
                  <a:pt x="1659" y="4990"/>
                  <a:pt x="1543" y="4876"/>
                </a:cubicBezTo>
                <a:moveTo>
                  <a:pt x="1692" y="5367"/>
                </a:moveTo>
                <a:cubicBezTo>
                  <a:pt x="1841" y="5484"/>
                  <a:pt x="1998" y="5591"/>
                  <a:pt x="2163" y="5686"/>
                </a:cubicBezTo>
                <a:moveTo>
                  <a:pt x="6858" y="4876"/>
                </a:moveTo>
                <a:cubicBezTo>
                  <a:pt x="6742" y="4990"/>
                  <a:pt x="6618" y="5097"/>
                  <a:pt x="6488" y="5196"/>
                </a:cubicBezTo>
                <a:moveTo>
                  <a:pt x="6238" y="5686"/>
                </a:moveTo>
                <a:cubicBezTo>
                  <a:pt x="6403" y="5591"/>
                  <a:pt x="6560" y="5484"/>
                  <a:pt x="6709" y="5367"/>
                </a:cubicBezTo>
                <a:moveTo>
                  <a:pt x="7176" y="4521"/>
                </a:moveTo>
                <a:cubicBezTo>
                  <a:pt x="7078" y="4646"/>
                  <a:pt x="6971" y="4765"/>
                  <a:pt x="6858" y="4876"/>
                </a:cubicBezTo>
                <a:moveTo>
                  <a:pt x="6709" y="5367"/>
                </a:moveTo>
                <a:cubicBezTo>
                  <a:pt x="6849" y="5257"/>
                  <a:pt x="6981" y="5139"/>
                  <a:pt x="7105" y="5012"/>
                </a:cubicBezTo>
                <a:moveTo>
                  <a:pt x="1543" y="4876"/>
                </a:moveTo>
                <a:cubicBezTo>
                  <a:pt x="1430" y="4765"/>
                  <a:pt x="1323" y="4646"/>
                  <a:pt x="1225" y="4521"/>
                </a:cubicBezTo>
                <a:moveTo>
                  <a:pt x="1296" y="5012"/>
                </a:moveTo>
                <a:cubicBezTo>
                  <a:pt x="1420" y="5139"/>
                  <a:pt x="1552" y="5257"/>
                  <a:pt x="1692" y="5367"/>
                </a:cubicBezTo>
                <a:moveTo>
                  <a:pt x="7447" y="4135"/>
                </a:moveTo>
                <a:cubicBezTo>
                  <a:pt x="7365" y="4270"/>
                  <a:pt x="7274" y="4398"/>
                  <a:pt x="7176" y="4521"/>
                </a:cubicBezTo>
                <a:moveTo>
                  <a:pt x="7105" y="5012"/>
                </a:moveTo>
                <a:cubicBezTo>
                  <a:pt x="7225" y="4890"/>
                  <a:pt x="7337" y="4761"/>
                  <a:pt x="7440" y="4624"/>
                </a:cubicBezTo>
                <a:moveTo>
                  <a:pt x="961" y="4624"/>
                </a:moveTo>
                <a:cubicBezTo>
                  <a:pt x="1064" y="4761"/>
                  <a:pt x="1176" y="4890"/>
                  <a:pt x="1296" y="5012"/>
                </a:cubicBezTo>
                <a:moveTo>
                  <a:pt x="954" y="4135"/>
                </a:moveTo>
                <a:cubicBezTo>
                  <a:pt x="872" y="3999"/>
                  <a:pt x="798" y="3857"/>
                  <a:pt x="733" y="3710"/>
                </a:cubicBezTo>
                <a:moveTo>
                  <a:pt x="680" y="4201"/>
                </a:moveTo>
                <a:cubicBezTo>
                  <a:pt x="765" y="4348"/>
                  <a:pt x="858" y="4490"/>
                  <a:pt x="961" y="4624"/>
                </a:cubicBezTo>
                <a:moveTo>
                  <a:pt x="7668" y="3710"/>
                </a:moveTo>
                <a:cubicBezTo>
                  <a:pt x="7602" y="3857"/>
                  <a:pt x="7529" y="3999"/>
                  <a:pt x="7447" y="4135"/>
                </a:cubicBezTo>
                <a:moveTo>
                  <a:pt x="7440" y="4624"/>
                </a:moveTo>
                <a:cubicBezTo>
                  <a:pt x="7543" y="4490"/>
                  <a:pt x="7636" y="4348"/>
                  <a:pt x="7721" y="4201"/>
                </a:cubicBezTo>
                <a:moveTo>
                  <a:pt x="452" y="3745"/>
                </a:moveTo>
                <a:cubicBezTo>
                  <a:pt x="518" y="3903"/>
                  <a:pt x="595" y="4055"/>
                  <a:pt x="680" y="4201"/>
                </a:cubicBezTo>
                <a:moveTo>
                  <a:pt x="733" y="3710"/>
                </a:moveTo>
                <a:cubicBezTo>
                  <a:pt x="667" y="3563"/>
                  <a:pt x="610" y="3410"/>
                  <a:pt x="563" y="3253"/>
                </a:cubicBezTo>
                <a:moveTo>
                  <a:pt x="7837" y="3253"/>
                </a:moveTo>
                <a:cubicBezTo>
                  <a:pt x="7791" y="3410"/>
                  <a:pt x="7734" y="3563"/>
                  <a:pt x="7668" y="3710"/>
                </a:cubicBezTo>
                <a:moveTo>
                  <a:pt x="7721" y="4201"/>
                </a:moveTo>
                <a:cubicBezTo>
                  <a:pt x="7806" y="4055"/>
                  <a:pt x="7883" y="3903"/>
                  <a:pt x="7949" y="3745"/>
                </a:cubicBezTo>
                <a:moveTo>
                  <a:pt x="452" y="2761"/>
                </a:moveTo>
                <a:cubicBezTo>
                  <a:pt x="384" y="2920"/>
                  <a:pt x="328" y="3084"/>
                  <a:pt x="282" y="3253"/>
                </a:cubicBezTo>
                <a:cubicBezTo>
                  <a:pt x="328" y="3422"/>
                  <a:pt x="384" y="3586"/>
                  <a:pt x="452" y="3745"/>
                </a:cubicBezTo>
                <a:moveTo>
                  <a:pt x="7949" y="3745"/>
                </a:moveTo>
                <a:cubicBezTo>
                  <a:pt x="8016" y="3586"/>
                  <a:pt x="8073" y="3422"/>
                  <a:pt x="8119" y="3253"/>
                </a:cubicBezTo>
                <a:cubicBezTo>
                  <a:pt x="8073" y="3084"/>
                  <a:pt x="8016" y="2920"/>
                  <a:pt x="7949" y="2761"/>
                </a:cubicBezTo>
                <a:moveTo>
                  <a:pt x="8228" y="2727"/>
                </a:moveTo>
                <a:cubicBezTo>
                  <a:pt x="8160" y="2558"/>
                  <a:pt x="8082" y="2393"/>
                  <a:pt x="7994" y="2235"/>
                </a:cubicBezTo>
                <a:moveTo>
                  <a:pt x="7949" y="2761"/>
                </a:moveTo>
                <a:cubicBezTo>
                  <a:pt x="8016" y="2920"/>
                  <a:pt x="8073" y="3084"/>
                  <a:pt x="8119" y="3253"/>
                </a:cubicBezTo>
                <a:moveTo>
                  <a:pt x="282" y="3253"/>
                </a:moveTo>
                <a:cubicBezTo>
                  <a:pt x="328" y="3084"/>
                  <a:pt x="384" y="2920"/>
                  <a:pt x="452" y="2761"/>
                </a:cubicBezTo>
                <a:moveTo>
                  <a:pt x="407" y="2235"/>
                </a:moveTo>
                <a:cubicBezTo>
                  <a:pt x="319" y="2393"/>
                  <a:pt x="241" y="2558"/>
                  <a:pt x="173" y="2727"/>
                </a:cubicBezTo>
                <a:moveTo>
                  <a:pt x="2633" y="6212"/>
                </a:moveTo>
                <a:cubicBezTo>
                  <a:pt x="3119" y="6401"/>
                  <a:pt x="3647" y="6505"/>
                  <a:pt x="4200" y="6505"/>
                </a:cubicBezTo>
                <a:cubicBezTo>
                  <a:pt x="4753" y="6505"/>
                  <a:pt x="5282" y="6401"/>
                  <a:pt x="5768" y="6212"/>
                </a:cubicBezTo>
                <a:moveTo>
                  <a:pt x="6238" y="5686"/>
                </a:moveTo>
                <a:cubicBezTo>
                  <a:pt x="5638" y="6034"/>
                  <a:pt x="4943" y="6234"/>
                  <a:pt x="4200" y="6234"/>
                </a:cubicBezTo>
                <a:cubicBezTo>
                  <a:pt x="3458" y="6234"/>
                  <a:pt x="2763" y="6034"/>
                  <a:pt x="2163" y="5686"/>
                </a:cubicBezTo>
                <a:moveTo>
                  <a:pt x="1980" y="5894"/>
                </a:moveTo>
                <a:cubicBezTo>
                  <a:pt x="2187" y="6018"/>
                  <a:pt x="2406" y="6124"/>
                  <a:pt x="2633" y="6212"/>
                </a:cubicBezTo>
                <a:moveTo>
                  <a:pt x="2163" y="5686"/>
                </a:moveTo>
                <a:cubicBezTo>
                  <a:pt x="1998" y="5591"/>
                  <a:pt x="1841" y="5484"/>
                  <a:pt x="1692" y="5367"/>
                </a:cubicBezTo>
                <a:moveTo>
                  <a:pt x="5768" y="6212"/>
                </a:moveTo>
                <a:cubicBezTo>
                  <a:pt x="5995" y="6124"/>
                  <a:pt x="6214" y="6018"/>
                  <a:pt x="6421" y="5894"/>
                </a:cubicBezTo>
                <a:moveTo>
                  <a:pt x="6709" y="5367"/>
                </a:moveTo>
                <a:cubicBezTo>
                  <a:pt x="6560" y="5484"/>
                  <a:pt x="6403" y="5591"/>
                  <a:pt x="6238" y="5686"/>
                </a:cubicBezTo>
                <a:moveTo>
                  <a:pt x="1469" y="5537"/>
                </a:moveTo>
                <a:cubicBezTo>
                  <a:pt x="1630" y="5668"/>
                  <a:pt x="1801" y="5787"/>
                  <a:pt x="1980" y="5894"/>
                </a:cubicBezTo>
                <a:moveTo>
                  <a:pt x="1692" y="5367"/>
                </a:moveTo>
                <a:cubicBezTo>
                  <a:pt x="1552" y="5257"/>
                  <a:pt x="1420" y="5139"/>
                  <a:pt x="1296" y="5012"/>
                </a:cubicBezTo>
                <a:moveTo>
                  <a:pt x="6421" y="5894"/>
                </a:moveTo>
                <a:cubicBezTo>
                  <a:pt x="6600" y="5787"/>
                  <a:pt x="6770" y="5668"/>
                  <a:pt x="6932" y="5537"/>
                </a:cubicBezTo>
                <a:moveTo>
                  <a:pt x="7105" y="5012"/>
                </a:moveTo>
                <a:cubicBezTo>
                  <a:pt x="6981" y="5139"/>
                  <a:pt x="6849" y="5257"/>
                  <a:pt x="6709" y="5367"/>
                </a:cubicBezTo>
                <a:moveTo>
                  <a:pt x="1048" y="5145"/>
                </a:moveTo>
                <a:cubicBezTo>
                  <a:pt x="1180" y="5285"/>
                  <a:pt x="1320" y="5416"/>
                  <a:pt x="1469" y="5537"/>
                </a:cubicBezTo>
                <a:moveTo>
                  <a:pt x="1296" y="5012"/>
                </a:moveTo>
                <a:cubicBezTo>
                  <a:pt x="1176" y="4890"/>
                  <a:pt x="1064" y="4761"/>
                  <a:pt x="961" y="4624"/>
                </a:cubicBezTo>
                <a:moveTo>
                  <a:pt x="6932" y="5537"/>
                </a:moveTo>
                <a:cubicBezTo>
                  <a:pt x="7081" y="5416"/>
                  <a:pt x="7221" y="5285"/>
                  <a:pt x="7353" y="5145"/>
                </a:cubicBezTo>
                <a:moveTo>
                  <a:pt x="7440" y="4624"/>
                </a:moveTo>
                <a:cubicBezTo>
                  <a:pt x="7337" y="4761"/>
                  <a:pt x="7225" y="4890"/>
                  <a:pt x="7105" y="5012"/>
                </a:cubicBezTo>
                <a:moveTo>
                  <a:pt x="7353" y="5145"/>
                </a:moveTo>
                <a:cubicBezTo>
                  <a:pt x="7478" y="5013"/>
                  <a:pt x="7595" y="4872"/>
                  <a:pt x="7703" y="4725"/>
                </a:cubicBezTo>
                <a:moveTo>
                  <a:pt x="7721" y="4201"/>
                </a:moveTo>
                <a:cubicBezTo>
                  <a:pt x="7636" y="4348"/>
                  <a:pt x="7543" y="4490"/>
                  <a:pt x="7440" y="4624"/>
                </a:cubicBezTo>
                <a:moveTo>
                  <a:pt x="7703" y="4725"/>
                </a:moveTo>
                <a:cubicBezTo>
                  <a:pt x="7809" y="4580"/>
                  <a:pt x="7907" y="4428"/>
                  <a:pt x="7994" y="4270"/>
                </a:cubicBezTo>
                <a:moveTo>
                  <a:pt x="7949" y="3745"/>
                </a:moveTo>
                <a:cubicBezTo>
                  <a:pt x="7883" y="3903"/>
                  <a:pt x="7806" y="4055"/>
                  <a:pt x="7721" y="4201"/>
                </a:cubicBezTo>
                <a:moveTo>
                  <a:pt x="407" y="4270"/>
                </a:moveTo>
                <a:cubicBezTo>
                  <a:pt x="494" y="4428"/>
                  <a:pt x="592" y="4580"/>
                  <a:pt x="698" y="4725"/>
                </a:cubicBezTo>
                <a:moveTo>
                  <a:pt x="680" y="4201"/>
                </a:moveTo>
                <a:cubicBezTo>
                  <a:pt x="595" y="4055"/>
                  <a:pt x="518" y="3903"/>
                  <a:pt x="452" y="3745"/>
                </a:cubicBezTo>
                <a:moveTo>
                  <a:pt x="8119" y="3253"/>
                </a:moveTo>
                <a:cubicBezTo>
                  <a:pt x="8073" y="3422"/>
                  <a:pt x="8016" y="3586"/>
                  <a:pt x="7949" y="3745"/>
                </a:cubicBezTo>
                <a:moveTo>
                  <a:pt x="7994" y="4270"/>
                </a:moveTo>
                <a:cubicBezTo>
                  <a:pt x="8082" y="4112"/>
                  <a:pt x="8160" y="3948"/>
                  <a:pt x="8228" y="3779"/>
                </a:cubicBezTo>
                <a:moveTo>
                  <a:pt x="173" y="3779"/>
                </a:moveTo>
                <a:cubicBezTo>
                  <a:pt x="241" y="3948"/>
                  <a:pt x="319" y="4112"/>
                  <a:pt x="407" y="4270"/>
                </a:cubicBezTo>
                <a:moveTo>
                  <a:pt x="452" y="3745"/>
                </a:moveTo>
                <a:cubicBezTo>
                  <a:pt x="384" y="3586"/>
                  <a:pt x="328" y="3422"/>
                  <a:pt x="282" y="3253"/>
                </a:cubicBezTo>
                <a:moveTo>
                  <a:pt x="173" y="2727"/>
                </a:moveTo>
                <a:cubicBezTo>
                  <a:pt x="105" y="2898"/>
                  <a:pt x="46" y="3073"/>
                  <a:pt x="0" y="3253"/>
                </a:cubicBezTo>
                <a:cubicBezTo>
                  <a:pt x="46" y="3433"/>
                  <a:pt x="105" y="3608"/>
                  <a:pt x="173" y="3779"/>
                </a:cubicBezTo>
                <a:moveTo>
                  <a:pt x="8228" y="3779"/>
                </a:moveTo>
                <a:cubicBezTo>
                  <a:pt x="8296" y="3608"/>
                  <a:pt x="8355" y="3433"/>
                  <a:pt x="8401" y="3253"/>
                </a:cubicBezTo>
                <a:cubicBezTo>
                  <a:pt x="8355" y="3073"/>
                  <a:pt x="8296" y="2898"/>
                  <a:pt x="8228" y="2727"/>
                </a:cubicBezTo>
                <a:moveTo>
                  <a:pt x="5768" y="6212"/>
                </a:moveTo>
                <a:cubicBezTo>
                  <a:pt x="5282" y="6401"/>
                  <a:pt x="4753" y="6505"/>
                  <a:pt x="4200" y="6505"/>
                </a:cubicBezTo>
                <a:cubicBezTo>
                  <a:pt x="3647" y="6505"/>
                  <a:pt x="3119" y="6401"/>
                  <a:pt x="2633" y="6212"/>
                </a:cubicBezTo>
                <a:moveTo>
                  <a:pt x="6421" y="5894"/>
                </a:moveTo>
                <a:cubicBezTo>
                  <a:pt x="6214" y="6018"/>
                  <a:pt x="5995" y="6124"/>
                  <a:pt x="5768" y="6212"/>
                </a:cubicBezTo>
                <a:moveTo>
                  <a:pt x="2633" y="6212"/>
                </a:moveTo>
                <a:cubicBezTo>
                  <a:pt x="2406" y="6124"/>
                  <a:pt x="2187" y="6018"/>
                  <a:pt x="1980" y="5894"/>
                </a:cubicBezTo>
                <a:moveTo>
                  <a:pt x="6932" y="5537"/>
                </a:moveTo>
                <a:cubicBezTo>
                  <a:pt x="6770" y="5668"/>
                  <a:pt x="6600" y="5787"/>
                  <a:pt x="6421" y="5894"/>
                </a:cubicBezTo>
                <a:moveTo>
                  <a:pt x="1980" y="5894"/>
                </a:moveTo>
                <a:cubicBezTo>
                  <a:pt x="1801" y="5787"/>
                  <a:pt x="1630" y="5668"/>
                  <a:pt x="1469" y="5537"/>
                </a:cubicBezTo>
                <a:moveTo>
                  <a:pt x="7353" y="5145"/>
                </a:moveTo>
                <a:cubicBezTo>
                  <a:pt x="7221" y="5285"/>
                  <a:pt x="7081" y="5416"/>
                  <a:pt x="6932" y="5537"/>
                </a:cubicBezTo>
                <a:moveTo>
                  <a:pt x="1469" y="5537"/>
                </a:moveTo>
                <a:cubicBezTo>
                  <a:pt x="1320" y="5416"/>
                  <a:pt x="1180" y="5285"/>
                  <a:pt x="1048" y="5145"/>
                </a:cubicBezTo>
                <a:moveTo>
                  <a:pt x="7703" y="4725"/>
                </a:moveTo>
                <a:cubicBezTo>
                  <a:pt x="7595" y="4872"/>
                  <a:pt x="7478" y="5013"/>
                  <a:pt x="7353" y="5145"/>
                </a:cubicBezTo>
                <a:moveTo>
                  <a:pt x="1048" y="5145"/>
                </a:moveTo>
                <a:cubicBezTo>
                  <a:pt x="923" y="5013"/>
                  <a:pt x="805" y="4872"/>
                  <a:pt x="698" y="4725"/>
                </a:cubicBezTo>
                <a:moveTo>
                  <a:pt x="4472" y="3253"/>
                </a:moveTo>
                <a:cubicBezTo>
                  <a:pt x="4472" y="3403"/>
                  <a:pt x="4350" y="3524"/>
                  <a:pt x="4200" y="3524"/>
                </a:cubicBezTo>
                <a:cubicBezTo>
                  <a:pt x="4051" y="3524"/>
                  <a:pt x="3929" y="3403"/>
                  <a:pt x="3929" y="3253"/>
                </a:cubicBezTo>
                <a:cubicBezTo>
                  <a:pt x="3929" y="3103"/>
                  <a:pt x="4051" y="2982"/>
                  <a:pt x="4200" y="2982"/>
                </a:cubicBezTo>
                <a:cubicBezTo>
                  <a:pt x="4350" y="2982"/>
                  <a:pt x="4472" y="3103"/>
                  <a:pt x="4472" y="3253"/>
                </a:cubicBezTo>
                <a:close/>
                <a:moveTo>
                  <a:pt x="4743" y="3253"/>
                </a:moveTo>
                <a:cubicBezTo>
                  <a:pt x="4743" y="3553"/>
                  <a:pt x="4500" y="3795"/>
                  <a:pt x="4200" y="3795"/>
                </a:cubicBezTo>
                <a:cubicBezTo>
                  <a:pt x="3901" y="3795"/>
                  <a:pt x="3658" y="3553"/>
                  <a:pt x="3658" y="3253"/>
                </a:cubicBezTo>
                <a:cubicBezTo>
                  <a:pt x="3658" y="2953"/>
                  <a:pt x="3901" y="2710"/>
                  <a:pt x="4200" y="2710"/>
                </a:cubicBezTo>
                <a:cubicBezTo>
                  <a:pt x="4500" y="2710"/>
                  <a:pt x="4743" y="2953"/>
                  <a:pt x="4743" y="3253"/>
                </a:cubicBezTo>
                <a:close/>
                <a:moveTo>
                  <a:pt x="5014" y="3253"/>
                </a:moveTo>
                <a:cubicBezTo>
                  <a:pt x="5014" y="3702"/>
                  <a:pt x="4650" y="4067"/>
                  <a:pt x="4200" y="4067"/>
                </a:cubicBezTo>
                <a:cubicBezTo>
                  <a:pt x="3751" y="4067"/>
                  <a:pt x="3387" y="3702"/>
                  <a:pt x="3387" y="3253"/>
                </a:cubicBezTo>
                <a:cubicBezTo>
                  <a:pt x="3387" y="2803"/>
                  <a:pt x="3751" y="2439"/>
                  <a:pt x="4200" y="2439"/>
                </a:cubicBezTo>
                <a:cubicBezTo>
                  <a:pt x="4650" y="2439"/>
                  <a:pt x="5014" y="2803"/>
                  <a:pt x="5014" y="3253"/>
                </a:cubicBezTo>
                <a:close/>
                <a:moveTo>
                  <a:pt x="5285" y="3253"/>
                </a:moveTo>
                <a:cubicBezTo>
                  <a:pt x="5285" y="3852"/>
                  <a:pt x="4800" y="4338"/>
                  <a:pt x="4200" y="4338"/>
                </a:cubicBezTo>
                <a:cubicBezTo>
                  <a:pt x="3601" y="4338"/>
                  <a:pt x="3116" y="3852"/>
                  <a:pt x="3116" y="3253"/>
                </a:cubicBezTo>
                <a:cubicBezTo>
                  <a:pt x="3116" y="2654"/>
                  <a:pt x="3601" y="2168"/>
                  <a:pt x="4200" y="2168"/>
                </a:cubicBezTo>
                <a:cubicBezTo>
                  <a:pt x="4800" y="2168"/>
                  <a:pt x="5285" y="2654"/>
                  <a:pt x="5285" y="3253"/>
                </a:cubicBezTo>
                <a:close/>
                <a:moveTo>
                  <a:pt x="4200" y="4609"/>
                </a:moveTo>
                <a:cubicBezTo>
                  <a:pt x="5159" y="4609"/>
                  <a:pt x="5988" y="4057"/>
                  <a:pt x="6388" y="3253"/>
                </a:cubicBezTo>
                <a:cubicBezTo>
                  <a:pt x="5988" y="2449"/>
                  <a:pt x="5159" y="1897"/>
                  <a:pt x="4200" y="1897"/>
                </a:cubicBezTo>
                <a:cubicBezTo>
                  <a:pt x="3242" y="1897"/>
                  <a:pt x="2413" y="2449"/>
                  <a:pt x="2013" y="3253"/>
                </a:cubicBezTo>
                <a:cubicBezTo>
                  <a:pt x="2413" y="4057"/>
                  <a:pt x="3242" y="4609"/>
                  <a:pt x="4200" y="4609"/>
                </a:cubicBezTo>
                <a:close/>
                <a:moveTo>
                  <a:pt x="2013" y="3253"/>
                </a:moveTo>
                <a:cubicBezTo>
                  <a:pt x="2413" y="2449"/>
                  <a:pt x="3242" y="1897"/>
                  <a:pt x="4200" y="1897"/>
                </a:cubicBezTo>
                <a:cubicBezTo>
                  <a:pt x="5159" y="1897"/>
                  <a:pt x="5988" y="2449"/>
                  <a:pt x="6388" y="3253"/>
                </a:cubicBezTo>
                <a:moveTo>
                  <a:pt x="6519" y="2934"/>
                </a:moveTo>
                <a:cubicBezTo>
                  <a:pt x="6044" y="2151"/>
                  <a:pt x="5183" y="1628"/>
                  <a:pt x="4200" y="1628"/>
                </a:cubicBezTo>
                <a:cubicBezTo>
                  <a:pt x="3218" y="1628"/>
                  <a:pt x="2357" y="2151"/>
                  <a:pt x="1882" y="2934"/>
                </a:cubicBezTo>
                <a:moveTo>
                  <a:pt x="1882" y="2934"/>
                </a:moveTo>
                <a:cubicBezTo>
                  <a:pt x="2357" y="2151"/>
                  <a:pt x="3218" y="1628"/>
                  <a:pt x="4200" y="1628"/>
                </a:cubicBezTo>
                <a:cubicBezTo>
                  <a:pt x="5183" y="1628"/>
                  <a:pt x="6044" y="2151"/>
                  <a:pt x="6519" y="2934"/>
                </a:cubicBezTo>
                <a:moveTo>
                  <a:pt x="6607" y="2579"/>
                </a:moveTo>
                <a:cubicBezTo>
                  <a:pt x="6065" y="1838"/>
                  <a:pt x="5189" y="1357"/>
                  <a:pt x="4200" y="1357"/>
                </a:cubicBezTo>
                <a:cubicBezTo>
                  <a:pt x="3212" y="1357"/>
                  <a:pt x="2336" y="1838"/>
                  <a:pt x="1794" y="2579"/>
                </a:cubicBezTo>
                <a:moveTo>
                  <a:pt x="1758" y="2166"/>
                </a:moveTo>
                <a:cubicBezTo>
                  <a:pt x="1758" y="2174"/>
                  <a:pt x="1759" y="2182"/>
                  <a:pt x="1759" y="2190"/>
                </a:cubicBezTo>
                <a:cubicBezTo>
                  <a:pt x="2355" y="1513"/>
                  <a:pt x="3228" y="1085"/>
                  <a:pt x="4200" y="1085"/>
                </a:cubicBezTo>
                <a:cubicBezTo>
                  <a:pt x="5173" y="1085"/>
                  <a:pt x="6046" y="1513"/>
                  <a:pt x="6642" y="2190"/>
                </a:cubicBezTo>
                <a:moveTo>
                  <a:pt x="6610" y="1768"/>
                </a:moveTo>
                <a:cubicBezTo>
                  <a:pt x="5980" y="1177"/>
                  <a:pt x="5133" y="814"/>
                  <a:pt x="4200" y="814"/>
                </a:cubicBezTo>
                <a:cubicBezTo>
                  <a:pt x="3268" y="814"/>
                  <a:pt x="2421" y="1177"/>
                  <a:pt x="1791" y="1768"/>
                </a:cubicBezTo>
                <a:moveTo>
                  <a:pt x="1791" y="1768"/>
                </a:moveTo>
                <a:cubicBezTo>
                  <a:pt x="2421" y="1177"/>
                  <a:pt x="3268" y="814"/>
                  <a:pt x="4200" y="814"/>
                </a:cubicBezTo>
                <a:cubicBezTo>
                  <a:pt x="5133" y="814"/>
                  <a:pt x="5980" y="1177"/>
                  <a:pt x="6610" y="1768"/>
                </a:cubicBezTo>
                <a:moveTo>
                  <a:pt x="6488" y="1310"/>
                </a:moveTo>
                <a:cubicBezTo>
                  <a:pt x="5852" y="829"/>
                  <a:pt x="5060" y="543"/>
                  <a:pt x="4200" y="543"/>
                </a:cubicBezTo>
                <a:cubicBezTo>
                  <a:pt x="3341" y="543"/>
                  <a:pt x="2549" y="829"/>
                  <a:pt x="1913" y="1310"/>
                </a:cubicBezTo>
                <a:moveTo>
                  <a:pt x="1913" y="1310"/>
                </a:moveTo>
                <a:cubicBezTo>
                  <a:pt x="2549" y="829"/>
                  <a:pt x="3341" y="543"/>
                  <a:pt x="4200" y="543"/>
                </a:cubicBezTo>
                <a:cubicBezTo>
                  <a:pt x="5060" y="543"/>
                  <a:pt x="5852" y="829"/>
                  <a:pt x="6488" y="1310"/>
                </a:cubicBezTo>
                <a:moveTo>
                  <a:pt x="6238" y="819"/>
                </a:moveTo>
                <a:cubicBezTo>
                  <a:pt x="5638" y="472"/>
                  <a:pt x="4943" y="272"/>
                  <a:pt x="4200" y="272"/>
                </a:cubicBezTo>
                <a:cubicBezTo>
                  <a:pt x="3458" y="272"/>
                  <a:pt x="2762" y="472"/>
                  <a:pt x="2163" y="819"/>
                </a:cubicBezTo>
                <a:moveTo>
                  <a:pt x="2163" y="819"/>
                </a:moveTo>
                <a:cubicBezTo>
                  <a:pt x="2762" y="472"/>
                  <a:pt x="3458" y="272"/>
                  <a:pt x="4200" y="272"/>
                </a:cubicBezTo>
                <a:cubicBezTo>
                  <a:pt x="4943" y="272"/>
                  <a:pt x="5638" y="472"/>
                  <a:pt x="6238" y="819"/>
                </a:cubicBezTo>
                <a:moveTo>
                  <a:pt x="5768" y="294"/>
                </a:moveTo>
                <a:cubicBezTo>
                  <a:pt x="5282" y="105"/>
                  <a:pt x="4753" y="0"/>
                  <a:pt x="4200" y="0"/>
                </a:cubicBezTo>
                <a:cubicBezTo>
                  <a:pt x="3647" y="0"/>
                  <a:pt x="3119" y="105"/>
                  <a:pt x="2633" y="294"/>
                </a:cubicBezTo>
                <a:moveTo>
                  <a:pt x="2633" y="294"/>
                </a:moveTo>
                <a:cubicBezTo>
                  <a:pt x="3119" y="105"/>
                  <a:pt x="3647" y="0"/>
                  <a:pt x="4200" y="0"/>
                </a:cubicBezTo>
                <a:cubicBezTo>
                  <a:pt x="4753" y="0"/>
                  <a:pt x="5282" y="105"/>
                  <a:pt x="5768" y="294"/>
                </a:cubicBezTo>
                <a:moveTo>
                  <a:pt x="1882" y="2934"/>
                </a:moveTo>
                <a:cubicBezTo>
                  <a:pt x="1820" y="3036"/>
                  <a:pt x="1765" y="3143"/>
                  <a:pt x="1717" y="3253"/>
                </a:cubicBezTo>
                <a:cubicBezTo>
                  <a:pt x="1765" y="3363"/>
                  <a:pt x="1820" y="3470"/>
                  <a:pt x="1882" y="3572"/>
                </a:cubicBezTo>
                <a:moveTo>
                  <a:pt x="6811" y="2897"/>
                </a:moveTo>
                <a:cubicBezTo>
                  <a:pt x="6750" y="2787"/>
                  <a:pt x="6682" y="2681"/>
                  <a:pt x="6607" y="2579"/>
                </a:cubicBezTo>
                <a:moveTo>
                  <a:pt x="6519" y="2934"/>
                </a:moveTo>
                <a:cubicBezTo>
                  <a:pt x="6581" y="3036"/>
                  <a:pt x="6636" y="3143"/>
                  <a:pt x="6684" y="3253"/>
                </a:cubicBezTo>
                <a:moveTo>
                  <a:pt x="1794" y="2579"/>
                </a:moveTo>
                <a:cubicBezTo>
                  <a:pt x="1719" y="2681"/>
                  <a:pt x="1651" y="2787"/>
                  <a:pt x="1590" y="2897"/>
                </a:cubicBezTo>
                <a:moveTo>
                  <a:pt x="1717" y="3253"/>
                </a:moveTo>
                <a:cubicBezTo>
                  <a:pt x="1765" y="3143"/>
                  <a:pt x="1820" y="3036"/>
                  <a:pt x="1882" y="2934"/>
                </a:cubicBezTo>
                <a:moveTo>
                  <a:pt x="6607" y="2579"/>
                </a:moveTo>
                <a:cubicBezTo>
                  <a:pt x="6682" y="2681"/>
                  <a:pt x="6750" y="2787"/>
                  <a:pt x="6811" y="2897"/>
                </a:cubicBezTo>
                <a:moveTo>
                  <a:pt x="1512" y="2507"/>
                </a:moveTo>
                <a:cubicBezTo>
                  <a:pt x="1588" y="2397"/>
                  <a:pt x="1670" y="2291"/>
                  <a:pt x="1759" y="2190"/>
                </a:cubicBezTo>
                <a:cubicBezTo>
                  <a:pt x="1759" y="2182"/>
                  <a:pt x="1758" y="2174"/>
                  <a:pt x="1758" y="2166"/>
                </a:cubicBezTo>
                <a:moveTo>
                  <a:pt x="6642" y="2190"/>
                </a:moveTo>
                <a:cubicBezTo>
                  <a:pt x="6731" y="2291"/>
                  <a:pt x="6813" y="2397"/>
                  <a:pt x="6889" y="2507"/>
                </a:cubicBezTo>
                <a:moveTo>
                  <a:pt x="6610" y="1768"/>
                </a:moveTo>
                <a:cubicBezTo>
                  <a:pt x="6716" y="1867"/>
                  <a:pt x="6816" y="1973"/>
                  <a:pt x="6909" y="2084"/>
                </a:cubicBezTo>
                <a:moveTo>
                  <a:pt x="6858" y="1630"/>
                </a:moveTo>
                <a:cubicBezTo>
                  <a:pt x="6742" y="1516"/>
                  <a:pt x="6618" y="1409"/>
                  <a:pt x="6488" y="1310"/>
                </a:cubicBezTo>
                <a:moveTo>
                  <a:pt x="1492" y="2084"/>
                </a:moveTo>
                <a:cubicBezTo>
                  <a:pt x="1585" y="1973"/>
                  <a:pt x="1685" y="1867"/>
                  <a:pt x="1791" y="1768"/>
                </a:cubicBezTo>
                <a:moveTo>
                  <a:pt x="1913" y="1310"/>
                </a:moveTo>
                <a:cubicBezTo>
                  <a:pt x="1783" y="1409"/>
                  <a:pt x="1659" y="1516"/>
                  <a:pt x="1543" y="1630"/>
                </a:cubicBezTo>
                <a:moveTo>
                  <a:pt x="6488" y="1310"/>
                </a:moveTo>
                <a:cubicBezTo>
                  <a:pt x="6618" y="1409"/>
                  <a:pt x="6742" y="1516"/>
                  <a:pt x="6858" y="1630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9EC11CF2-C254-4892-9180-6F189F8D2C4F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5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3051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1">
    <p:bg>
      <p:bgPr>
        <a:solidFill>
          <a:srgbClr val="FBC9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 5"/>
          <p:cNvSpPr>
            <a:spLocks noEditPoints="1"/>
          </p:cNvSpPr>
          <p:nvPr/>
        </p:nvSpPr>
        <p:spPr bwMode="auto">
          <a:xfrm>
            <a:off x="4700587" y="-96838"/>
            <a:ext cx="5149850" cy="3983038"/>
          </a:xfrm>
          <a:custGeom>
            <a:avLst/>
            <a:gdLst>
              <a:gd name="T0" fmla="*/ 1980 w 8401"/>
              <a:gd name="T1" fmla="*/ 612 h 6505"/>
              <a:gd name="T2" fmla="*/ 4200 w 8401"/>
              <a:gd name="T3" fmla="*/ 5149 h 6505"/>
              <a:gd name="T4" fmla="*/ 6811 w 8401"/>
              <a:gd name="T5" fmla="*/ 3609 h 6505"/>
              <a:gd name="T6" fmla="*/ 1590 w 8401"/>
              <a:gd name="T7" fmla="*/ 2897 h 6505"/>
              <a:gd name="T8" fmla="*/ 1590 w 8401"/>
              <a:gd name="T9" fmla="*/ 2897 h 6505"/>
              <a:gd name="T10" fmla="*/ 7100 w 8401"/>
              <a:gd name="T11" fmla="*/ 2864 h 6505"/>
              <a:gd name="T12" fmla="*/ 7169 w 8401"/>
              <a:gd name="T13" fmla="*/ 2441 h 6505"/>
              <a:gd name="T14" fmla="*/ 7176 w 8401"/>
              <a:gd name="T15" fmla="*/ 1984 h 6505"/>
              <a:gd name="T16" fmla="*/ 1692 w 8401"/>
              <a:gd name="T17" fmla="*/ 1139 h 6505"/>
              <a:gd name="T18" fmla="*/ 1794 w 8401"/>
              <a:gd name="T19" fmla="*/ 3927 h 6505"/>
              <a:gd name="T20" fmla="*/ 1759 w 8401"/>
              <a:gd name="T21" fmla="*/ 4315 h 6505"/>
              <a:gd name="T22" fmla="*/ 7100 w 8401"/>
              <a:gd name="T23" fmla="*/ 3642 h 6505"/>
              <a:gd name="T24" fmla="*/ 7169 w 8401"/>
              <a:gd name="T25" fmla="*/ 2441 h 6505"/>
              <a:gd name="T26" fmla="*/ 7176 w 8401"/>
              <a:gd name="T27" fmla="*/ 1984 h 6505"/>
              <a:gd name="T28" fmla="*/ 961 w 8401"/>
              <a:gd name="T29" fmla="*/ 1882 h 6505"/>
              <a:gd name="T30" fmla="*/ 1048 w 8401"/>
              <a:gd name="T31" fmla="*/ 1360 h 6505"/>
              <a:gd name="T32" fmla="*/ 4200 w 8401"/>
              <a:gd name="T33" fmla="*/ 5692 h 6505"/>
              <a:gd name="T34" fmla="*/ 6909 w 8401"/>
              <a:gd name="T35" fmla="*/ 4421 h 6505"/>
              <a:gd name="T36" fmla="*/ 1791 w 8401"/>
              <a:gd name="T37" fmla="*/ 4738 h 6505"/>
              <a:gd name="T38" fmla="*/ 1492 w 8401"/>
              <a:gd name="T39" fmla="*/ 4421 h 6505"/>
              <a:gd name="T40" fmla="*/ 1134 w 8401"/>
              <a:gd name="T41" fmla="*/ 3253 h 6505"/>
              <a:gd name="T42" fmla="*/ 1015 w 8401"/>
              <a:gd name="T43" fmla="*/ 2830 h 6505"/>
              <a:gd name="T44" fmla="*/ 954 w 8401"/>
              <a:gd name="T45" fmla="*/ 2371 h 6505"/>
              <a:gd name="T46" fmla="*/ 698 w 8401"/>
              <a:gd name="T47" fmla="*/ 1781 h 6505"/>
              <a:gd name="T48" fmla="*/ 4200 w 8401"/>
              <a:gd name="T49" fmla="*/ 5963 h 6505"/>
              <a:gd name="T50" fmla="*/ 1492 w 8401"/>
              <a:gd name="T51" fmla="*/ 4421 h 6505"/>
              <a:gd name="T52" fmla="*/ 1543 w 8401"/>
              <a:gd name="T53" fmla="*/ 4876 h 6505"/>
              <a:gd name="T54" fmla="*/ 1225 w 8401"/>
              <a:gd name="T55" fmla="*/ 4521 h 6505"/>
              <a:gd name="T56" fmla="*/ 954 w 8401"/>
              <a:gd name="T57" fmla="*/ 4135 h 6505"/>
              <a:gd name="T58" fmla="*/ 7668 w 8401"/>
              <a:gd name="T59" fmla="*/ 2795 h 6505"/>
              <a:gd name="T60" fmla="*/ 452 w 8401"/>
              <a:gd name="T61" fmla="*/ 2761 h 6505"/>
              <a:gd name="T62" fmla="*/ 7949 w 8401"/>
              <a:gd name="T63" fmla="*/ 2761 h 6505"/>
              <a:gd name="T64" fmla="*/ 1543 w 8401"/>
              <a:gd name="T65" fmla="*/ 4876 h 6505"/>
              <a:gd name="T66" fmla="*/ 6858 w 8401"/>
              <a:gd name="T67" fmla="*/ 4876 h 6505"/>
              <a:gd name="T68" fmla="*/ 7176 w 8401"/>
              <a:gd name="T69" fmla="*/ 4521 h 6505"/>
              <a:gd name="T70" fmla="*/ 961 w 8401"/>
              <a:gd name="T71" fmla="*/ 4624 h 6505"/>
              <a:gd name="T72" fmla="*/ 563 w 8401"/>
              <a:gd name="T73" fmla="*/ 3253 h 6505"/>
              <a:gd name="T74" fmla="*/ 7949 w 8401"/>
              <a:gd name="T75" fmla="*/ 3745 h 6505"/>
              <a:gd name="T76" fmla="*/ 452 w 8401"/>
              <a:gd name="T77" fmla="*/ 2761 h 6505"/>
              <a:gd name="T78" fmla="*/ 2163 w 8401"/>
              <a:gd name="T79" fmla="*/ 5686 h 6505"/>
              <a:gd name="T80" fmla="*/ 6238 w 8401"/>
              <a:gd name="T81" fmla="*/ 5686 h 6505"/>
              <a:gd name="T82" fmla="*/ 6709 w 8401"/>
              <a:gd name="T83" fmla="*/ 5367 h 6505"/>
              <a:gd name="T84" fmla="*/ 7105 w 8401"/>
              <a:gd name="T85" fmla="*/ 5012 h 6505"/>
              <a:gd name="T86" fmla="*/ 7721 w 8401"/>
              <a:gd name="T87" fmla="*/ 4201 h 6505"/>
              <a:gd name="T88" fmla="*/ 8228 w 8401"/>
              <a:gd name="T89" fmla="*/ 3779 h 6505"/>
              <a:gd name="T90" fmla="*/ 8228 w 8401"/>
              <a:gd name="T91" fmla="*/ 3779 h 6505"/>
              <a:gd name="T92" fmla="*/ 2633 w 8401"/>
              <a:gd name="T93" fmla="*/ 6212 h 6505"/>
              <a:gd name="T94" fmla="*/ 1469 w 8401"/>
              <a:gd name="T95" fmla="*/ 5537 h 6505"/>
              <a:gd name="T96" fmla="*/ 3929 w 8401"/>
              <a:gd name="T97" fmla="*/ 3253 h 6505"/>
              <a:gd name="T98" fmla="*/ 5014 w 8401"/>
              <a:gd name="T99" fmla="*/ 3253 h 6505"/>
              <a:gd name="T100" fmla="*/ 4200 w 8401"/>
              <a:gd name="T101" fmla="*/ 2168 h 6505"/>
              <a:gd name="T102" fmla="*/ 4200 w 8401"/>
              <a:gd name="T103" fmla="*/ 1897 h 6505"/>
              <a:gd name="T104" fmla="*/ 6607 w 8401"/>
              <a:gd name="T105" fmla="*/ 2579 h 6505"/>
              <a:gd name="T106" fmla="*/ 4200 w 8401"/>
              <a:gd name="T107" fmla="*/ 814 h 6505"/>
              <a:gd name="T108" fmla="*/ 1913 w 8401"/>
              <a:gd name="T109" fmla="*/ 1310 h 6505"/>
              <a:gd name="T110" fmla="*/ 6238 w 8401"/>
              <a:gd name="T111" fmla="*/ 819 h 6505"/>
              <a:gd name="T112" fmla="*/ 1717 w 8401"/>
              <a:gd name="T113" fmla="*/ 3253 h 6505"/>
              <a:gd name="T114" fmla="*/ 1717 w 8401"/>
              <a:gd name="T115" fmla="*/ 3253 h 6505"/>
              <a:gd name="T116" fmla="*/ 6889 w 8401"/>
              <a:gd name="T117" fmla="*/ 2507 h 6505"/>
              <a:gd name="T118" fmla="*/ 1543 w 8401"/>
              <a:gd name="T119" fmla="*/ 1630 h 6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01" h="6505">
                <a:moveTo>
                  <a:pt x="6709" y="1139"/>
                </a:moveTo>
                <a:cubicBezTo>
                  <a:pt x="6560" y="1022"/>
                  <a:pt x="6403" y="915"/>
                  <a:pt x="6238" y="819"/>
                </a:cubicBezTo>
                <a:moveTo>
                  <a:pt x="2163" y="819"/>
                </a:moveTo>
                <a:cubicBezTo>
                  <a:pt x="1998" y="915"/>
                  <a:pt x="1841" y="1022"/>
                  <a:pt x="1692" y="1139"/>
                </a:cubicBezTo>
                <a:moveTo>
                  <a:pt x="1543" y="1630"/>
                </a:moveTo>
                <a:cubicBezTo>
                  <a:pt x="1659" y="1516"/>
                  <a:pt x="1783" y="1409"/>
                  <a:pt x="1913" y="1310"/>
                </a:cubicBezTo>
                <a:moveTo>
                  <a:pt x="2633" y="294"/>
                </a:moveTo>
                <a:cubicBezTo>
                  <a:pt x="2406" y="382"/>
                  <a:pt x="2187" y="488"/>
                  <a:pt x="1980" y="612"/>
                </a:cubicBezTo>
                <a:moveTo>
                  <a:pt x="1692" y="1139"/>
                </a:moveTo>
                <a:cubicBezTo>
                  <a:pt x="1841" y="1022"/>
                  <a:pt x="1998" y="915"/>
                  <a:pt x="2163" y="819"/>
                </a:cubicBezTo>
                <a:moveTo>
                  <a:pt x="6421" y="612"/>
                </a:moveTo>
                <a:cubicBezTo>
                  <a:pt x="6214" y="488"/>
                  <a:pt x="5995" y="382"/>
                  <a:pt x="5768" y="294"/>
                </a:cubicBezTo>
                <a:moveTo>
                  <a:pt x="6238" y="819"/>
                </a:moveTo>
                <a:cubicBezTo>
                  <a:pt x="6403" y="915"/>
                  <a:pt x="6560" y="1022"/>
                  <a:pt x="6709" y="1139"/>
                </a:cubicBezTo>
                <a:moveTo>
                  <a:pt x="1794" y="3927"/>
                </a:moveTo>
                <a:cubicBezTo>
                  <a:pt x="2336" y="4668"/>
                  <a:pt x="3212" y="5149"/>
                  <a:pt x="4200" y="5149"/>
                </a:cubicBezTo>
                <a:cubicBezTo>
                  <a:pt x="5189" y="5149"/>
                  <a:pt x="6065" y="4668"/>
                  <a:pt x="6607" y="3927"/>
                </a:cubicBezTo>
                <a:moveTo>
                  <a:pt x="6519" y="3572"/>
                </a:moveTo>
                <a:cubicBezTo>
                  <a:pt x="6044" y="4355"/>
                  <a:pt x="5183" y="4878"/>
                  <a:pt x="4200" y="4878"/>
                </a:cubicBezTo>
                <a:cubicBezTo>
                  <a:pt x="3218" y="4878"/>
                  <a:pt x="2357" y="4355"/>
                  <a:pt x="1882" y="3572"/>
                </a:cubicBezTo>
                <a:moveTo>
                  <a:pt x="6684" y="3253"/>
                </a:moveTo>
                <a:cubicBezTo>
                  <a:pt x="6636" y="3363"/>
                  <a:pt x="6581" y="3470"/>
                  <a:pt x="6519" y="3572"/>
                </a:cubicBezTo>
                <a:moveTo>
                  <a:pt x="6607" y="3927"/>
                </a:moveTo>
                <a:cubicBezTo>
                  <a:pt x="6682" y="3825"/>
                  <a:pt x="6750" y="3719"/>
                  <a:pt x="6811" y="3609"/>
                </a:cubicBezTo>
                <a:moveTo>
                  <a:pt x="1882" y="3572"/>
                </a:moveTo>
                <a:cubicBezTo>
                  <a:pt x="1820" y="3470"/>
                  <a:pt x="1765" y="3363"/>
                  <a:pt x="1717" y="3253"/>
                </a:cubicBezTo>
                <a:moveTo>
                  <a:pt x="1590" y="3609"/>
                </a:moveTo>
                <a:cubicBezTo>
                  <a:pt x="1651" y="3719"/>
                  <a:pt x="1719" y="3825"/>
                  <a:pt x="1794" y="3927"/>
                </a:cubicBezTo>
                <a:moveTo>
                  <a:pt x="6811" y="3609"/>
                </a:moveTo>
                <a:cubicBezTo>
                  <a:pt x="6874" y="3494"/>
                  <a:pt x="6929" y="3376"/>
                  <a:pt x="6977" y="3253"/>
                </a:cubicBezTo>
                <a:cubicBezTo>
                  <a:pt x="6929" y="3130"/>
                  <a:pt x="6874" y="3011"/>
                  <a:pt x="6811" y="2897"/>
                </a:cubicBezTo>
                <a:moveTo>
                  <a:pt x="1590" y="2897"/>
                </a:moveTo>
                <a:cubicBezTo>
                  <a:pt x="1527" y="3011"/>
                  <a:pt x="1472" y="3130"/>
                  <a:pt x="1424" y="3253"/>
                </a:cubicBezTo>
                <a:cubicBezTo>
                  <a:pt x="1472" y="3376"/>
                  <a:pt x="1527" y="3494"/>
                  <a:pt x="1590" y="3609"/>
                </a:cubicBezTo>
                <a:moveTo>
                  <a:pt x="7100" y="2864"/>
                </a:moveTo>
                <a:cubicBezTo>
                  <a:pt x="7037" y="2740"/>
                  <a:pt x="6967" y="2621"/>
                  <a:pt x="6889" y="2507"/>
                </a:cubicBezTo>
                <a:moveTo>
                  <a:pt x="6811" y="2897"/>
                </a:moveTo>
                <a:cubicBezTo>
                  <a:pt x="6874" y="3011"/>
                  <a:pt x="6929" y="3130"/>
                  <a:pt x="6977" y="3253"/>
                </a:cubicBezTo>
                <a:moveTo>
                  <a:pt x="1424" y="3253"/>
                </a:moveTo>
                <a:cubicBezTo>
                  <a:pt x="1472" y="3130"/>
                  <a:pt x="1527" y="3011"/>
                  <a:pt x="1590" y="2897"/>
                </a:cubicBezTo>
                <a:moveTo>
                  <a:pt x="1512" y="2507"/>
                </a:moveTo>
                <a:cubicBezTo>
                  <a:pt x="1434" y="2621"/>
                  <a:pt x="1364" y="2740"/>
                  <a:pt x="1301" y="2864"/>
                </a:cubicBezTo>
                <a:moveTo>
                  <a:pt x="1492" y="2084"/>
                </a:moveTo>
                <a:cubicBezTo>
                  <a:pt x="1398" y="2197"/>
                  <a:pt x="1311" y="2317"/>
                  <a:pt x="1232" y="2441"/>
                </a:cubicBezTo>
                <a:moveTo>
                  <a:pt x="1301" y="2864"/>
                </a:moveTo>
                <a:cubicBezTo>
                  <a:pt x="1364" y="2740"/>
                  <a:pt x="1434" y="2621"/>
                  <a:pt x="1512" y="2507"/>
                </a:cubicBezTo>
                <a:moveTo>
                  <a:pt x="6889" y="2507"/>
                </a:moveTo>
                <a:cubicBezTo>
                  <a:pt x="6967" y="2621"/>
                  <a:pt x="7037" y="2740"/>
                  <a:pt x="7100" y="2864"/>
                </a:cubicBezTo>
                <a:moveTo>
                  <a:pt x="7169" y="2441"/>
                </a:moveTo>
                <a:cubicBezTo>
                  <a:pt x="7090" y="2317"/>
                  <a:pt x="7003" y="2197"/>
                  <a:pt x="6909" y="2084"/>
                </a:cubicBezTo>
                <a:moveTo>
                  <a:pt x="1543" y="1630"/>
                </a:moveTo>
                <a:cubicBezTo>
                  <a:pt x="1430" y="1741"/>
                  <a:pt x="1323" y="1860"/>
                  <a:pt x="1225" y="1984"/>
                </a:cubicBezTo>
                <a:moveTo>
                  <a:pt x="1232" y="2441"/>
                </a:moveTo>
                <a:cubicBezTo>
                  <a:pt x="1311" y="2317"/>
                  <a:pt x="1398" y="2197"/>
                  <a:pt x="1492" y="2084"/>
                </a:cubicBezTo>
                <a:moveTo>
                  <a:pt x="6909" y="2084"/>
                </a:moveTo>
                <a:cubicBezTo>
                  <a:pt x="7003" y="2197"/>
                  <a:pt x="7090" y="2317"/>
                  <a:pt x="7169" y="2441"/>
                </a:cubicBezTo>
                <a:moveTo>
                  <a:pt x="7176" y="1984"/>
                </a:moveTo>
                <a:cubicBezTo>
                  <a:pt x="7078" y="1860"/>
                  <a:pt x="6971" y="1741"/>
                  <a:pt x="6858" y="1630"/>
                </a:cubicBezTo>
                <a:moveTo>
                  <a:pt x="1225" y="1984"/>
                </a:moveTo>
                <a:cubicBezTo>
                  <a:pt x="1323" y="1860"/>
                  <a:pt x="1430" y="1741"/>
                  <a:pt x="1543" y="1630"/>
                </a:cubicBezTo>
                <a:moveTo>
                  <a:pt x="1692" y="1139"/>
                </a:moveTo>
                <a:cubicBezTo>
                  <a:pt x="1552" y="1249"/>
                  <a:pt x="1420" y="1367"/>
                  <a:pt x="1296" y="1494"/>
                </a:cubicBezTo>
                <a:moveTo>
                  <a:pt x="6858" y="1630"/>
                </a:moveTo>
                <a:cubicBezTo>
                  <a:pt x="6971" y="1741"/>
                  <a:pt x="7078" y="1860"/>
                  <a:pt x="7176" y="1984"/>
                </a:cubicBezTo>
                <a:moveTo>
                  <a:pt x="7105" y="1494"/>
                </a:moveTo>
                <a:cubicBezTo>
                  <a:pt x="6981" y="1367"/>
                  <a:pt x="6849" y="1249"/>
                  <a:pt x="6709" y="1139"/>
                </a:cubicBezTo>
                <a:moveTo>
                  <a:pt x="6932" y="969"/>
                </a:moveTo>
                <a:cubicBezTo>
                  <a:pt x="6770" y="838"/>
                  <a:pt x="6600" y="719"/>
                  <a:pt x="6421" y="612"/>
                </a:cubicBezTo>
                <a:moveTo>
                  <a:pt x="6709" y="1139"/>
                </a:moveTo>
                <a:cubicBezTo>
                  <a:pt x="6849" y="1249"/>
                  <a:pt x="6981" y="1367"/>
                  <a:pt x="7105" y="1494"/>
                </a:cubicBezTo>
                <a:moveTo>
                  <a:pt x="1296" y="1494"/>
                </a:moveTo>
                <a:cubicBezTo>
                  <a:pt x="1420" y="1367"/>
                  <a:pt x="1552" y="1249"/>
                  <a:pt x="1692" y="1139"/>
                </a:cubicBezTo>
                <a:moveTo>
                  <a:pt x="1980" y="612"/>
                </a:moveTo>
                <a:cubicBezTo>
                  <a:pt x="1801" y="719"/>
                  <a:pt x="1630" y="838"/>
                  <a:pt x="1469" y="969"/>
                </a:cubicBezTo>
                <a:moveTo>
                  <a:pt x="1759" y="4315"/>
                </a:moveTo>
                <a:cubicBezTo>
                  <a:pt x="2355" y="4993"/>
                  <a:pt x="3228" y="5420"/>
                  <a:pt x="4200" y="5420"/>
                </a:cubicBezTo>
                <a:cubicBezTo>
                  <a:pt x="5173" y="5420"/>
                  <a:pt x="6046" y="4993"/>
                  <a:pt x="6642" y="4315"/>
                </a:cubicBezTo>
                <a:moveTo>
                  <a:pt x="6607" y="3927"/>
                </a:moveTo>
                <a:cubicBezTo>
                  <a:pt x="6065" y="4668"/>
                  <a:pt x="5189" y="5149"/>
                  <a:pt x="4200" y="5149"/>
                </a:cubicBezTo>
                <a:cubicBezTo>
                  <a:pt x="3212" y="5149"/>
                  <a:pt x="2336" y="4668"/>
                  <a:pt x="1794" y="3927"/>
                </a:cubicBezTo>
                <a:moveTo>
                  <a:pt x="6811" y="3609"/>
                </a:moveTo>
                <a:cubicBezTo>
                  <a:pt x="6750" y="3719"/>
                  <a:pt x="6682" y="3825"/>
                  <a:pt x="6607" y="3927"/>
                </a:cubicBezTo>
                <a:moveTo>
                  <a:pt x="6642" y="4315"/>
                </a:moveTo>
                <a:cubicBezTo>
                  <a:pt x="6731" y="4215"/>
                  <a:pt x="6813" y="4109"/>
                  <a:pt x="6889" y="3998"/>
                </a:cubicBezTo>
                <a:moveTo>
                  <a:pt x="1794" y="3927"/>
                </a:moveTo>
                <a:cubicBezTo>
                  <a:pt x="1719" y="3825"/>
                  <a:pt x="1651" y="3719"/>
                  <a:pt x="1590" y="3609"/>
                </a:cubicBezTo>
                <a:moveTo>
                  <a:pt x="1512" y="3998"/>
                </a:moveTo>
                <a:cubicBezTo>
                  <a:pt x="1588" y="4109"/>
                  <a:pt x="1670" y="4215"/>
                  <a:pt x="1759" y="4315"/>
                </a:cubicBezTo>
                <a:moveTo>
                  <a:pt x="1301" y="3642"/>
                </a:moveTo>
                <a:cubicBezTo>
                  <a:pt x="1364" y="3765"/>
                  <a:pt x="1434" y="3885"/>
                  <a:pt x="1512" y="3998"/>
                </a:cubicBezTo>
                <a:moveTo>
                  <a:pt x="1590" y="3609"/>
                </a:moveTo>
                <a:cubicBezTo>
                  <a:pt x="1527" y="3494"/>
                  <a:pt x="1472" y="3376"/>
                  <a:pt x="1424" y="3253"/>
                </a:cubicBezTo>
                <a:moveTo>
                  <a:pt x="6977" y="3253"/>
                </a:moveTo>
                <a:cubicBezTo>
                  <a:pt x="6929" y="3376"/>
                  <a:pt x="6874" y="3494"/>
                  <a:pt x="6811" y="3609"/>
                </a:cubicBezTo>
                <a:moveTo>
                  <a:pt x="6889" y="3998"/>
                </a:moveTo>
                <a:cubicBezTo>
                  <a:pt x="6967" y="3885"/>
                  <a:pt x="7037" y="3765"/>
                  <a:pt x="7100" y="3642"/>
                </a:cubicBezTo>
                <a:moveTo>
                  <a:pt x="1301" y="2864"/>
                </a:moveTo>
                <a:cubicBezTo>
                  <a:pt x="1237" y="2989"/>
                  <a:pt x="1181" y="3119"/>
                  <a:pt x="1134" y="3253"/>
                </a:cubicBezTo>
                <a:cubicBezTo>
                  <a:pt x="1181" y="3387"/>
                  <a:pt x="1237" y="3517"/>
                  <a:pt x="1301" y="3642"/>
                </a:cubicBezTo>
                <a:moveTo>
                  <a:pt x="7100" y="3642"/>
                </a:moveTo>
                <a:cubicBezTo>
                  <a:pt x="7163" y="3517"/>
                  <a:pt x="7220" y="3387"/>
                  <a:pt x="7267" y="3253"/>
                </a:cubicBezTo>
                <a:cubicBezTo>
                  <a:pt x="7220" y="3119"/>
                  <a:pt x="7163" y="2989"/>
                  <a:pt x="7100" y="2864"/>
                </a:cubicBezTo>
                <a:moveTo>
                  <a:pt x="7386" y="2830"/>
                </a:moveTo>
                <a:cubicBezTo>
                  <a:pt x="7322" y="2695"/>
                  <a:pt x="7249" y="2565"/>
                  <a:pt x="7169" y="2441"/>
                </a:cubicBezTo>
                <a:moveTo>
                  <a:pt x="7100" y="2864"/>
                </a:moveTo>
                <a:cubicBezTo>
                  <a:pt x="7163" y="2989"/>
                  <a:pt x="7220" y="3119"/>
                  <a:pt x="7267" y="3253"/>
                </a:cubicBezTo>
                <a:moveTo>
                  <a:pt x="1134" y="3253"/>
                </a:moveTo>
                <a:cubicBezTo>
                  <a:pt x="1181" y="3119"/>
                  <a:pt x="1237" y="2989"/>
                  <a:pt x="1301" y="2864"/>
                </a:cubicBezTo>
                <a:moveTo>
                  <a:pt x="1232" y="2441"/>
                </a:moveTo>
                <a:cubicBezTo>
                  <a:pt x="1152" y="2565"/>
                  <a:pt x="1079" y="2695"/>
                  <a:pt x="1015" y="2830"/>
                </a:cubicBezTo>
                <a:moveTo>
                  <a:pt x="7447" y="2371"/>
                </a:moveTo>
                <a:cubicBezTo>
                  <a:pt x="7365" y="2236"/>
                  <a:pt x="7274" y="2107"/>
                  <a:pt x="7176" y="1984"/>
                </a:cubicBezTo>
                <a:moveTo>
                  <a:pt x="7169" y="2441"/>
                </a:moveTo>
                <a:cubicBezTo>
                  <a:pt x="7249" y="2565"/>
                  <a:pt x="7322" y="2695"/>
                  <a:pt x="7386" y="2830"/>
                </a:cubicBezTo>
                <a:moveTo>
                  <a:pt x="1225" y="1984"/>
                </a:moveTo>
                <a:cubicBezTo>
                  <a:pt x="1127" y="2107"/>
                  <a:pt x="1036" y="2236"/>
                  <a:pt x="954" y="2371"/>
                </a:cubicBezTo>
                <a:moveTo>
                  <a:pt x="1015" y="2830"/>
                </a:moveTo>
                <a:cubicBezTo>
                  <a:pt x="1079" y="2695"/>
                  <a:pt x="1152" y="2565"/>
                  <a:pt x="1232" y="2441"/>
                </a:cubicBezTo>
                <a:moveTo>
                  <a:pt x="1296" y="1494"/>
                </a:moveTo>
                <a:cubicBezTo>
                  <a:pt x="1176" y="1616"/>
                  <a:pt x="1064" y="1745"/>
                  <a:pt x="961" y="1882"/>
                </a:cubicBezTo>
                <a:moveTo>
                  <a:pt x="954" y="2371"/>
                </a:moveTo>
                <a:cubicBezTo>
                  <a:pt x="1036" y="2236"/>
                  <a:pt x="1127" y="2107"/>
                  <a:pt x="1225" y="1984"/>
                </a:cubicBezTo>
                <a:moveTo>
                  <a:pt x="7176" y="1984"/>
                </a:moveTo>
                <a:cubicBezTo>
                  <a:pt x="7274" y="2107"/>
                  <a:pt x="7365" y="2236"/>
                  <a:pt x="7447" y="2371"/>
                </a:cubicBezTo>
                <a:moveTo>
                  <a:pt x="7440" y="1882"/>
                </a:moveTo>
                <a:cubicBezTo>
                  <a:pt x="7337" y="1745"/>
                  <a:pt x="7225" y="1616"/>
                  <a:pt x="7105" y="1494"/>
                </a:cubicBezTo>
                <a:moveTo>
                  <a:pt x="1469" y="969"/>
                </a:moveTo>
                <a:cubicBezTo>
                  <a:pt x="1320" y="1090"/>
                  <a:pt x="1180" y="1221"/>
                  <a:pt x="1048" y="1360"/>
                </a:cubicBezTo>
                <a:moveTo>
                  <a:pt x="961" y="1882"/>
                </a:moveTo>
                <a:cubicBezTo>
                  <a:pt x="1064" y="1745"/>
                  <a:pt x="1176" y="1616"/>
                  <a:pt x="1296" y="1494"/>
                </a:cubicBezTo>
                <a:moveTo>
                  <a:pt x="7353" y="1360"/>
                </a:moveTo>
                <a:cubicBezTo>
                  <a:pt x="7221" y="1221"/>
                  <a:pt x="7081" y="1090"/>
                  <a:pt x="6932" y="969"/>
                </a:cubicBezTo>
                <a:moveTo>
                  <a:pt x="7105" y="1494"/>
                </a:moveTo>
                <a:cubicBezTo>
                  <a:pt x="7225" y="1616"/>
                  <a:pt x="7337" y="1745"/>
                  <a:pt x="7440" y="1882"/>
                </a:cubicBezTo>
                <a:moveTo>
                  <a:pt x="1791" y="4738"/>
                </a:moveTo>
                <a:cubicBezTo>
                  <a:pt x="2421" y="5329"/>
                  <a:pt x="3268" y="5692"/>
                  <a:pt x="4200" y="5692"/>
                </a:cubicBezTo>
                <a:cubicBezTo>
                  <a:pt x="5133" y="5692"/>
                  <a:pt x="5980" y="5329"/>
                  <a:pt x="6610" y="4738"/>
                </a:cubicBezTo>
                <a:moveTo>
                  <a:pt x="6643" y="4339"/>
                </a:moveTo>
                <a:cubicBezTo>
                  <a:pt x="6643" y="4331"/>
                  <a:pt x="6642" y="4323"/>
                  <a:pt x="6642" y="4315"/>
                </a:cubicBezTo>
                <a:cubicBezTo>
                  <a:pt x="6046" y="4993"/>
                  <a:pt x="5173" y="5420"/>
                  <a:pt x="4200" y="5420"/>
                </a:cubicBezTo>
                <a:cubicBezTo>
                  <a:pt x="3228" y="5420"/>
                  <a:pt x="2355" y="4993"/>
                  <a:pt x="1759" y="4315"/>
                </a:cubicBezTo>
                <a:cubicBezTo>
                  <a:pt x="1759" y="4323"/>
                  <a:pt x="1758" y="4331"/>
                  <a:pt x="1758" y="4339"/>
                </a:cubicBezTo>
                <a:moveTo>
                  <a:pt x="6610" y="4738"/>
                </a:moveTo>
                <a:cubicBezTo>
                  <a:pt x="6716" y="4639"/>
                  <a:pt x="6816" y="4533"/>
                  <a:pt x="6909" y="4421"/>
                </a:cubicBezTo>
                <a:moveTo>
                  <a:pt x="6889" y="3998"/>
                </a:moveTo>
                <a:cubicBezTo>
                  <a:pt x="6813" y="4109"/>
                  <a:pt x="6731" y="4215"/>
                  <a:pt x="6642" y="4315"/>
                </a:cubicBezTo>
                <a:cubicBezTo>
                  <a:pt x="6642" y="4323"/>
                  <a:pt x="6643" y="4331"/>
                  <a:pt x="6643" y="4339"/>
                </a:cubicBezTo>
                <a:moveTo>
                  <a:pt x="1758" y="4339"/>
                </a:moveTo>
                <a:cubicBezTo>
                  <a:pt x="1758" y="4331"/>
                  <a:pt x="1759" y="4323"/>
                  <a:pt x="1759" y="4315"/>
                </a:cubicBezTo>
                <a:cubicBezTo>
                  <a:pt x="1670" y="4215"/>
                  <a:pt x="1588" y="4109"/>
                  <a:pt x="1512" y="3998"/>
                </a:cubicBezTo>
                <a:moveTo>
                  <a:pt x="1492" y="4421"/>
                </a:moveTo>
                <a:cubicBezTo>
                  <a:pt x="1585" y="4533"/>
                  <a:pt x="1685" y="4639"/>
                  <a:pt x="1791" y="4738"/>
                </a:cubicBezTo>
                <a:moveTo>
                  <a:pt x="7100" y="3642"/>
                </a:moveTo>
                <a:cubicBezTo>
                  <a:pt x="7037" y="3765"/>
                  <a:pt x="6967" y="3885"/>
                  <a:pt x="6889" y="3998"/>
                </a:cubicBezTo>
                <a:moveTo>
                  <a:pt x="6909" y="4421"/>
                </a:moveTo>
                <a:cubicBezTo>
                  <a:pt x="7003" y="4308"/>
                  <a:pt x="7090" y="4189"/>
                  <a:pt x="7169" y="4065"/>
                </a:cubicBezTo>
                <a:moveTo>
                  <a:pt x="1512" y="3998"/>
                </a:moveTo>
                <a:cubicBezTo>
                  <a:pt x="1434" y="3885"/>
                  <a:pt x="1364" y="3765"/>
                  <a:pt x="1301" y="3642"/>
                </a:cubicBezTo>
                <a:moveTo>
                  <a:pt x="1232" y="4065"/>
                </a:moveTo>
                <a:cubicBezTo>
                  <a:pt x="1311" y="4189"/>
                  <a:pt x="1398" y="4308"/>
                  <a:pt x="1492" y="4421"/>
                </a:cubicBezTo>
                <a:moveTo>
                  <a:pt x="7267" y="3253"/>
                </a:moveTo>
                <a:cubicBezTo>
                  <a:pt x="7220" y="3387"/>
                  <a:pt x="7163" y="3517"/>
                  <a:pt x="7100" y="3642"/>
                </a:cubicBezTo>
                <a:moveTo>
                  <a:pt x="7169" y="4065"/>
                </a:moveTo>
                <a:cubicBezTo>
                  <a:pt x="7249" y="3940"/>
                  <a:pt x="7322" y="3811"/>
                  <a:pt x="7386" y="3676"/>
                </a:cubicBezTo>
                <a:moveTo>
                  <a:pt x="1015" y="3676"/>
                </a:moveTo>
                <a:cubicBezTo>
                  <a:pt x="1079" y="3811"/>
                  <a:pt x="1152" y="3940"/>
                  <a:pt x="1232" y="4065"/>
                </a:cubicBezTo>
                <a:moveTo>
                  <a:pt x="1301" y="3642"/>
                </a:moveTo>
                <a:cubicBezTo>
                  <a:pt x="1237" y="3517"/>
                  <a:pt x="1181" y="3387"/>
                  <a:pt x="1134" y="3253"/>
                </a:cubicBezTo>
                <a:moveTo>
                  <a:pt x="7386" y="3676"/>
                </a:moveTo>
                <a:cubicBezTo>
                  <a:pt x="7450" y="3540"/>
                  <a:pt x="7506" y="3398"/>
                  <a:pt x="7553" y="3253"/>
                </a:cubicBezTo>
                <a:cubicBezTo>
                  <a:pt x="7506" y="3108"/>
                  <a:pt x="7450" y="2966"/>
                  <a:pt x="7386" y="2830"/>
                </a:cubicBezTo>
                <a:moveTo>
                  <a:pt x="1015" y="2830"/>
                </a:moveTo>
                <a:cubicBezTo>
                  <a:pt x="950" y="2966"/>
                  <a:pt x="895" y="3108"/>
                  <a:pt x="847" y="3253"/>
                </a:cubicBezTo>
                <a:cubicBezTo>
                  <a:pt x="895" y="3398"/>
                  <a:pt x="950" y="3540"/>
                  <a:pt x="1015" y="3676"/>
                </a:cubicBezTo>
                <a:moveTo>
                  <a:pt x="847" y="3253"/>
                </a:moveTo>
                <a:cubicBezTo>
                  <a:pt x="895" y="3108"/>
                  <a:pt x="950" y="2966"/>
                  <a:pt x="1015" y="2830"/>
                </a:cubicBezTo>
                <a:moveTo>
                  <a:pt x="954" y="2371"/>
                </a:moveTo>
                <a:cubicBezTo>
                  <a:pt x="872" y="2507"/>
                  <a:pt x="798" y="2649"/>
                  <a:pt x="733" y="2795"/>
                </a:cubicBezTo>
                <a:moveTo>
                  <a:pt x="7668" y="2795"/>
                </a:moveTo>
                <a:cubicBezTo>
                  <a:pt x="7602" y="2649"/>
                  <a:pt x="7529" y="2507"/>
                  <a:pt x="7447" y="2371"/>
                </a:cubicBezTo>
                <a:moveTo>
                  <a:pt x="7386" y="2830"/>
                </a:moveTo>
                <a:cubicBezTo>
                  <a:pt x="7450" y="2966"/>
                  <a:pt x="7506" y="3108"/>
                  <a:pt x="7553" y="3253"/>
                </a:cubicBezTo>
                <a:moveTo>
                  <a:pt x="733" y="2795"/>
                </a:moveTo>
                <a:cubicBezTo>
                  <a:pt x="798" y="2649"/>
                  <a:pt x="872" y="2507"/>
                  <a:pt x="954" y="2371"/>
                </a:cubicBezTo>
                <a:moveTo>
                  <a:pt x="961" y="1882"/>
                </a:moveTo>
                <a:cubicBezTo>
                  <a:pt x="858" y="2016"/>
                  <a:pt x="765" y="2158"/>
                  <a:pt x="680" y="2305"/>
                </a:cubicBezTo>
                <a:moveTo>
                  <a:pt x="7447" y="2371"/>
                </a:moveTo>
                <a:cubicBezTo>
                  <a:pt x="7529" y="2507"/>
                  <a:pt x="7602" y="2649"/>
                  <a:pt x="7668" y="2795"/>
                </a:cubicBezTo>
                <a:moveTo>
                  <a:pt x="7721" y="2305"/>
                </a:moveTo>
                <a:cubicBezTo>
                  <a:pt x="7636" y="2158"/>
                  <a:pt x="7543" y="2016"/>
                  <a:pt x="7440" y="1882"/>
                </a:cubicBezTo>
                <a:moveTo>
                  <a:pt x="1048" y="1360"/>
                </a:moveTo>
                <a:cubicBezTo>
                  <a:pt x="923" y="1493"/>
                  <a:pt x="805" y="1633"/>
                  <a:pt x="698" y="1781"/>
                </a:cubicBezTo>
                <a:moveTo>
                  <a:pt x="680" y="2305"/>
                </a:moveTo>
                <a:cubicBezTo>
                  <a:pt x="765" y="2158"/>
                  <a:pt x="858" y="2016"/>
                  <a:pt x="961" y="1882"/>
                </a:cubicBezTo>
                <a:moveTo>
                  <a:pt x="7703" y="1781"/>
                </a:moveTo>
                <a:cubicBezTo>
                  <a:pt x="7595" y="1633"/>
                  <a:pt x="7478" y="1493"/>
                  <a:pt x="7353" y="1360"/>
                </a:cubicBezTo>
                <a:moveTo>
                  <a:pt x="7440" y="1882"/>
                </a:moveTo>
                <a:cubicBezTo>
                  <a:pt x="7543" y="2016"/>
                  <a:pt x="7636" y="2158"/>
                  <a:pt x="7721" y="2305"/>
                </a:cubicBezTo>
                <a:moveTo>
                  <a:pt x="1913" y="5196"/>
                </a:moveTo>
                <a:cubicBezTo>
                  <a:pt x="2549" y="5677"/>
                  <a:pt x="3341" y="5963"/>
                  <a:pt x="4200" y="5963"/>
                </a:cubicBezTo>
                <a:cubicBezTo>
                  <a:pt x="5060" y="5963"/>
                  <a:pt x="5852" y="5677"/>
                  <a:pt x="6488" y="5196"/>
                </a:cubicBezTo>
                <a:moveTo>
                  <a:pt x="6610" y="4738"/>
                </a:moveTo>
                <a:cubicBezTo>
                  <a:pt x="5980" y="5329"/>
                  <a:pt x="5133" y="5692"/>
                  <a:pt x="4200" y="5692"/>
                </a:cubicBezTo>
                <a:cubicBezTo>
                  <a:pt x="3268" y="5692"/>
                  <a:pt x="2421" y="5329"/>
                  <a:pt x="1791" y="4738"/>
                </a:cubicBezTo>
                <a:moveTo>
                  <a:pt x="1543" y="4876"/>
                </a:moveTo>
                <a:cubicBezTo>
                  <a:pt x="1659" y="4990"/>
                  <a:pt x="1783" y="5097"/>
                  <a:pt x="1913" y="5196"/>
                </a:cubicBezTo>
                <a:moveTo>
                  <a:pt x="1791" y="4738"/>
                </a:moveTo>
                <a:cubicBezTo>
                  <a:pt x="1685" y="4639"/>
                  <a:pt x="1585" y="4533"/>
                  <a:pt x="1492" y="4421"/>
                </a:cubicBezTo>
                <a:moveTo>
                  <a:pt x="6909" y="4421"/>
                </a:moveTo>
                <a:cubicBezTo>
                  <a:pt x="6816" y="4533"/>
                  <a:pt x="6716" y="4639"/>
                  <a:pt x="6610" y="4738"/>
                </a:cubicBezTo>
                <a:moveTo>
                  <a:pt x="6488" y="5196"/>
                </a:moveTo>
                <a:cubicBezTo>
                  <a:pt x="6618" y="5097"/>
                  <a:pt x="6742" y="4990"/>
                  <a:pt x="6858" y="4876"/>
                </a:cubicBezTo>
                <a:moveTo>
                  <a:pt x="7169" y="4065"/>
                </a:moveTo>
                <a:cubicBezTo>
                  <a:pt x="7090" y="4189"/>
                  <a:pt x="7003" y="4308"/>
                  <a:pt x="6909" y="4421"/>
                </a:cubicBezTo>
                <a:moveTo>
                  <a:pt x="1225" y="4521"/>
                </a:moveTo>
                <a:cubicBezTo>
                  <a:pt x="1323" y="4646"/>
                  <a:pt x="1430" y="4765"/>
                  <a:pt x="1543" y="4876"/>
                </a:cubicBezTo>
                <a:moveTo>
                  <a:pt x="1492" y="4421"/>
                </a:moveTo>
                <a:cubicBezTo>
                  <a:pt x="1398" y="4308"/>
                  <a:pt x="1311" y="4189"/>
                  <a:pt x="1232" y="4065"/>
                </a:cubicBezTo>
                <a:moveTo>
                  <a:pt x="7386" y="3676"/>
                </a:moveTo>
                <a:cubicBezTo>
                  <a:pt x="7322" y="3811"/>
                  <a:pt x="7249" y="3940"/>
                  <a:pt x="7169" y="4065"/>
                </a:cubicBezTo>
                <a:moveTo>
                  <a:pt x="7176" y="4521"/>
                </a:moveTo>
                <a:cubicBezTo>
                  <a:pt x="7274" y="4398"/>
                  <a:pt x="7365" y="4270"/>
                  <a:pt x="7447" y="4135"/>
                </a:cubicBezTo>
                <a:moveTo>
                  <a:pt x="954" y="4135"/>
                </a:moveTo>
                <a:cubicBezTo>
                  <a:pt x="1036" y="4270"/>
                  <a:pt x="1127" y="4398"/>
                  <a:pt x="1225" y="4521"/>
                </a:cubicBezTo>
                <a:moveTo>
                  <a:pt x="1232" y="4065"/>
                </a:moveTo>
                <a:cubicBezTo>
                  <a:pt x="1152" y="3940"/>
                  <a:pt x="1079" y="3811"/>
                  <a:pt x="1015" y="3676"/>
                </a:cubicBezTo>
                <a:moveTo>
                  <a:pt x="7553" y="3253"/>
                </a:moveTo>
                <a:cubicBezTo>
                  <a:pt x="7506" y="3398"/>
                  <a:pt x="7450" y="3540"/>
                  <a:pt x="7386" y="3676"/>
                </a:cubicBezTo>
                <a:moveTo>
                  <a:pt x="7447" y="4135"/>
                </a:moveTo>
                <a:cubicBezTo>
                  <a:pt x="7529" y="3999"/>
                  <a:pt x="7602" y="3857"/>
                  <a:pt x="7668" y="3710"/>
                </a:cubicBezTo>
                <a:moveTo>
                  <a:pt x="733" y="3710"/>
                </a:moveTo>
                <a:cubicBezTo>
                  <a:pt x="798" y="3857"/>
                  <a:pt x="872" y="3999"/>
                  <a:pt x="954" y="4135"/>
                </a:cubicBezTo>
                <a:moveTo>
                  <a:pt x="1015" y="3676"/>
                </a:moveTo>
                <a:cubicBezTo>
                  <a:pt x="950" y="3540"/>
                  <a:pt x="895" y="3398"/>
                  <a:pt x="847" y="3253"/>
                </a:cubicBezTo>
                <a:moveTo>
                  <a:pt x="733" y="2795"/>
                </a:moveTo>
                <a:cubicBezTo>
                  <a:pt x="667" y="2943"/>
                  <a:pt x="610" y="3096"/>
                  <a:pt x="563" y="3253"/>
                </a:cubicBezTo>
                <a:cubicBezTo>
                  <a:pt x="610" y="3410"/>
                  <a:pt x="667" y="3563"/>
                  <a:pt x="733" y="3710"/>
                </a:cubicBezTo>
                <a:moveTo>
                  <a:pt x="7668" y="3710"/>
                </a:moveTo>
                <a:cubicBezTo>
                  <a:pt x="7734" y="3563"/>
                  <a:pt x="7791" y="3410"/>
                  <a:pt x="7837" y="3253"/>
                </a:cubicBezTo>
                <a:cubicBezTo>
                  <a:pt x="7791" y="3096"/>
                  <a:pt x="7734" y="2943"/>
                  <a:pt x="7668" y="2795"/>
                </a:cubicBezTo>
                <a:moveTo>
                  <a:pt x="7949" y="2761"/>
                </a:moveTo>
                <a:cubicBezTo>
                  <a:pt x="7883" y="2603"/>
                  <a:pt x="7806" y="2451"/>
                  <a:pt x="7721" y="2305"/>
                </a:cubicBezTo>
                <a:moveTo>
                  <a:pt x="7668" y="2795"/>
                </a:moveTo>
                <a:cubicBezTo>
                  <a:pt x="7734" y="2943"/>
                  <a:pt x="7791" y="3096"/>
                  <a:pt x="7837" y="3253"/>
                </a:cubicBezTo>
                <a:moveTo>
                  <a:pt x="563" y="3253"/>
                </a:moveTo>
                <a:cubicBezTo>
                  <a:pt x="610" y="3096"/>
                  <a:pt x="667" y="2943"/>
                  <a:pt x="733" y="2795"/>
                </a:cubicBezTo>
                <a:moveTo>
                  <a:pt x="680" y="2305"/>
                </a:moveTo>
                <a:cubicBezTo>
                  <a:pt x="595" y="2451"/>
                  <a:pt x="518" y="2603"/>
                  <a:pt x="452" y="2761"/>
                </a:cubicBezTo>
                <a:moveTo>
                  <a:pt x="698" y="1781"/>
                </a:moveTo>
                <a:cubicBezTo>
                  <a:pt x="592" y="1926"/>
                  <a:pt x="494" y="2078"/>
                  <a:pt x="407" y="2235"/>
                </a:cubicBezTo>
                <a:moveTo>
                  <a:pt x="452" y="2761"/>
                </a:moveTo>
                <a:cubicBezTo>
                  <a:pt x="518" y="2603"/>
                  <a:pt x="595" y="2451"/>
                  <a:pt x="680" y="2305"/>
                </a:cubicBezTo>
                <a:moveTo>
                  <a:pt x="7994" y="2235"/>
                </a:moveTo>
                <a:cubicBezTo>
                  <a:pt x="7907" y="2078"/>
                  <a:pt x="7809" y="1926"/>
                  <a:pt x="7703" y="1781"/>
                </a:cubicBezTo>
                <a:moveTo>
                  <a:pt x="7721" y="2305"/>
                </a:moveTo>
                <a:cubicBezTo>
                  <a:pt x="7806" y="2451"/>
                  <a:pt x="7883" y="2603"/>
                  <a:pt x="7949" y="2761"/>
                </a:cubicBezTo>
                <a:moveTo>
                  <a:pt x="2163" y="5686"/>
                </a:moveTo>
                <a:cubicBezTo>
                  <a:pt x="2763" y="6034"/>
                  <a:pt x="3458" y="6234"/>
                  <a:pt x="4200" y="6234"/>
                </a:cubicBezTo>
                <a:cubicBezTo>
                  <a:pt x="4943" y="6234"/>
                  <a:pt x="5638" y="6034"/>
                  <a:pt x="6238" y="5686"/>
                </a:cubicBezTo>
                <a:moveTo>
                  <a:pt x="6488" y="5196"/>
                </a:moveTo>
                <a:cubicBezTo>
                  <a:pt x="5852" y="5677"/>
                  <a:pt x="5060" y="5963"/>
                  <a:pt x="4200" y="5963"/>
                </a:cubicBezTo>
                <a:cubicBezTo>
                  <a:pt x="3341" y="5963"/>
                  <a:pt x="2549" y="5677"/>
                  <a:pt x="1913" y="5196"/>
                </a:cubicBezTo>
                <a:moveTo>
                  <a:pt x="1913" y="5196"/>
                </a:moveTo>
                <a:cubicBezTo>
                  <a:pt x="1783" y="5097"/>
                  <a:pt x="1659" y="4990"/>
                  <a:pt x="1543" y="4876"/>
                </a:cubicBezTo>
                <a:moveTo>
                  <a:pt x="1692" y="5367"/>
                </a:moveTo>
                <a:cubicBezTo>
                  <a:pt x="1841" y="5484"/>
                  <a:pt x="1998" y="5591"/>
                  <a:pt x="2163" y="5686"/>
                </a:cubicBezTo>
                <a:moveTo>
                  <a:pt x="6858" y="4876"/>
                </a:moveTo>
                <a:cubicBezTo>
                  <a:pt x="6742" y="4990"/>
                  <a:pt x="6618" y="5097"/>
                  <a:pt x="6488" y="5196"/>
                </a:cubicBezTo>
                <a:moveTo>
                  <a:pt x="6238" y="5686"/>
                </a:moveTo>
                <a:cubicBezTo>
                  <a:pt x="6403" y="5591"/>
                  <a:pt x="6560" y="5484"/>
                  <a:pt x="6709" y="5367"/>
                </a:cubicBezTo>
                <a:moveTo>
                  <a:pt x="7176" y="4521"/>
                </a:moveTo>
                <a:cubicBezTo>
                  <a:pt x="7078" y="4646"/>
                  <a:pt x="6971" y="4765"/>
                  <a:pt x="6858" y="4876"/>
                </a:cubicBezTo>
                <a:moveTo>
                  <a:pt x="6709" y="5367"/>
                </a:moveTo>
                <a:cubicBezTo>
                  <a:pt x="6849" y="5257"/>
                  <a:pt x="6981" y="5139"/>
                  <a:pt x="7105" y="5012"/>
                </a:cubicBezTo>
                <a:moveTo>
                  <a:pt x="1543" y="4876"/>
                </a:moveTo>
                <a:cubicBezTo>
                  <a:pt x="1430" y="4765"/>
                  <a:pt x="1323" y="4646"/>
                  <a:pt x="1225" y="4521"/>
                </a:cubicBezTo>
                <a:moveTo>
                  <a:pt x="1296" y="5012"/>
                </a:moveTo>
                <a:cubicBezTo>
                  <a:pt x="1420" y="5139"/>
                  <a:pt x="1552" y="5257"/>
                  <a:pt x="1692" y="5367"/>
                </a:cubicBezTo>
                <a:moveTo>
                  <a:pt x="7447" y="4135"/>
                </a:moveTo>
                <a:cubicBezTo>
                  <a:pt x="7365" y="4270"/>
                  <a:pt x="7274" y="4398"/>
                  <a:pt x="7176" y="4521"/>
                </a:cubicBezTo>
                <a:moveTo>
                  <a:pt x="7105" y="5012"/>
                </a:moveTo>
                <a:cubicBezTo>
                  <a:pt x="7225" y="4890"/>
                  <a:pt x="7337" y="4761"/>
                  <a:pt x="7440" y="4624"/>
                </a:cubicBezTo>
                <a:moveTo>
                  <a:pt x="961" y="4624"/>
                </a:moveTo>
                <a:cubicBezTo>
                  <a:pt x="1064" y="4761"/>
                  <a:pt x="1176" y="4890"/>
                  <a:pt x="1296" y="5012"/>
                </a:cubicBezTo>
                <a:moveTo>
                  <a:pt x="954" y="4135"/>
                </a:moveTo>
                <a:cubicBezTo>
                  <a:pt x="872" y="3999"/>
                  <a:pt x="798" y="3857"/>
                  <a:pt x="733" y="3710"/>
                </a:cubicBezTo>
                <a:moveTo>
                  <a:pt x="680" y="4201"/>
                </a:moveTo>
                <a:cubicBezTo>
                  <a:pt x="765" y="4348"/>
                  <a:pt x="858" y="4490"/>
                  <a:pt x="961" y="4624"/>
                </a:cubicBezTo>
                <a:moveTo>
                  <a:pt x="7668" y="3710"/>
                </a:moveTo>
                <a:cubicBezTo>
                  <a:pt x="7602" y="3857"/>
                  <a:pt x="7529" y="3999"/>
                  <a:pt x="7447" y="4135"/>
                </a:cubicBezTo>
                <a:moveTo>
                  <a:pt x="7440" y="4624"/>
                </a:moveTo>
                <a:cubicBezTo>
                  <a:pt x="7543" y="4490"/>
                  <a:pt x="7636" y="4348"/>
                  <a:pt x="7721" y="4201"/>
                </a:cubicBezTo>
                <a:moveTo>
                  <a:pt x="452" y="3745"/>
                </a:moveTo>
                <a:cubicBezTo>
                  <a:pt x="518" y="3903"/>
                  <a:pt x="595" y="4055"/>
                  <a:pt x="680" y="4201"/>
                </a:cubicBezTo>
                <a:moveTo>
                  <a:pt x="733" y="3710"/>
                </a:moveTo>
                <a:cubicBezTo>
                  <a:pt x="667" y="3563"/>
                  <a:pt x="610" y="3410"/>
                  <a:pt x="563" y="3253"/>
                </a:cubicBezTo>
                <a:moveTo>
                  <a:pt x="7837" y="3253"/>
                </a:moveTo>
                <a:cubicBezTo>
                  <a:pt x="7791" y="3410"/>
                  <a:pt x="7734" y="3563"/>
                  <a:pt x="7668" y="3710"/>
                </a:cubicBezTo>
                <a:moveTo>
                  <a:pt x="7721" y="4201"/>
                </a:moveTo>
                <a:cubicBezTo>
                  <a:pt x="7806" y="4055"/>
                  <a:pt x="7883" y="3903"/>
                  <a:pt x="7949" y="3745"/>
                </a:cubicBezTo>
                <a:moveTo>
                  <a:pt x="452" y="2761"/>
                </a:moveTo>
                <a:cubicBezTo>
                  <a:pt x="384" y="2920"/>
                  <a:pt x="328" y="3084"/>
                  <a:pt x="282" y="3253"/>
                </a:cubicBezTo>
                <a:cubicBezTo>
                  <a:pt x="328" y="3422"/>
                  <a:pt x="384" y="3586"/>
                  <a:pt x="452" y="3745"/>
                </a:cubicBezTo>
                <a:moveTo>
                  <a:pt x="7949" y="3745"/>
                </a:moveTo>
                <a:cubicBezTo>
                  <a:pt x="8016" y="3586"/>
                  <a:pt x="8073" y="3422"/>
                  <a:pt x="8119" y="3253"/>
                </a:cubicBezTo>
                <a:cubicBezTo>
                  <a:pt x="8073" y="3084"/>
                  <a:pt x="8016" y="2920"/>
                  <a:pt x="7949" y="2761"/>
                </a:cubicBezTo>
                <a:moveTo>
                  <a:pt x="8228" y="2727"/>
                </a:moveTo>
                <a:cubicBezTo>
                  <a:pt x="8160" y="2558"/>
                  <a:pt x="8082" y="2393"/>
                  <a:pt x="7994" y="2235"/>
                </a:cubicBezTo>
                <a:moveTo>
                  <a:pt x="7949" y="2761"/>
                </a:moveTo>
                <a:cubicBezTo>
                  <a:pt x="8016" y="2920"/>
                  <a:pt x="8073" y="3084"/>
                  <a:pt x="8119" y="3253"/>
                </a:cubicBezTo>
                <a:moveTo>
                  <a:pt x="282" y="3253"/>
                </a:moveTo>
                <a:cubicBezTo>
                  <a:pt x="328" y="3084"/>
                  <a:pt x="384" y="2920"/>
                  <a:pt x="452" y="2761"/>
                </a:cubicBezTo>
                <a:moveTo>
                  <a:pt x="407" y="2235"/>
                </a:moveTo>
                <a:cubicBezTo>
                  <a:pt x="319" y="2393"/>
                  <a:pt x="241" y="2558"/>
                  <a:pt x="173" y="2727"/>
                </a:cubicBezTo>
                <a:moveTo>
                  <a:pt x="2633" y="6212"/>
                </a:moveTo>
                <a:cubicBezTo>
                  <a:pt x="3119" y="6401"/>
                  <a:pt x="3647" y="6505"/>
                  <a:pt x="4200" y="6505"/>
                </a:cubicBezTo>
                <a:cubicBezTo>
                  <a:pt x="4753" y="6505"/>
                  <a:pt x="5282" y="6401"/>
                  <a:pt x="5768" y="6212"/>
                </a:cubicBezTo>
                <a:moveTo>
                  <a:pt x="6238" y="5686"/>
                </a:moveTo>
                <a:cubicBezTo>
                  <a:pt x="5638" y="6034"/>
                  <a:pt x="4943" y="6234"/>
                  <a:pt x="4200" y="6234"/>
                </a:cubicBezTo>
                <a:cubicBezTo>
                  <a:pt x="3458" y="6234"/>
                  <a:pt x="2763" y="6034"/>
                  <a:pt x="2163" y="5686"/>
                </a:cubicBezTo>
                <a:moveTo>
                  <a:pt x="1980" y="5894"/>
                </a:moveTo>
                <a:cubicBezTo>
                  <a:pt x="2187" y="6018"/>
                  <a:pt x="2406" y="6124"/>
                  <a:pt x="2633" y="6212"/>
                </a:cubicBezTo>
                <a:moveTo>
                  <a:pt x="2163" y="5686"/>
                </a:moveTo>
                <a:cubicBezTo>
                  <a:pt x="1998" y="5591"/>
                  <a:pt x="1841" y="5484"/>
                  <a:pt x="1692" y="5367"/>
                </a:cubicBezTo>
                <a:moveTo>
                  <a:pt x="5768" y="6212"/>
                </a:moveTo>
                <a:cubicBezTo>
                  <a:pt x="5995" y="6124"/>
                  <a:pt x="6214" y="6018"/>
                  <a:pt x="6421" y="5894"/>
                </a:cubicBezTo>
                <a:moveTo>
                  <a:pt x="6709" y="5367"/>
                </a:moveTo>
                <a:cubicBezTo>
                  <a:pt x="6560" y="5484"/>
                  <a:pt x="6403" y="5591"/>
                  <a:pt x="6238" y="5686"/>
                </a:cubicBezTo>
                <a:moveTo>
                  <a:pt x="1469" y="5537"/>
                </a:moveTo>
                <a:cubicBezTo>
                  <a:pt x="1630" y="5668"/>
                  <a:pt x="1801" y="5787"/>
                  <a:pt x="1980" y="5894"/>
                </a:cubicBezTo>
                <a:moveTo>
                  <a:pt x="1692" y="5367"/>
                </a:moveTo>
                <a:cubicBezTo>
                  <a:pt x="1552" y="5257"/>
                  <a:pt x="1420" y="5139"/>
                  <a:pt x="1296" y="5012"/>
                </a:cubicBezTo>
                <a:moveTo>
                  <a:pt x="6421" y="5894"/>
                </a:moveTo>
                <a:cubicBezTo>
                  <a:pt x="6600" y="5787"/>
                  <a:pt x="6770" y="5668"/>
                  <a:pt x="6932" y="5537"/>
                </a:cubicBezTo>
                <a:moveTo>
                  <a:pt x="7105" y="5012"/>
                </a:moveTo>
                <a:cubicBezTo>
                  <a:pt x="6981" y="5139"/>
                  <a:pt x="6849" y="5257"/>
                  <a:pt x="6709" y="5367"/>
                </a:cubicBezTo>
                <a:moveTo>
                  <a:pt x="1048" y="5145"/>
                </a:moveTo>
                <a:cubicBezTo>
                  <a:pt x="1180" y="5285"/>
                  <a:pt x="1320" y="5416"/>
                  <a:pt x="1469" y="5537"/>
                </a:cubicBezTo>
                <a:moveTo>
                  <a:pt x="1296" y="5012"/>
                </a:moveTo>
                <a:cubicBezTo>
                  <a:pt x="1176" y="4890"/>
                  <a:pt x="1064" y="4761"/>
                  <a:pt x="961" y="4624"/>
                </a:cubicBezTo>
                <a:moveTo>
                  <a:pt x="6932" y="5537"/>
                </a:moveTo>
                <a:cubicBezTo>
                  <a:pt x="7081" y="5416"/>
                  <a:pt x="7221" y="5285"/>
                  <a:pt x="7353" y="5145"/>
                </a:cubicBezTo>
                <a:moveTo>
                  <a:pt x="7440" y="4624"/>
                </a:moveTo>
                <a:cubicBezTo>
                  <a:pt x="7337" y="4761"/>
                  <a:pt x="7225" y="4890"/>
                  <a:pt x="7105" y="5012"/>
                </a:cubicBezTo>
                <a:moveTo>
                  <a:pt x="7353" y="5145"/>
                </a:moveTo>
                <a:cubicBezTo>
                  <a:pt x="7478" y="5013"/>
                  <a:pt x="7595" y="4872"/>
                  <a:pt x="7703" y="4725"/>
                </a:cubicBezTo>
                <a:moveTo>
                  <a:pt x="7721" y="4201"/>
                </a:moveTo>
                <a:cubicBezTo>
                  <a:pt x="7636" y="4348"/>
                  <a:pt x="7543" y="4490"/>
                  <a:pt x="7440" y="4624"/>
                </a:cubicBezTo>
                <a:moveTo>
                  <a:pt x="7703" y="4725"/>
                </a:moveTo>
                <a:cubicBezTo>
                  <a:pt x="7809" y="4580"/>
                  <a:pt x="7907" y="4428"/>
                  <a:pt x="7994" y="4270"/>
                </a:cubicBezTo>
                <a:moveTo>
                  <a:pt x="7949" y="3745"/>
                </a:moveTo>
                <a:cubicBezTo>
                  <a:pt x="7883" y="3903"/>
                  <a:pt x="7806" y="4055"/>
                  <a:pt x="7721" y="4201"/>
                </a:cubicBezTo>
                <a:moveTo>
                  <a:pt x="407" y="4270"/>
                </a:moveTo>
                <a:cubicBezTo>
                  <a:pt x="494" y="4428"/>
                  <a:pt x="592" y="4580"/>
                  <a:pt x="698" y="4725"/>
                </a:cubicBezTo>
                <a:moveTo>
                  <a:pt x="680" y="4201"/>
                </a:moveTo>
                <a:cubicBezTo>
                  <a:pt x="595" y="4055"/>
                  <a:pt x="518" y="3903"/>
                  <a:pt x="452" y="3745"/>
                </a:cubicBezTo>
                <a:moveTo>
                  <a:pt x="8119" y="3253"/>
                </a:moveTo>
                <a:cubicBezTo>
                  <a:pt x="8073" y="3422"/>
                  <a:pt x="8016" y="3586"/>
                  <a:pt x="7949" y="3745"/>
                </a:cubicBezTo>
                <a:moveTo>
                  <a:pt x="7994" y="4270"/>
                </a:moveTo>
                <a:cubicBezTo>
                  <a:pt x="8082" y="4112"/>
                  <a:pt x="8160" y="3948"/>
                  <a:pt x="8228" y="3779"/>
                </a:cubicBezTo>
                <a:moveTo>
                  <a:pt x="173" y="3779"/>
                </a:moveTo>
                <a:cubicBezTo>
                  <a:pt x="241" y="3948"/>
                  <a:pt x="319" y="4112"/>
                  <a:pt x="407" y="4270"/>
                </a:cubicBezTo>
                <a:moveTo>
                  <a:pt x="452" y="3745"/>
                </a:moveTo>
                <a:cubicBezTo>
                  <a:pt x="384" y="3586"/>
                  <a:pt x="328" y="3422"/>
                  <a:pt x="282" y="3253"/>
                </a:cubicBezTo>
                <a:moveTo>
                  <a:pt x="173" y="2727"/>
                </a:moveTo>
                <a:cubicBezTo>
                  <a:pt x="105" y="2898"/>
                  <a:pt x="46" y="3073"/>
                  <a:pt x="0" y="3253"/>
                </a:cubicBezTo>
                <a:cubicBezTo>
                  <a:pt x="46" y="3433"/>
                  <a:pt x="105" y="3608"/>
                  <a:pt x="173" y="3779"/>
                </a:cubicBezTo>
                <a:moveTo>
                  <a:pt x="8228" y="3779"/>
                </a:moveTo>
                <a:cubicBezTo>
                  <a:pt x="8296" y="3608"/>
                  <a:pt x="8355" y="3433"/>
                  <a:pt x="8401" y="3253"/>
                </a:cubicBezTo>
                <a:cubicBezTo>
                  <a:pt x="8355" y="3073"/>
                  <a:pt x="8296" y="2898"/>
                  <a:pt x="8228" y="2727"/>
                </a:cubicBezTo>
                <a:moveTo>
                  <a:pt x="5768" y="6212"/>
                </a:moveTo>
                <a:cubicBezTo>
                  <a:pt x="5282" y="6401"/>
                  <a:pt x="4753" y="6505"/>
                  <a:pt x="4200" y="6505"/>
                </a:cubicBezTo>
                <a:cubicBezTo>
                  <a:pt x="3647" y="6505"/>
                  <a:pt x="3119" y="6401"/>
                  <a:pt x="2633" y="6212"/>
                </a:cubicBezTo>
                <a:moveTo>
                  <a:pt x="6421" y="5894"/>
                </a:moveTo>
                <a:cubicBezTo>
                  <a:pt x="6214" y="6018"/>
                  <a:pt x="5995" y="6124"/>
                  <a:pt x="5768" y="6212"/>
                </a:cubicBezTo>
                <a:moveTo>
                  <a:pt x="2633" y="6212"/>
                </a:moveTo>
                <a:cubicBezTo>
                  <a:pt x="2406" y="6124"/>
                  <a:pt x="2187" y="6018"/>
                  <a:pt x="1980" y="5894"/>
                </a:cubicBezTo>
                <a:moveTo>
                  <a:pt x="6932" y="5537"/>
                </a:moveTo>
                <a:cubicBezTo>
                  <a:pt x="6770" y="5668"/>
                  <a:pt x="6600" y="5787"/>
                  <a:pt x="6421" y="5894"/>
                </a:cubicBezTo>
                <a:moveTo>
                  <a:pt x="1980" y="5894"/>
                </a:moveTo>
                <a:cubicBezTo>
                  <a:pt x="1801" y="5787"/>
                  <a:pt x="1630" y="5668"/>
                  <a:pt x="1469" y="5537"/>
                </a:cubicBezTo>
                <a:moveTo>
                  <a:pt x="7353" y="5145"/>
                </a:moveTo>
                <a:cubicBezTo>
                  <a:pt x="7221" y="5285"/>
                  <a:pt x="7081" y="5416"/>
                  <a:pt x="6932" y="5537"/>
                </a:cubicBezTo>
                <a:moveTo>
                  <a:pt x="1469" y="5537"/>
                </a:moveTo>
                <a:cubicBezTo>
                  <a:pt x="1320" y="5416"/>
                  <a:pt x="1180" y="5285"/>
                  <a:pt x="1048" y="5145"/>
                </a:cubicBezTo>
                <a:moveTo>
                  <a:pt x="7703" y="4725"/>
                </a:moveTo>
                <a:cubicBezTo>
                  <a:pt x="7595" y="4872"/>
                  <a:pt x="7478" y="5013"/>
                  <a:pt x="7353" y="5145"/>
                </a:cubicBezTo>
                <a:moveTo>
                  <a:pt x="1048" y="5145"/>
                </a:moveTo>
                <a:cubicBezTo>
                  <a:pt x="923" y="5013"/>
                  <a:pt x="805" y="4872"/>
                  <a:pt x="698" y="4725"/>
                </a:cubicBezTo>
                <a:moveTo>
                  <a:pt x="4472" y="3253"/>
                </a:moveTo>
                <a:cubicBezTo>
                  <a:pt x="4472" y="3403"/>
                  <a:pt x="4350" y="3524"/>
                  <a:pt x="4200" y="3524"/>
                </a:cubicBezTo>
                <a:cubicBezTo>
                  <a:pt x="4051" y="3524"/>
                  <a:pt x="3929" y="3403"/>
                  <a:pt x="3929" y="3253"/>
                </a:cubicBezTo>
                <a:cubicBezTo>
                  <a:pt x="3929" y="3103"/>
                  <a:pt x="4051" y="2982"/>
                  <a:pt x="4200" y="2982"/>
                </a:cubicBezTo>
                <a:cubicBezTo>
                  <a:pt x="4350" y="2982"/>
                  <a:pt x="4472" y="3103"/>
                  <a:pt x="4472" y="3253"/>
                </a:cubicBezTo>
                <a:close/>
                <a:moveTo>
                  <a:pt x="4743" y="3253"/>
                </a:moveTo>
                <a:cubicBezTo>
                  <a:pt x="4743" y="3553"/>
                  <a:pt x="4500" y="3795"/>
                  <a:pt x="4200" y="3795"/>
                </a:cubicBezTo>
                <a:cubicBezTo>
                  <a:pt x="3901" y="3795"/>
                  <a:pt x="3658" y="3553"/>
                  <a:pt x="3658" y="3253"/>
                </a:cubicBezTo>
                <a:cubicBezTo>
                  <a:pt x="3658" y="2953"/>
                  <a:pt x="3901" y="2710"/>
                  <a:pt x="4200" y="2710"/>
                </a:cubicBezTo>
                <a:cubicBezTo>
                  <a:pt x="4500" y="2710"/>
                  <a:pt x="4743" y="2953"/>
                  <a:pt x="4743" y="3253"/>
                </a:cubicBezTo>
                <a:close/>
                <a:moveTo>
                  <a:pt x="5014" y="3253"/>
                </a:moveTo>
                <a:cubicBezTo>
                  <a:pt x="5014" y="3702"/>
                  <a:pt x="4650" y="4067"/>
                  <a:pt x="4200" y="4067"/>
                </a:cubicBezTo>
                <a:cubicBezTo>
                  <a:pt x="3751" y="4067"/>
                  <a:pt x="3387" y="3702"/>
                  <a:pt x="3387" y="3253"/>
                </a:cubicBezTo>
                <a:cubicBezTo>
                  <a:pt x="3387" y="2803"/>
                  <a:pt x="3751" y="2439"/>
                  <a:pt x="4200" y="2439"/>
                </a:cubicBezTo>
                <a:cubicBezTo>
                  <a:pt x="4650" y="2439"/>
                  <a:pt x="5014" y="2803"/>
                  <a:pt x="5014" y="3253"/>
                </a:cubicBezTo>
                <a:close/>
                <a:moveTo>
                  <a:pt x="5285" y="3253"/>
                </a:moveTo>
                <a:cubicBezTo>
                  <a:pt x="5285" y="3852"/>
                  <a:pt x="4800" y="4338"/>
                  <a:pt x="4200" y="4338"/>
                </a:cubicBezTo>
                <a:cubicBezTo>
                  <a:pt x="3601" y="4338"/>
                  <a:pt x="3116" y="3852"/>
                  <a:pt x="3116" y="3253"/>
                </a:cubicBezTo>
                <a:cubicBezTo>
                  <a:pt x="3116" y="2654"/>
                  <a:pt x="3601" y="2168"/>
                  <a:pt x="4200" y="2168"/>
                </a:cubicBezTo>
                <a:cubicBezTo>
                  <a:pt x="4800" y="2168"/>
                  <a:pt x="5285" y="2654"/>
                  <a:pt x="5285" y="3253"/>
                </a:cubicBezTo>
                <a:close/>
                <a:moveTo>
                  <a:pt x="4200" y="4609"/>
                </a:moveTo>
                <a:cubicBezTo>
                  <a:pt x="5159" y="4609"/>
                  <a:pt x="5988" y="4057"/>
                  <a:pt x="6388" y="3253"/>
                </a:cubicBezTo>
                <a:cubicBezTo>
                  <a:pt x="5988" y="2449"/>
                  <a:pt x="5159" y="1897"/>
                  <a:pt x="4200" y="1897"/>
                </a:cubicBezTo>
                <a:cubicBezTo>
                  <a:pt x="3242" y="1897"/>
                  <a:pt x="2413" y="2449"/>
                  <a:pt x="2013" y="3253"/>
                </a:cubicBezTo>
                <a:cubicBezTo>
                  <a:pt x="2413" y="4057"/>
                  <a:pt x="3242" y="4609"/>
                  <a:pt x="4200" y="4609"/>
                </a:cubicBezTo>
                <a:close/>
                <a:moveTo>
                  <a:pt x="2013" y="3253"/>
                </a:moveTo>
                <a:cubicBezTo>
                  <a:pt x="2413" y="2449"/>
                  <a:pt x="3242" y="1897"/>
                  <a:pt x="4200" y="1897"/>
                </a:cubicBezTo>
                <a:cubicBezTo>
                  <a:pt x="5159" y="1897"/>
                  <a:pt x="5988" y="2449"/>
                  <a:pt x="6388" y="3253"/>
                </a:cubicBezTo>
                <a:moveTo>
                  <a:pt x="6519" y="2934"/>
                </a:moveTo>
                <a:cubicBezTo>
                  <a:pt x="6044" y="2151"/>
                  <a:pt x="5183" y="1628"/>
                  <a:pt x="4200" y="1628"/>
                </a:cubicBezTo>
                <a:cubicBezTo>
                  <a:pt x="3218" y="1628"/>
                  <a:pt x="2357" y="2151"/>
                  <a:pt x="1882" y="2934"/>
                </a:cubicBezTo>
                <a:moveTo>
                  <a:pt x="1882" y="2934"/>
                </a:moveTo>
                <a:cubicBezTo>
                  <a:pt x="2357" y="2151"/>
                  <a:pt x="3218" y="1628"/>
                  <a:pt x="4200" y="1628"/>
                </a:cubicBezTo>
                <a:cubicBezTo>
                  <a:pt x="5183" y="1628"/>
                  <a:pt x="6044" y="2151"/>
                  <a:pt x="6519" y="2934"/>
                </a:cubicBezTo>
                <a:moveTo>
                  <a:pt x="6607" y="2579"/>
                </a:moveTo>
                <a:cubicBezTo>
                  <a:pt x="6065" y="1838"/>
                  <a:pt x="5189" y="1357"/>
                  <a:pt x="4200" y="1357"/>
                </a:cubicBezTo>
                <a:cubicBezTo>
                  <a:pt x="3212" y="1357"/>
                  <a:pt x="2336" y="1838"/>
                  <a:pt x="1794" y="2579"/>
                </a:cubicBezTo>
                <a:moveTo>
                  <a:pt x="1758" y="2166"/>
                </a:moveTo>
                <a:cubicBezTo>
                  <a:pt x="1758" y="2174"/>
                  <a:pt x="1759" y="2182"/>
                  <a:pt x="1759" y="2190"/>
                </a:cubicBezTo>
                <a:cubicBezTo>
                  <a:pt x="2355" y="1513"/>
                  <a:pt x="3228" y="1085"/>
                  <a:pt x="4200" y="1085"/>
                </a:cubicBezTo>
                <a:cubicBezTo>
                  <a:pt x="5173" y="1085"/>
                  <a:pt x="6046" y="1513"/>
                  <a:pt x="6642" y="2190"/>
                </a:cubicBezTo>
                <a:moveTo>
                  <a:pt x="6610" y="1768"/>
                </a:moveTo>
                <a:cubicBezTo>
                  <a:pt x="5980" y="1177"/>
                  <a:pt x="5133" y="814"/>
                  <a:pt x="4200" y="814"/>
                </a:cubicBezTo>
                <a:cubicBezTo>
                  <a:pt x="3268" y="814"/>
                  <a:pt x="2421" y="1177"/>
                  <a:pt x="1791" y="1768"/>
                </a:cubicBezTo>
                <a:moveTo>
                  <a:pt x="1791" y="1768"/>
                </a:moveTo>
                <a:cubicBezTo>
                  <a:pt x="2421" y="1177"/>
                  <a:pt x="3268" y="814"/>
                  <a:pt x="4200" y="814"/>
                </a:cubicBezTo>
                <a:cubicBezTo>
                  <a:pt x="5133" y="814"/>
                  <a:pt x="5980" y="1177"/>
                  <a:pt x="6610" y="1768"/>
                </a:cubicBezTo>
                <a:moveTo>
                  <a:pt x="6488" y="1310"/>
                </a:moveTo>
                <a:cubicBezTo>
                  <a:pt x="5852" y="829"/>
                  <a:pt x="5060" y="543"/>
                  <a:pt x="4200" y="543"/>
                </a:cubicBezTo>
                <a:cubicBezTo>
                  <a:pt x="3341" y="543"/>
                  <a:pt x="2549" y="829"/>
                  <a:pt x="1913" y="1310"/>
                </a:cubicBezTo>
                <a:moveTo>
                  <a:pt x="1913" y="1310"/>
                </a:moveTo>
                <a:cubicBezTo>
                  <a:pt x="2549" y="829"/>
                  <a:pt x="3341" y="543"/>
                  <a:pt x="4200" y="543"/>
                </a:cubicBezTo>
                <a:cubicBezTo>
                  <a:pt x="5060" y="543"/>
                  <a:pt x="5852" y="829"/>
                  <a:pt x="6488" y="1310"/>
                </a:cubicBezTo>
                <a:moveTo>
                  <a:pt x="6238" y="819"/>
                </a:moveTo>
                <a:cubicBezTo>
                  <a:pt x="5638" y="472"/>
                  <a:pt x="4943" y="272"/>
                  <a:pt x="4200" y="272"/>
                </a:cubicBezTo>
                <a:cubicBezTo>
                  <a:pt x="3458" y="272"/>
                  <a:pt x="2762" y="472"/>
                  <a:pt x="2163" y="819"/>
                </a:cubicBezTo>
                <a:moveTo>
                  <a:pt x="2163" y="819"/>
                </a:moveTo>
                <a:cubicBezTo>
                  <a:pt x="2762" y="472"/>
                  <a:pt x="3458" y="272"/>
                  <a:pt x="4200" y="272"/>
                </a:cubicBezTo>
                <a:cubicBezTo>
                  <a:pt x="4943" y="272"/>
                  <a:pt x="5638" y="472"/>
                  <a:pt x="6238" y="819"/>
                </a:cubicBezTo>
                <a:moveTo>
                  <a:pt x="5768" y="294"/>
                </a:moveTo>
                <a:cubicBezTo>
                  <a:pt x="5282" y="105"/>
                  <a:pt x="4753" y="0"/>
                  <a:pt x="4200" y="0"/>
                </a:cubicBezTo>
                <a:cubicBezTo>
                  <a:pt x="3647" y="0"/>
                  <a:pt x="3119" y="105"/>
                  <a:pt x="2633" y="294"/>
                </a:cubicBezTo>
                <a:moveTo>
                  <a:pt x="2633" y="294"/>
                </a:moveTo>
                <a:cubicBezTo>
                  <a:pt x="3119" y="105"/>
                  <a:pt x="3647" y="0"/>
                  <a:pt x="4200" y="0"/>
                </a:cubicBezTo>
                <a:cubicBezTo>
                  <a:pt x="4753" y="0"/>
                  <a:pt x="5282" y="105"/>
                  <a:pt x="5768" y="294"/>
                </a:cubicBezTo>
                <a:moveTo>
                  <a:pt x="1882" y="2934"/>
                </a:moveTo>
                <a:cubicBezTo>
                  <a:pt x="1820" y="3036"/>
                  <a:pt x="1765" y="3143"/>
                  <a:pt x="1717" y="3253"/>
                </a:cubicBezTo>
                <a:cubicBezTo>
                  <a:pt x="1765" y="3363"/>
                  <a:pt x="1820" y="3470"/>
                  <a:pt x="1882" y="3572"/>
                </a:cubicBezTo>
                <a:moveTo>
                  <a:pt x="6811" y="2897"/>
                </a:moveTo>
                <a:cubicBezTo>
                  <a:pt x="6750" y="2787"/>
                  <a:pt x="6682" y="2681"/>
                  <a:pt x="6607" y="2579"/>
                </a:cubicBezTo>
                <a:moveTo>
                  <a:pt x="6519" y="2934"/>
                </a:moveTo>
                <a:cubicBezTo>
                  <a:pt x="6581" y="3036"/>
                  <a:pt x="6636" y="3143"/>
                  <a:pt x="6684" y="3253"/>
                </a:cubicBezTo>
                <a:moveTo>
                  <a:pt x="1794" y="2579"/>
                </a:moveTo>
                <a:cubicBezTo>
                  <a:pt x="1719" y="2681"/>
                  <a:pt x="1651" y="2787"/>
                  <a:pt x="1590" y="2897"/>
                </a:cubicBezTo>
                <a:moveTo>
                  <a:pt x="1717" y="3253"/>
                </a:moveTo>
                <a:cubicBezTo>
                  <a:pt x="1765" y="3143"/>
                  <a:pt x="1820" y="3036"/>
                  <a:pt x="1882" y="2934"/>
                </a:cubicBezTo>
                <a:moveTo>
                  <a:pt x="6607" y="2579"/>
                </a:moveTo>
                <a:cubicBezTo>
                  <a:pt x="6682" y="2681"/>
                  <a:pt x="6750" y="2787"/>
                  <a:pt x="6811" y="2897"/>
                </a:cubicBezTo>
                <a:moveTo>
                  <a:pt x="1512" y="2507"/>
                </a:moveTo>
                <a:cubicBezTo>
                  <a:pt x="1588" y="2397"/>
                  <a:pt x="1670" y="2291"/>
                  <a:pt x="1759" y="2190"/>
                </a:cubicBezTo>
                <a:cubicBezTo>
                  <a:pt x="1759" y="2182"/>
                  <a:pt x="1758" y="2174"/>
                  <a:pt x="1758" y="2166"/>
                </a:cubicBezTo>
                <a:moveTo>
                  <a:pt x="6642" y="2190"/>
                </a:moveTo>
                <a:cubicBezTo>
                  <a:pt x="6731" y="2291"/>
                  <a:pt x="6813" y="2397"/>
                  <a:pt x="6889" y="2507"/>
                </a:cubicBezTo>
                <a:moveTo>
                  <a:pt x="6610" y="1768"/>
                </a:moveTo>
                <a:cubicBezTo>
                  <a:pt x="6716" y="1867"/>
                  <a:pt x="6816" y="1973"/>
                  <a:pt x="6909" y="2084"/>
                </a:cubicBezTo>
                <a:moveTo>
                  <a:pt x="6858" y="1630"/>
                </a:moveTo>
                <a:cubicBezTo>
                  <a:pt x="6742" y="1516"/>
                  <a:pt x="6618" y="1409"/>
                  <a:pt x="6488" y="1310"/>
                </a:cubicBezTo>
                <a:moveTo>
                  <a:pt x="1492" y="2084"/>
                </a:moveTo>
                <a:cubicBezTo>
                  <a:pt x="1585" y="1973"/>
                  <a:pt x="1685" y="1867"/>
                  <a:pt x="1791" y="1768"/>
                </a:cubicBezTo>
                <a:moveTo>
                  <a:pt x="1913" y="1310"/>
                </a:moveTo>
                <a:cubicBezTo>
                  <a:pt x="1783" y="1409"/>
                  <a:pt x="1659" y="1516"/>
                  <a:pt x="1543" y="1630"/>
                </a:cubicBezTo>
                <a:moveTo>
                  <a:pt x="6488" y="1310"/>
                </a:moveTo>
                <a:cubicBezTo>
                  <a:pt x="6618" y="1409"/>
                  <a:pt x="6742" y="1516"/>
                  <a:pt x="6858" y="1630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6" name="TextBox 5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18" name="Group 17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3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678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 5"/>
          <p:cNvSpPr>
            <a:spLocks noEditPoints="1"/>
          </p:cNvSpPr>
          <p:nvPr/>
        </p:nvSpPr>
        <p:spPr bwMode="auto">
          <a:xfrm>
            <a:off x="4700587" y="-96838"/>
            <a:ext cx="5149850" cy="3983038"/>
          </a:xfrm>
          <a:custGeom>
            <a:avLst/>
            <a:gdLst>
              <a:gd name="T0" fmla="*/ 1980 w 8401"/>
              <a:gd name="T1" fmla="*/ 612 h 6505"/>
              <a:gd name="T2" fmla="*/ 4200 w 8401"/>
              <a:gd name="T3" fmla="*/ 5149 h 6505"/>
              <a:gd name="T4" fmla="*/ 6811 w 8401"/>
              <a:gd name="T5" fmla="*/ 3609 h 6505"/>
              <a:gd name="T6" fmla="*/ 1590 w 8401"/>
              <a:gd name="T7" fmla="*/ 2897 h 6505"/>
              <a:gd name="T8" fmla="*/ 1590 w 8401"/>
              <a:gd name="T9" fmla="*/ 2897 h 6505"/>
              <a:gd name="T10" fmla="*/ 7100 w 8401"/>
              <a:gd name="T11" fmla="*/ 2864 h 6505"/>
              <a:gd name="T12" fmla="*/ 7169 w 8401"/>
              <a:gd name="T13" fmla="*/ 2441 h 6505"/>
              <a:gd name="T14" fmla="*/ 7176 w 8401"/>
              <a:gd name="T15" fmla="*/ 1984 h 6505"/>
              <a:gd name="T16" fmla="*/ 1692 w 8401"/>
              <a:gd name="T17" fmla="*/ 1139 h 6505"/>
              <a:gd name="T18" fmla="*/ 1794 w 8401"/>
              <a:gd name="T19" fmla="*/ 3927 h 6505"/>
              <a:gd name="T20" fmla="*/ 1759 w 8401"/>
              <a:gd name="T21" fmla="*/ 4315 h 6505"/>
              <a:gd name="T22" fmla="*/ 7100 w 8401"/>
              <a:gd name="T23" fmla="*/ 3642 h 6505"/>
              <a:gd name="T24" fmla="*/ 7169 w 8401"/>
              <a:gd name="T25" fmla="*/ 2441 h 6505"/>
              <a:gd name="T26" fmla="*/ 7176 w 8401"/>
              <a:gd name="T27" fmla="*/ 1984 h 6505"/>
              <a:gd name="T28" fmla="*/ 961 w 8401"/>
              <a:gd name="T29" fmla="*/ 1882 h 6505"/>
              <a:gd name="T30" fmla="*/ 1048 w 8401"/>
              <a:gd name="T31" fmla="*/ 1360 h 6505"/>
              <a:gd name="T32" fmla="*/ 4200 w 8401"/>
              <a:gd name="T33" fmla="*/ 5692 h 6505"/>
              <a:gd name="T34" fmla="*/ 6909 w 8401"/>
              <a:gd name="T35" fmla="*/ 4421 h 6505"/>
              <a:gd name="T36" fmla="*/ 1791 w 8401"/>
              <a:gd name="T37" fmla="*/ 4738 h 6505"/>
              <a:gd name="T38" fmla="*/ 1492 w 8401"/>
              <a:gd name="T39" fmla="*/ 4421 h 6505"/>
              <a:gd name="T40" fmla="*/ 1134 w 8401"/>
              <a:gd name="T41" fmla="*/ 3253 h 6505"/>
              <a:gd name="T42" fmla="*/ 1015 w 8401"/>
              <a:gd name="T43" fmla="*/ 2830 h 6505"/>
              <a:gd name="T44" fmla="*/ 954 w 8401"/>
              <a:gd name="T45" fmla="*/ 2371 h 6505"/>
              <a:gd name="T46" fmla="*/ 698 w 8401"/>
              <a:gd name="T47" fmla="*/ 1781 h 6505"/>
              <a:gd name="T48" fmla="*/ 4200 w 8401"/>
              <a:gd name="T49" fmla="*/ 5963 h 6505"/>
              <a:gd name="T50" fmla="*/ 1492 w 8401"/>
              <a:gd name="T51" fmla="*/ 4421 h 6505"/>
              <a:gd name="T52" fmla="*/ 1543 w 8401"/>
              <a:gd name="T53" fmla="*/ 4876 h 6505"/>
              <a:gd name="T54" fmla="*/ 1225 w 8401"/>
              <a:gd name="T55" fmla="*/ 4521 h 6505"/>
              <a:gd name="T56" fmla="*/ 954 w 8401"/>
              <a:gd name="T57" fmla="*/ 4135 h 6505"/>
              <a:gd name="T58" fmla="*/ 7668 w 8401"/>
              <a:gd name="T59" fmla="*/ 2795 h 6505"/>
              <a:gd name="T60" fmla="*/ 452 w 8401"/>
              <a:gd name="T61" fmla="*/ 2761 h 6505"/>
              <a:gd name="T62" fmla="*/ 7949 w 8401"/>
              <a:gd name="T63" fmla="*/ 2761 h 6505"/>
              <a:gd name="T64" fmla="*/ 1543 w 8401"/>
              <a:gd name="T65" fmla="*/ 4876 h 6505"/>
              <a:gd name="T66" fmla="*/ 6858 w 8401"/>
              <a:gd name="T67" fmla="*/ 4876 h 6505"/>
              <a:gd name="T68" fmla="*/ 7176 w 8401"/>
              <a:gd name="T69" fmla="*/ 4521 h 6505"/>
              <a:gd name="T70" fmla="*/ 961 w 8401"/>
              <a:gd name="T71" fmla="*/ 4624 h 6505"/>
              <a:gd name="T72" fmla="*/ 563 w 8401"/>
              <a:gd name="T73" fmla="*/ 3253 h 6505"/>
              <a:gd name="T74" fmla="*/ 7949 w 8401"/>
              <a:gd name="T75" fmla="*/ 3745 h 6505"/>
              <a:gd name="T76" fmla="*/ 452 w 8401"/>
              <a:gd name="T77" fmla="*/ 2761 h 6505"/>
              <a:gd name="T78" fmla="*/ 2163 w 8401"/>
              <a:gd name="T79" fmla="*/ 5686 h 6505"/>
              <a:gd name="T80" fmla="*/ 6238 w 8401"/>
              <a:gd name="T81" fmla="*/ 5686 h 6505"/>
              <a:gd name="T82" fmla="*/ 6709 w 8401"/>
              <a:gd name="T83" fmla="*/ 5367 h 6505"/>
              <a:gd name="T84" fmla="*/ 7105 w 8401"/>
              <a:gd name="T85" fmla="*/ 5012 h 6505"/>
              <a:gd name="T86" fmla="*/ 7721 w 8401"/>
              <a:gd name="T87" fmla="*/ 4201 h 6505"/>
              <a:gd name="T88" fmla="*/ 8228 w 8401"/>
              <a:gd name="T89" fmla="*/ 3779 h 6505"/>
              <a:gd name="T90" fmla="*/ 8228 w 8401"/>
              <a:gd name="T91" fmla="*/ 3779 h 6505"/>
              <a:gd name="T92" fmla="*/ 2633 w 8401"/>
              <a:gd name="T93" fmla="*/ 6212 h 6505"/>
              <a:gd name="T94" fmla="*/ 1469 w 8401"/>
              <a:gd name="T95" fmla="*/ 5537 h 6505"/>
              <a:gd name="T96" fmla="*/ 3929 w 8401"/>
              <a:gd name="T97" fmla="*/ 3253 h 6505"/>
              <a:gd name="T98" fmla="*/ 5014 w 8401"/>
              <a:gd name="T99" fmla="*/ 3253 h 6505"/>
              <a:gd name="T100" fmla="*/ 4200 w 8401"/>
              <a:gd name="T101" fmla="*/ 2168 h 6505"/>
              <a:gd name="T102" fmla="*/ 4200 w 8401"/>
              <a:gd name="T103" fmla="*/ 1897 h 6505"/>
              <a:gd name="T104" fmla="*/ 6607 w 8401"/>
              <a:gd name="T105" fmla="*/ 2579 h 6505"/>
              <a:gd name="T106" fmla="*/ 4200 w 8401"/>
              <a:gd name="T107" fmla="*/ 814 h 6505"/>
              <a:gd name="T108" fmla="*/ 1913 w 8401"/>
              <a:gd name="T109" fmla="*/ 1310 h 6505"/>
              <a:gd name="T110" fmla="*/ 6238 w 8401"/>
              <a:gd name="T111" fmla="*/ 819 h 6505"/>
              <a:gd name="T112" fmla="*/ 1717 w 8401"/>
              <a:gd name="T113" fmla="*/ 3253 h 6505"/>
              <a:gd name="T114" fmla="*/ 1717 w 8401"/>
              <a:gd name="T115" fmla="*/ 3253 h 6505"/>
              <a:gd name="T116" fmla="*/ 6889 w 8401"/>
              <a:gd name="T117" fmla="*/ 2507 h 6505"/>
              <a:gd name="T118" fmla="*/ 1543 w 8401"/>
              <a:gd name="T119" fmla="*/ 1630 h 6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01" h="6505">
                <a:moveTo>
                  <a:pt x="6709" y="1139"/>
                </a:moveTo>
                <a:cubicBezTo>
                  <a:pt x="6560" y="1022"/>
                  <a:pt x="6403" y="915"/>
                  <a:pt x="6238" y="819"/>
                </a:cubicBezTo>
                <a:moveTo>
                  <a:pt x="2163" y="819"/>
                </a:moveTo>
                <a:cubicBezTo>
                  <a:pt x="1998" y="915"/>
                  <a:pt x="1841" y="1022"/>
                  <a:pt x="1692" y="1139"/>
                </a:cubicBezTo>
                <a:moveTo>
                  <a:pt x="1543" y="1630"/>
                </a:moveTo>
                <a:cubicBezTo>
                  <a:pt x="1659" y="1516"/>
                  <a:pt x="1783" y="1409"/>
                  <a:pt x="1913" y="1310"/>
                </a:cubicBezTo>
                <a:moveTo>
                  <a:pt x="2633" y="294"/>
                </a:moveTo>
                <a:cubicBezTo>
                  <a:pt x="2406" y="382"/>
                  <a:pt x="2187" y="488"/>
                  <a:pt x="1980" y="612"/>
                </a:cubicBezTo>
                <a:moveTo>
                  <a:pt x="1692" y="1139"/>
                </a:moveTo>
                <a:cubicBezTo>
                  <a:pt x="1841" y="1022"/>
                  <a:pt x="1998" y="915"/>
                  <a:pt x="2163" y="819"/>
                </a:cubicBezTo>
                <a:moveTo>
                  <a:pt x="6421" y="612"/>
                </a:moveTo>
                <a:cubicBezTo>
                  <a:pt x="6214" y="488"/>
                  <a:pt x="5995" y="382"/>
                  <a:pt x="5768" y="294"/>
                </a:cubicBezTo>
                <a:moveTo>
                  <a:pt x="6238" y="819"/>
                </a:moveTo>
                <a:cubicBezTo>
                  <a:pt x="6403" y="915"/>
                  <a:pt x="6560" y="1022"/>
                  <a:pt x="6709" y="1139"/>
                </a:cubicBezTo>
                <a:moveTo>
                  <a:pt x="1794" y="3927"/>
                </a:moveTo>
                <a:cubicBezTo>
                  <a:pt x="2336" y="4668"/>
                  <a:pt x="3212" y="5149"/>
                  <a:pt x="4200" y="5149"/>
                </a:cubicBezTo>
                <a:cubicBezTo>
                  <a:pt x="5189" y="5149"/>
                  <a:pt x="6065" y="4668"/>
                  <a:pt x="6607" y="3927"/>
                </a:cubicBezTo>
                <a:moveTo>
                  <a:pt x="6519" y="3572"/>
                </a:moveTo>
                <a:cubicBezTo>
                  <a:pt x="6044" y="4355"/>
                  <a:pt x="5183" y="4878"/>
                  <a:pt x="4200" y="4878"/>
                </a:cubicBezTo>
                <a:cubicBezTo>
                  <a:pt x="3218" y="4878"/>
                  <a:pt x="2357" y="4355"/>
                  <a:pt x="1882" y="3572"/>
                </a:cubicBezTo>
                <a:moveTo>
                  <a:pt x="6684" y="3253"/>
                </a:moveTo>
                <a:cubicBezTo>
                  <a:pt x="6636" y="3363"/>
                  <a:pt x="6581" y="3470"/>
                  <a:pt x="6519" y="3572"/>
                </a:cubicBezTo>
                <a:moveTo>
                  <a:pt x="6607" y="3927"/>
                </a:moveTo>
                <a:cubicBezTo>
                  <a:pt x="6682" y="3825"/>
                  <a:pt x="6750" y="3719"/>
                  <a:pt x="6811" y="3609"/>
                </a:cubicBezTo>
                <a:moveTo>
                  <a:pt x="1882" y="3572"/>
                </a:moveTo>
                <a:cubicBezTo>
                  <a:pt x="1820" y="3470"/>
                  <a:pt x="1765" y="3363"/>
                  <a:pt x="1717" y="3253"/>
                </a:cubicBezTo>
                <a:moveTo>
                  <a:pt x="1590" y="3609"/>
                </a:moveTo>
                <a:cubicBezTo>
                  <a:pt x="1651" y="3719"/>
                  <a:pt x="1719" y="3825"/>
                  <a:pt x="1794" y="3927"/>
                </a:cubicBezTo>
                <a:moveTo>
                  <a:pt x="6811" y="3609"/>
                </a:moveTo>
                <a:cubicBezTo>
                  <a:pt x="6874" y="3494"/>
                  <a:pt x="6929" y="3376"/>
                  <a:pt x="6977" y="3253"/>
                </a:cubicBezTo>
                <a:cubicBezTo>
                  <a:pt x="6929" y="3130"/>
                  <a:pt x="6874" y="3011"/>
                  <a:pt x="6811" y="2897"/>
                </a:cubicBezTo>
                <a:moveTo>
                  <a:pt x="1590" y="2897"/>
                </a:moveTo>
                <a:cubicBezTo>
                  <a:pt x="1527" y="3011"/>
                  <a:pt x="1472" y="3130"/>
                  <a:pt x="1424" y="3253"/>
                </a:cubicBezTo>
                <a:cubicBezTo>
                  <a:pt x="1472" y="3376"/>
                  <a:pt x="1527" y="3494"/>
                  <a:pt x="1590" y="3609"/>
                </a:cubicBezTo>
                <a:moveTo>
                  <a:pt x="7100" y="2864"/>
                </a:moveTo>
                <a:cubicBezTo>
                  <a:pt x="7037" y="2740"/>
                  <a:pt x="6967" y="2621"/>
                  <a:pt x="6889" y="2507"/>
                </a:cubicBezTo>
                <a:moveTo>
                  <a:pt x="6811" y="2897"/>
                </a:moveTo>
                <a:cubicBezTo>
                  <a:pt x="6874" y="3011"/>
                  <a:pt x="6929" y="3130"/>
                  <a:pt x="6977" y="3253"/>
                </a:cubicBezTo>
                <a:moveTo>
                  <a:pt x="1424" y="3253"/>
                </a:moveTo>
                <a:cubicBezTo>
                  <a:pt x="1472" y="3130"/>
                  <a:pt x="1527" y="3011"/>
                  <a:pt x="1590" y="2897"/>
                </a:cubicBezTo>
                <a:moveTo>
                  <a:pt x="1512" y="2507"/>
                </a:moveTo>
                <a:cubicBezTo>
                  <a:pt x="1434" y="2621"/>
                  <a:pt x="1364" y="2740"/>
                  <a:pt x="1301" y="2864"/>
                </a:cubicBezTo>
                <a:moveTo>
                  <a:pt x="1492" y="2084"/>
                </a:moveTo>
                <a:cubicBezTo>
                  <a:pt x="1398" y="2197"/>
                  <a:pt x="1311" y="2317"/>
                  <a:pt x="1232" y="2441"/>
                </a:cubicBezTo>
                <a:moveTo>
                  <a:pt x="1301" y="2864"/>
                </a:moveTo>
                <a:cubicBezTo>
                  <a:pt x="1364" y="2740"/>
                  <a:pt x="1434" y="2621"/>
                  <a:pt x="1512" y="2507"/>
                </a:cubicBezTo>
                <a:moveTo>
                  <a:pt x="6889" y="2507"/>
                </a:moveTo>
                <a:cubicBezTo>
                  <a:pt x="6967" y="2621"/>
                  <a:pt x="7037" y="2740"/>
                  <a:pt x="7100" y="2864"/>
                </a:cubicBezTo>
                <a:moveTo>
                  <a:pt x="7169" y="2441"/>
                </a:moveTo>
                <a:cubicBezTo>
                  <a:pt x="7090" y="2317"/>
                  <a:pt x="7003" y="2197"/>
                  <a:pt x="6909" y="2084"/>
                </a:cubicBezTo>
                <a:moveTo>
                  <a:pt x="1543" y="1630"/>
                </a:moveTo>
                <a:cubicBezTo>
                  <a:pt x="1430" y="1741"/>
                  <a:pt x="1323" y="1860"/>
                  <a:pt x="1225" y="1984"/>
                </a:cubicBezTo>
                <a:moveTo>
                  <a:pt x="1232" y="2441"/>
                </a:moveTo>
                <a:cubicBezTo>
                  <a:pt x="1311" y="2317"/>
                  <a:pt x="1398" y="2197"/>
                  <a:pt x="1492" y="2084"/>
                </a:cubicBezTo>
                <a:moveTo>
                  <a:pt x="6909" y="2084"/>
                </a:moveTo>
                <a:cubicBezTo>
                  <a:pt x="7003" y="2197"/>
                  <a:pt x="7090" y="2317"/>
                  <a:pt x="7169" y="2441"/>
                </a:cubicBezTo>
                <a:moveTo>
                  <a:pt x="7176" y="1984"/>
                </a:moveTo>
                <a:cubicBezTo>
                  <a:pt x="7078" y="1860"/>
                  <a:pt x="6971" y="1741"/>
                  <a:pt x="6858" y="1630"/>
                </a:cubicBezTo>
                <a:moveTo>
                  <a:pt x="1225" y="1984"/>
                </a:moveTo>
                <a:cubicBezTo>
                  <a:pt x="1323" y="1860"/>
                  <a:pt x="1430" y="1741"/>
                  <a:pt x="1543" y="1630"/>
                </a:cubicBezTo>
                <a:moveTo>
                  <a:pt x="1692" y="1139"/>
                </a:moveTo>
                <a:cubicBezTo>
                  <a:pt x="1552" y="1249"/>
                  <a:pt x="1420" y="1367"/>
                  <a:pt x="1296" y="1494"/>
                </a:cubicBezTo>
                <a:moveTo>
                  <a:pt x="6858" y="1630"/>
                </a:moveTo>
                <a:cubicBezTo>
                  <a:pt x="6971" y="1741"/>
                  <a:pt x="7078" y="1860"/>
                  <a:pt x="7176" y="1984"/>
                </a:cubicBezTo>
                <a:moveTo>
                  <a:pt x="7105" y="1494"/>
                </a:moveTo>
                <a:cubicBezTo>
                  <a:pt x="6981" y="1367"/>
                  <a:pt x="6849" y="1249"/>
                  <a:pt x="6709" y="1139"/>
                </a:cubicBezTo>
                <a:moveTo>
                  <a:pt x="6932" y="969"/>
                </a:moveTo>
                <a:cubicBezTo>
                  <a:pt x="6770" y="838"/>
                  <a:pt x="6600" y="719"/>
                  <a:pt x="6421" y="612"/>
                </a:cubicBezTo>
                <a:moveTo>
                  <a:pt x="6709" y="1139"/>
                </a:moveTo>
                <a:cubicBezTo>
                  <a:pt x="6849" y="1249"/>
                  <a:pt x="6981" y="1367"/>
                  <a:pt x="7105" y="1494"/>
                </a:cubicBezTo>
                <a:moveTo>
                  <a:pt x="1296" y="1494"/>
                </a:moveTo>
                <a:cubicBezTo>
                  <a:pt x="1420" y="1367"/>
                  <a:pt x="1552" y="1249"/>
                  <a:pt x="1692" y="1139"/>
                </a:cubicBezTo>
                <a:moveTo>
                  <a:pt x="1980" y="612"/>
                </a:moveTo>
                <a:cubicBezTo>
                  <a:pt x="1801" y="719"/>
                  <a:pt x="1630" y="838"/>
                  <a:pt x="1469" y="969"/>
                </a:cubicBezTo>
                <a:moveTo>
                  <a:pt x="1759" y="4315"/>
                </a:moveTo>
                <a:cubicBezTo>
                  <a:pt x="2355" y="4993"/>
                  <a:pt x="3228" y="5420"/>
                  <a:pt x="4200" y="5420"/>
                </a:cubicBezTo>
                <a:cubicBezTo>
                  <a:pt x="5173" y="5420"/>
                  <a:pt x="6046" y="4993"/>
                  <a:pt x="6642" y="4315"/>
                </a:cubicBezTo>
                <a:moveTo>
                  <a:pt x="6607" y="3927"/>
                </a:moveTo>
                <a:cubicBezTo>
                  <a:pt x="6065" y="4668"/>
                  <a:pt x="5189" y="5149"/>
                  <a:pt x="4200" y="5149"/>
                </a:cubicBezTo>
                <a:cubicBezTo>
                  <a:pt x="3212" y="5149"/>
                  <a:pt x="2336" y="4668"/>
                  <a:pt x="1794" y="3927"/>
                </a:cubicBezTo>
                <a:moveTo>
                  <a:pt x="6811" y="3609"/>
                </a:moveTo>
                <a:cubicBezTo>
                  <a:pt x="6750" y="3719"/>
                  <a:pt x="6682" y="3825"/>
                  <a:pt x="6607" y="3927"/>
                </a:cubicBezTo>
                <a:moveTo>
                  <a:pt x="6642" y="4315"/>
                </a:moveTo>
                <a:cubicBezTo>
                  <a:pt x="6731" y="4215"/>
                  <a:pt x="6813" y="4109"/>
                  <a:pt x="6889" y="3998"/>
                </a:cubicBezTo>
                <a:moveTo>
                  <a:pt x="1794" y="3927"/>
                </a:moveTo>
                <a:cubicBezTo>
                  <a:pt x="1719" y="3825"/>
                  <a:pt x="1651" y="3719"/>
                  <a:pt x="1590" y="3609"/>
                </a:cubicBezTo>
                <a:moveTo>
                  <a:pt x="1512" y="3998"/>
                </a:moveTo>
                <a:cubicBezTo>
                  <a:pt x="1588" y="4109"/>
                  <a:pt x="1670" y="4215"/>
                  <a:pt x="1759" y="4315"/>
                </a:cubicBezTo>
                <a:moveTo>
                  <a:pt x="1301" y="3642"/>
                </a:moveTo>
                <a:cubicBezTo>
                  <a:pt x="1364" y="3765"/>
                  <a:pt x="1434" y="3885"/>
                  <a:pt x="1512" y="3998"/>
                </a:cubicBezTo>
                <a:moveTo>
                  <a:pt x="1590" y="3609"/>
                </a:moveTo>
                <a:cubicBezTo>
                  <a:pt x="1527" y="3494"/>
                  <a:pt x="1472" y="3376"/>
                  <a:pt x="1424" y="3253"/>
                </a:cubicBezTo>
                <a:moveTo>
                  <a:pt x="6977" y="3253"/>
                </a:moveTo>
                <a:cubicBezTo>
                  <a:pt x="6929" y="3376"/>
                  <a:pt x="6874" y="3494"/>
                  <a:pt x="6811" y="3609"/>
                </a:cubicBezTo>
                <a:moveTo>
                  <a:pt x="6889" y="3998"/>
                </a:moveTo>
                <a:cubicBezTo>
                  <a:pt x="6967" y="3885"/>
                  <a:pt x="7037" y="3765"/>
                  <a:pt x="7100" y="3642"/>
                </a:cubicBezTo>
                <a:moveTo>
                  <a:pt x="1301" y="2864"/>
                </a:moveTo>
                <a:cubicBezTo>
                  <a:pt x="1237" y="2989"/>
                  <a:pt x="1181" y="3119"/>
                  <a:pt x="1134" y="3253"/>
                </a:cubicBezTo>
                <a:cubicBezTo>
                  <a:pt x="1181" y="3387"/>
                  <a:pt x="1237" y="3517"/>
                  <a:pt x="1301" y="3642"/>
                </a:cubicBezTo>
                <a:moveTo>
                  <a:pt x="7100" y="3642"/>
                </a:moveTo>
                <a:cubicBezTo>
                  <a:pt x="7163" y="3517"/>
                  <a:pt x="7220" y="3387"/>
                  <a:pt x="7267" y="3253"/>
                </a:cubicBezTo>
                <a:cubicBezTo>
                  <a:pt x="7220" y="3119"/>
                  <a:pt x="7163" y="2989"/>
                  <a:pt x="7100" y="2864"/>
                </a:cubicBezTo>
                <a:moveTo>
                  <a:pt x="7386" y="2830"/>
                </a:moveTo>
                <a:cubicBezTo>
                  <a:pt x="7322" y="2695"/>
                  <a:pt x="7249" y="2565"/>
                  <a:pt x="7169" y="2441"/>
                </a:cubicBezTo>
                <a:moveTo>
                  <a:pt x="7100" y="2864"/>
                </a:moveTo>
                <a:cubicBezTo>
                  <a:pt x="7163" y="2989"/>
                  <a:pt x="7220" y="3119"/>
                  <a:pt x="7267" y="3253"/>
                </a:cubicBezTo>
                <a:moveTo>
                  <a:pt x="1134" y="3253"/>
                </a:moveTo>
                <a:cubicBezTo>
                  <a:pt x="1181" y="3119"/>
                  <a:pt x="1237" y="2989"/>
                  <a:pt x="1301" y="2864"/>
                </a:cubicBezTo>
                <a:moveTo>
                  <a:pt x="1232" y="2441"/>
                </a:moveTo>
                <a:cubicBezTo>
                  <a:pt x="1152" y="2565"/>
                  <a:pt x="1079" y="2695"/>
                  <a:pt x="1015" y="2830"/>
                </a:cubicBezTo>
                <a:moveTo>
                  <a:pt x="7447" y="2371"/>
                </a:moveTo>
                <a:cubicBezTo>
                  <a:pt x="7365" y="2236"/>
                  <a:pt x="7274" y="2107"/>
                  <a:pt x="7176" y="1984"/>
                </a:cubicBezTo>
                <a:moveTo>
                  <a:pt x="7169" y="2441"/>
                </a:moveTo>
                <a:cubicBezTo>
                  <a:pt x="7249" y="2565"/>
                  <a:pt x="7322" y="2695"/>
                  <a:pt x="7386" y="2830"/>
                </a:cubicBezTo>
                <a:moveTo>
                  <a:pt x="1225" y="1984"/>
                </a:moveTo>
                <a:cubicBezTo>
                  <a:pt x="1127" y="2107"/>
                  <a:pt x="1036" y="2236"/>
                  <a:pt x="954" y="2371"/>
                </a:cubicBezTo>
                <a:moveTo>
                  <a:pt x="1015" y="2830"/>
                </a:moveTo>
                <a:cubicBezTo>
                  <a:pt x="1079" y="2695"/>
                  <a:pt x="1152" y="2565"/>
                  <a:pt x="1232" y="2441"/>
                </a:cubicBezTo>
                <a:moveTo>
                  <a:pt x="1296" y="1494"/>
                </a:moveTo>
                <a:cubicBezTo>
                  <a:pt x="1176" y="1616"/>
                  <a:pt x="1064" y="1745"/>
                  <a:pt x="961" y="1882"/>
                </a:cubicBezTo>
                <a:moveTo>
                  <a:pt x="954" y="2371"/>
                </a:moveTo>
                <a:cubicBezTo>
                  <a:pt x="1036" y="2236"/>
                  <a:pt x="1127" y="2107"/>
                  <a:pt x="1225" y="1984"/>
                </a:cubicBezTo>
                <a:moveTo>
                  <a:pt x="7176" y="1984"/>
                </a:moveTo>
                <a:cubicBezTo>
                  <a:pt x="7274" y="2107"/>
                  <a:pt x="7365" y="2236"/>
                  <a:pt x="7447" y="2371"/>
                </a:cubicBezTo>
                <a:moveTo>
                  <a:pt x="7440" y="1882"/>
                </a:moveTo>
                <a:cubicBezTo>
                  <a:pt x="7337" y="1745"/>
                  <a:pt x="7225" y="1616"/>
                  <a:pt x="7105" y="1494"/>
                </a:cubicBezTo>
                <a:moveTo>
                  <a:pt x="1469" y="969"/>
                </a:moveTo>
                <a:cubicBezTo>
                  <a:pt x="1320" y="1090"/>
                  <a:pt x="1180" y="1221"/>
                  <a:pt x="1048" y="1360"/>
                </a:cubicBezTo>
                <a:moveTo>
                  <a:pt x="961" y="1882"/>
                </a:moveTo>
                <a:cubicBezTo>
                  <a:pt x="1064" y="1745"/>
                  <a:pt x="1176" y="1616"/>
                  <a:pt x="1296" y="1494"/>
                </a:cubicBezTo>
                <a:moveTo>
                  <a:pt x="7353" y="1360"/>
                </a:moveTo>
                <a:cubicBezTo>
                  <a:pt x="7221" y="1221"/>
                  <a:pt x="7081" y="1090"/>
                  <a:pt x="6932" y="969"/>
                </a:cubicBezTo>
                <a:moveTo>
                  <a:pt x="7105" y="1494"/>
                </a:moveTo>
                <a:cubicBezTo>
                  <a:pt x="7225" y="1616"/>
                  <a:pt x="7337" y="1745"/>
                  <a:pt x="7440" y="1882"/>
                </a:cubicBezTo>
                <a:moveTo>
                  <a:pt x="1791" y="4738"/>
                </a:moveTo>
                <a:cubicBezTo>
                  <a:pt x="2421" y="5329"/>
                  <a:pt x="3268" y="5692"/>
                  <a:pt x="4200" y="5692"/>
                </a:cubicBezTo>
                <a:cubicBezTo>
                  <a:pt x="5133" y="5692"/>
                  <a:pt x="5980" y="5329"/>
                  <a:pt x="6610" y="4738"/>
                </a:cubicBezTo>
                <a:moveTo>
                  <a:pt x="6643" y="4339"/>
                </a:moveTo>
                <a:cubicBezTo>
                  <a:pt x="6643" y="4331"/>
                  <a:pt x="6642" y="4323"/>
                  <a:pt x="6642" y="4315"/>
                </a:cubicBezTo>
                <a:cubicBezTo>
                  <a:pt x="6046" y="4993"/>
                  <a:pt x="5173" y="5420"/>
                  <a:pt x="4200" y="5420"/>
                </a:cubicBezTo>
                <a:cubicBezTo>
                  <a:pt x="3228" y="5420"/>
                  <a:pt x="2355" y="4993"/>
                  <a:pt x="1759" y="4315"/>
                </a:cubicBezTo>
                <a:cubicBezTo>
                  <a:pt x="1759" y="4323"/>
                  <a:pt x="1758" y="4331"/>
                  <a:pt x="1758" y="4339"/>
                </a:cubicBezTo>
                <a:moveTo>
                  <a:pt x="6610" y="4738"/>
                </a:moveTo>
                <a:cubicBezTo>
                  <a:pt x="6716" y="4639"/>
                  <a:pt x="6816" y="4533"/>
                  <a:pt x="6909" y="4421"/>
                </a:cubicBezTo>
                <a:moveTo>
                  <a:pt x="6889" y="3998"/>
                </a:moveTo>
                <a:cubicBezTo>
                  <a:pt x="6813" y="4109"/>
                  <a:pt x="6731" y="4215"/>
                  <a:pt x="6642" y="4315"/>
                </a:cubicBezTo>
                <a:cubicBezTo>
                  <a:pt x="6642" y="4323"/>
                  <a:pt x="6643" y="4331"/>
                  <a:pt x="6643" y="4339"/>
                </a:cubicBezTo>
                <a:moveTo>
                  <a:pt x="1758" y="4339"/>
                </a:moveTo>
                <a:cubicBezTo>
                  <a:pt x="1758" y="4331"/>
                  <a:pt x="1759" y="4323"/>
                  <a:pt x="1759" y="4315"/>
                </a:cubicBezTo>
                <a:cubicBezTo>
                  <a:pt x="1670" y="4215"/>
                  <a:pt x="1588" y="4109"/>
                  <a:pt x="1512" y="3998"/>
                </a:cubicBezTo>
                <a:moveTo>
                  <a:pt x="1492" y="4421"/>
                </a:moveTo>
                <a:cubicBezTo>
                  <a:pt x="1585" y="4533"/>
                  <a:pt x="1685" y="4639"/>
                  <a:pt x="1791" y="4738"/>
                </a:cubicBezTo>
                <a:moveTo>
                  <a:pt x="7100" y="3642"/>
                </a:moveTo>
                <a:cubicBezTo>
                  <a:pt x="7037" y="3765"/>
                  <a:pt x="6967" y="3885"/>
                  <a:pt x="6889" y="3998"/>
                </a:cubicBezTo>
                <a:moveTo>
                  <a:pt x="6909" y="4421"/>
                </a:moveTo>
                <a:cubicBezTo>
                  <a:pt x="7003" y="4308"/>
                  <a:pt x="7090" y="4189"/>
                  <a:pt x="7169" y="4065"/>
                </a:cubicBezTo>
                <a:moveTo>
                  <a:pt x="1512" y="3998"/>
                </a:moveTo>
                <a:cubicBezTo>
                  <a:pt x="1434" y="3885"/>
                  <a:pt x="1364" y="3765"/>
                  <a:pt x="1301" y="3642"/>
                </a:cubicBezTo>
                <a:moveTo>
                  <a:pt x="1232" y="4065"/>
                </a:moveTo>
                <a:cubicBezTo>
                  <a:pt x="1311" y="4189"/>
                  <a:pt x="1398" y="4308"/>
                  <a:pt x="1492" y="4421"/>
                </a:cubicBezTo>
                <a:moveTo>
                  <a:pt x="7267" y="3253"/>
                </a:moveTo>
                <a:cubicBezTo>
                  <a:pt x="7220" y="3387"/>
                  <a:pt x="7163" y="3517"/>
                  <a:pt x="7100" y="3642"/>
                </a:cubicBezTo>
                <a:moveTo>
                  <a:pt x="7169" y="4065"/>
                </a:moveTo>
                <a:cubicBezTo>
                  <a:pt x="7249" y="3940"/>
                  <a:pt x="7322" y="3811"/>
                  <a:pt x="7386" y="3676"/>
                </a:cubicBezTo>
                <a:moveTo>
                  <a:pt x="1015" y="3676"/>
                </a:moveTo>
                <a:cubicBezTo>
                  <a:pt x="1079" y="3811"/>
                  <a:pt x="1152" y="3940"/>
                  <a:pt x="1232" y="4065"/>
                </a:cubicBezTo>
                <a:moveTo>
                  <a:pt x="1301" y="3642"/>
                </a:moveTo>
                <a:cubicBezTo>
                  <a:pt x="1237" y="3517"/>
                  <a:pt x="1181" y="3387"/>
                  <a:pt x="1134" y="3253"/>
                </a:cubicBezTo>
                <a:moveTo>
                  <a:pt x="7386" y="3676"/>
                </a:moveTo>
                <a:cubicBezTo>
                  <a:pt x="7450" y="3540"/>
                  <a:pt x="7506" y="3398"/>
                  <a:pt x="7553" y="3253"/>
                </a:cubicBezTo>
                <a:cubicBezTo>
                  <a:pt x="7506" y="3108"/>
                  <a:pt x="7450" y="2966"/>
                  <a:pt x="7386" y="2830"/>
                </a:cubicBezTo>
                <a:moveTo>
                  <a:pt x="1015" y="2830"/>
                </a:moveTo>
                <a:cubicBezTo>
                  <a:pt x="950" y="2966"/>
                  <a:pt x="895" y="3108"/>
                  <a:pt x="847" y="3253"/>
                </a:cubicBezTo>
                <a:cubicBezTo>
                  <a:pt x="895" y="3398"/>
                  <a:pt x="950" y="3540"/>
                  <a:pt x="1015" y="3676"/>
                </a:cubicBezTo>
                <a:moveTo>
                  <a:pt x="847" y="3253"/>
                </a:moveTo>
                <a:cubicBezTo>
                  <a:pt x="895" y="3108"/>
                  <a:pt x="950" y="2966"/>
                  <a:pt x="1015" y="2830"/>
                </a:cubicBezTo>
                <a:moveTo>
                  <a:pt x="954" y="2371"/>
                </a:moveTo>
                <a:cubicBezTo>
                  <a:pt x="872" y="2507"/>
                  <a:pt x="798" y="2649"/>
                  <a:pt x="733" y="2795"/>
                </a:cubicBezTo>
                <a:moveTo>
                  <a:pt x="7668" y="2795"/>
                </a:moveTo>
                <a:cubicBezTo>
                  <a:pt x="7602" y="2649"/>
                  <a:pt x="7529" y="2507"/>
                  <a:pt x="7447" y="2371"/>
                </a:cubicBezTo>
                <a:moveTo>
                  <a:pt x="7386" y="2830"/>
                </a:moveTo>
                <a:cubicBezTo>
                  <a:pt x="7450" y="2966"/>
                  <a:pt x="7506" y="3108"/>
                  <a:pt x="7553" y="3253"/>
                </a:cubicBezTo>
                <a:moveTo>
                  <a:pt x="733" y="2795"/>
                </a:moveTo>
                <a:cubicBezTo>
                  <a:pt x="798" y="2649"/>
                  <a:pt x="872" y="2507"/>
                  <a:pt x="954" y="2371"/>
                </a:cubicBezTo>
                <a:moveTo>
                  <a:pt x="961" y="1882"/>
                </a:moveTo>
                <a:cubicBezTo>
                  <a:pt x="858" y="2016"/>
                  <a:pt x="765" y="2158"/>
                  <a:pt x="680" y="2305"/>
                </a:cubicBezTo>
                <a:moveTo>
                  <a:pt x="7447" y="2371"/>
                </a:moveTo>
                <a:cubicBezTo>
                  <a:pt x="7529" y="2507"/>
                  <a:pt x="7602" y="2649"/>
                  <a:pt x="7668" y="2795"/>
                </a:cubicBezTo>
                <a:moveTo>
                  <a:pt x="7721" y="2305"/>
                </a:moveTo>
                <a:cubicBezTo>
                  <a:pt x="7636" y="2158"/>
                  <a:pt x="7543" y="2016"/>
                  <a:pt x="7440" y="1882"/>
                </a:cubicBezTo>
                <a:moveTo>
                  <a:pt x="1048" y="1360"/>
                </a:moveTo>
                <a:cubicBezTo>
                  <a:pt x="923" y="1493"/>
                  <a:pt x="805" y="1633"/>
                  <a:pt x="698" y="1781"/>
                </a:cubicBezTo>
                <a:moveTo>
                  <a:pt x="680" y="2305"/>
                </a:moveTo>
                <a:cubicBezTo>
                  <a:pt x="765" y="2158"/>
                  <a:pt x="858" y="2016"/>
                  <a:pt x="961" y="1882"/>
                </a:cubicBezTo>
                <a:moveTo>
                  <a:pt x="7703" y="1781"/>
                </a:moveTo>
                <a:cubicBezTo>
                  <a:pt x="7595" y="1633"/>
                  <a:pt x="7478" y="1493"/>
                  <a:pt x="7353" y="1360"/>
                </a:cubicBezTo>
                <a:moveTo>
                  <a:pt x="7440" y="1882"/>
                </a:moveTo>
                <a:cubicBezTo>
                  <a:pt x="7543" y="2016"/>
                  <a:pt x="7636" y="2158"/>
                  <a:pt x="7721" y="2305"/>
                </a:cubicBezTo>
                <a:moveTo>
                  <a:pt x="1913" y="5196"/>
                </a:moveTo>
                <a:cubicBezTo>
                  <a:pt x="2549" y="5677"/>
                  <a:pt x="3341" y="5963"/>
                  <a:pt x="4200" y="5963"/>
                </a:cubicBezTo>
                <a:cubicBezTo>
                  <a:pt x="5060" y="5963"/>
                  <a:pt x="5852" y="5677"/>
                  <a:pt x="6488" y="5196"/>
                </a:cubicBezTo>
                <a:moveTo>
                  <a:pt x="6610" y="4738"/>
                </a:moveTo>
                <a:cubicBezTo>
                  <a:pt x="5980" y="5329"/>
                  <a:pt x="5133" y="5692"/>
                  <a:pt x="4200" y="5692"/>
                </a:cubicBezTo>
                <a:cubicBezTo>
                  <a:pt x="3268" y="5692"/>
                  <a:pt x="2421" y="5329"/>
                  <a:pt x="1791" y="4738"/>
                </a:cubicBezTo>
                <a:moveTo>
                  <a:pt x="1543" y="4876"/>
                </a:moveTo>
                <a:cubicBezTo>
                  <a:pt x="1659" y="4990"/>
                  <a:pt x="1783" y="5097"/>
                  <a:pt x="1913" y="5196"/>
                </a:cubicBezTo>
                <a:moveTo>
                  <a:pt x="1791" y="4738"/>
                </a:moveTo>
                <a:cubicBezTo>
                  <a:pt x="1685" y="4639"/>
                  <a:pt x="1585" y="4533"/>
                  <a:pt x="1492" y="4421"/>
                </a:cubicBezTo>
                <a:moveTo>
                  <a:pt x="6909" y="4421"/>
                </a:moveTo>
                <a:cubicBezTo>
                  <a:pt x="6816" y="4533"/>
                  <a:pt x="6716" y="4639"/>
                  <a:pt x="6610" y="4738"/>
                </a:cubicBezTo>
                <a:moveTo>
                  <a:pt x="6488" y="5196"/>
                </a:moveTo>
                <a:cubicBezTo>
                  <a:pt x="6618" y="5097"/>
                  <a:pt x="6742" y="4990"/>
                  <a:pt x="6858" y="4876"/>
                </a:cubicBezTo>
                <a:moveTo>
                  <a:pt x="7169" y="4065"/>
                </a:moveTo>
                <a:cubicBezTo>
                  <a:pt x="7090" y="4189"/>
                  <a:pt x="7003" y="4308"/>
                  <a:pt x="6909" y="4421"/>
                </a:cubicBezTo>
                <a:moveTo>
                  <a:pt x="1225" y="4521"/>
                </a:moveTo>
                <a:cubicBezTo>
                  <a:pt x="1323" y="4646"/>
                  <a:pt x="1430" y="4765"/>
                  <a:pt x="1543" y="4876"/>
                </a:cubicBezTo>
                <a:moveTo>
                  <a:pt x="1492" y="4421"/>
                </a:moveTo>
                <a:cubicBezTo>
                  <a:pt x="1398" y="4308"/>
                  <a:pt x="1311" y="4189"/>
                  <a:pt x="1232" y="4065"/>
                </a:cubicBezTo>
                <a:moveTo>
                  <a:pt x="7386" y="3676"/>
                </a:moveTo>
                <a:cubicBezTo>
                  <a:pt x="7322" y="3811"/>
                  <a:pt x="7249" y="3940"/>
                  <a:pt x="7169" y="4065"/>
                </a:cubicBezTo>
                <a:moveTo>
                  <a:pt x="7176" y="4521"/>
                </a:moveTo>
                <a:cubicBezTo>
                  <a:pt x="7274" y="4398"/>
                  <a:pt x="7365" y="4270"/>
                  <a:pt x="7447" y="4135"/>
                </a:cubicBezTo>
                <a:moveTo>
                  <a:pt x="954" y="4135"/>
                </a:moveTo>
                <a:cubicBezTo>
                  <a:pt x="1036" y="4270"/>
                  <a:pt x="1127" y="4398"/>
                  <a:pt x="1225" y="4521"/>
                </a:cubicBezTo>
                <a:moveTo>
                  <a:pt x="1232" y="4065"/>
                </a:moveTo>
                <a:cubicBezTo>
                  <a:pt x="1152" y="3940"/>
                  <a:pt x="1079" y="3811"/>
                  <a:pt x="1015" y="3676"/>
                </a:cubicBezTo>
                <a:moveTo>
                  <a:pt x="7553" y="3253"/>
                </a:moveTo>
                <a:cubicBezTo>
                  <a:pt x="7506" y="3398"/>
                  <a:pt x="7450" y="3540"/>
                  <a:pt x="7386" y="3676"/>
                </a:cubicBezTo>
                <a:moveTo>
                  <a:pt x="7447" y="4135"/>
                </a:moveTo>
                <a:cubicBezTo>
                  <a:pt x="7529" y="3999"/>
                  <a:pt x="7602" y="3857"/>
                  <a:pt x="7668" y="3710"/>
                </a:cubicBezTo>
                <a:moveTo>
                  <a:pt x="733" y="3710"/>
                </a:moveTo>
                <a:cubicBezTo>
                  <a:pt x="798" y="3857"/>
                  <a:pt x="872" y="3999"/>
                  <a:pt x="954" y="4135"/>
                </a:cubicBezTo>
                <a:moveTo>
                  <a:pt x="1015" y="3676"/>
                </a:moveTo>
                <a:cubicBezTo>
                  <a:pt x="950" y="3540"/>
                  <a:pt x="895" y="3398"/>
                  <a:pt x="847" y="3253"/>
                </a:cubicBezTo>
                <a:moveTo>
                  <a:pt x="733" y="2795"/>
                </a:moveTo>
                <a:cubicBezTo>
                  <a:pt x="667" y="2943"/>
                  <a:pt x="610" y="3096"/>
                  <a:pt x="563" y="3253"/>
                </a:cubicBezTo>
                <a:cubicBezTo>
                  <a:pt x="610" y="3410"/>
                  <a:pt x="667" y="3563"/>
                  <a:pt x="733" y="3710"/>
                </a:cubicBezTo>
                <a:moveTo>
                  <a:pt x="7668" y="3710"/>
                </a:moveTo>
                <a:cubicBezTo>
                  <a:pt x="7734" y="3563"/>
                  <a:pt x="7791" y="3410"/>
                  <a:pt x="7837" y="3253"/>
                </a:cubicBezTo>
                <a:cubicBezTo>
                  <a:pt x="7791" y="3096"/>
                  <a:pt x="7734" y="2943"/>
                  <a:pt x="7668" y="2795"/>
                </a:cubicBezTo>
                <a:moveTo>
                  <a:pt x="7949" y="2761"/>
                </a:moveTo>
                <a:cubicBezTo>
                  <a:pt x="7883" y="2603"/>
                  <a:pt x="7806" y="2451"/>
                  <a:pt x="7721" y="2305"/>
                </a:cubicBezTo>
                <a:moveTo>
                  <a:pt x="7668" y="2795"/>
                </a:moveTo>
                <a:cubicBezTo>
                  <a:pt x="7734" y="2943"/>
                  <a:pt x="7791" y="3096"/>
                  <a:pt x="7837" y="3253"/>
                </a:cubicBezTo>
                <a:moveTo>
                  <a:pt x="563" y="3253"/>
                </a:moveTo>
                <a:cubicBezTo>
                  <a:pt x="610" y="3096"/>
                  <a:pt x="667" y="2943"/>
                  <a:pt x="733" y="2795"/>
                </a:cubicBezTo>
                <a:moveTo>
                  <a:pt x="680" y="2305"/>
                </a:moveTo>
                <a:cubicBezTo>
                  <a:pt x="595" y="2451"/>
                  <a:pt x="518" y="2603"/>
                  <a:pt x="452" y="2761"/>
                </a:cubicBezTo>
                <a:moveTo>
                  <a:pt x="698" y="1781"/>
                </a:moveTo>
                <a:cubicBezTo>
                  <a:pt x="592" y="1926"/>
                  <a:pt x="494" y="2078"/>
                  <a:pt x="407" y="2235"/>
                </a:cubicBezTo>
                <a:moveTo>
                  <a:pt x="452" y="2761"/>
                </a:moveTo>
                <a:cubicBezTo>
                  <a:pt x="518" y="2603"/>
                  <a:pt x="595" y="2451"/>
                  <a:pt x="680" y="2305"/>
                </a:cubicBezTo>
                <a:moveTo>
                  <a:pt x="7994" y="2235"/>
                </a:moveTo>
                <a:cubicBezTo>
                  <a:pt x="7907" y="2078"/>
                  <a:pt x="7809" y="1926"/>
                  <a:pt x="7703" y="1781"/>
                </a:cubicBezTo>
                <a:moveTo>
                  <a:pt x="7721" y="2305"/>
                </a:moveTo>
                <a:cubicBezTo>
                  <a:pt x="7806" y="2451"/>
                  <a:pt x="7883" y="2603"/>
                  <a:pt x="7949" y="2761"/>
                </a:cubicBezTo>
                <a:moveTo>
                  <a:pt x="2163" y="5686"/>
                </a:moveTo>
                <a:cubicBezTo>
                  <a:pt x="2763" y="6034"/>
                  <a:pt x="3458" y="6234"/>
                  <a:pt x="4200" y="6234"/>
                </a:cubicBezTo>
                <a:cubicBezTo>
                  <a:pt x="4943" y="6234"/>
                  <a:pt x="5638" y="6034"/>
                  <a:pt x="6238" y="5686"/>
                </a:cubicBezTo>
                <a:moveTo>
                  <a:pt x="6488" y="5196"/>
                </a:moveTo>
                <a:cubicBezTo>
                  <a:pt x="5852" y="5677"/>
                  <a:pt x="5060" y="5963"/>
                  <a:pt x="4200" y="5963"/>
                </a:cubicBezTo>
                <a:cubicBezTo>
                  <a:pt x="3341" y="5963"/>
                  <a:pt x="2549" y="5677"/>
                  <a:pt x="1913" y="5196"/>
                </a:cubicBezTo>
                <a:moveTo>
                  <a:pt x="1913" y="5196"/>
                </a:moveTo>
                <a:cubicBezTo>
                  <a:pt x="1783" y="5097"/>
                  <a:pt x="1659" y="4990"/>
                  <a:pt x="1543" y="4876"/>
                </a:cubicBezTo>
                <a:moveTo>
                  <a:pt x="1692" y="5367"/>
                </a:moveTo>
                <a:cubicBezTo>
                  <a:pt x="1841" y="5484"/>
                  <a:pt x="1998" y="5591"/>
                  <a:pt x="2163" y="5686"/>
                </a:cubicBezTo>
                <a:moveTo>
                  <a:pt x="6858" y="4876"/>
                </a:moveTo>
                <a:cubicBezTo>
                  <a:pt x="6742" y="4990"/>
                  <a:pt x="6618" y="5097"/>
                  <a:pt x="6488" y="5196"/>
                </a:cubicBezTo>
                <a:moveTo>
                  <a:pt x="6238" y="5686"/>
                </a:moveTo>
                <a:cubicBezTo>
                  <a:pt x="6403" y="5591"/>
                  <a:pt x="6560" y="5484"/>
                  <a:pt x="6709" y="5367"/>
                </a:cubicBezTo>
                <a:moveTo>
                  <a:pt x="7176" y="4521"/>
                </a:moveTo>
                <a:cubicBezTo>
                  <a:pt x="7078" y="4646"/>
                  <a:pt x="6971" y="4765"/>
                  <a:pt x="6858" y="4876"/>
                </a:cubicBezTo>
                <a:moveTo>
                  <a:pt x="6709" y="5367"/>
                </a:moveTo>
                <a:cubicBezTo>
                  <a:pt x="6849" y="5257"/>
                  <a:pt x="6981" y="5139"/>
                  <a:pt x="7105" y="5012"/>
                </a:cubicBezTo>
                <a:moveTo>
                  <a:pt x="1543" y="4876"/>
                </a:moveTo>
                <a:cubicBezTo>
                  <a:pt x="1430" y="4765"/>
                  <a:pt x="1323" y="4646"/>
                  <a:pt x="1225" y="4521"/>
                </a:cubicBezTo>
                <a:moveTo>
                  <a:pt x="1296" y="5012"/>
                </a:moveTo>
                <a:cubicBezTo>
                  <a:pt x="1420" y="5139"/>
                  <a:pt x="1552" y="5257"/>
                  <a:pt x="1692" y="5367"/>
                </a:cubicBezTo>
                <a:moveTo>
                  <a:pt x="7447" y="4135"/>
                </a:moveTo>
                <a:cubicBezTo>
                  <a:pt x="7365" y="4270"/>
                  <a:pt x="7274" y="4398"/>
                  <a:pt x="7176" y="4521"/>
                </a:cubicBezTo>
                <a:moveTo>
                  <a:pt x="7105" y="5012"/>
                </a:moveTo>
                <a:cubicBezTo>
                  <a:pt x="7225" y="4890"/>
                  <a:pt x="7337" y="4761"/>
                  <a:pt x="7440" y="4624"/>
                </a:cubicBezTo>
                <a:moveTo>
                  <a:pt x="961" y="4624"/>
                </a:moveTo>
                <a:cubicBezTo>
                  <a:pt x="1064" y="4761"/>
                  <a:pt x="1176" y="4890"/>
                  <a:pt x="1296" y="5012"/>
                </a:cubicBezTo>
                <a:moveTo>
                  <a:pt x="954" y="4135"/>
                </a:moveTo>
                <a:cubicBezTo>
                  <a:pt x="872" y="3999"/>
                  <a:pt x="798" y="3857"/>
                  <a:pt x="733" y="3710"/>
                </a:cubicBezTo>
                <a:moveTo>
                  <a:pt x="680" y="4201"/>
                </a:moveTo>
                <a:cubicBezTo>
                  <a:pt x="765" y="4348"/>
                  <a:pt x="858" y="4490"/>
                  <a:pt x="961" y="4624"/>
                </a:cubicBezTo>
                <a:moveTo>
                  <a:pt x="7668" y="3710"/>
                </a:moveTo>
                <a:cubicBezTo>
                  <a:pt x="7602" y="3857"/>
                  <a:pt x="7529" y="3999"/>
                  <a:pt x="7447" y="4135"/>
                </a:cubicBezTo>
                <a:moveTo>
                  <a:pt x="7440" y="4624"/>
                </a:moveTo>
                <a:cubicBezTo>
                  <a:pt x="7543" y="4490"/>
                  <a:pt x="7636" y="4348"/>
                  <a:pt x="7721" y="4201"/>
                </a:cubicBezTo>
                <a:moveTo>
                  <a:pt x="452" y="3745"/>
                </a:moveTo>
                <a:cubicBezTo>
                  <a:pt x="518" y="3903"/>
                  <a:pt x="595" y="4055"/>
                  <a:pt x="680" y="4201"/>
                </a:cubicBezTo>
                <a:moveTo>
                  <a:pt x="733" y="3710"/>
                </a:moveTo>
                <a:cubicBezTo>
                  <a:pt x="667" y="3563"/>
                  <a:pt x="610" y="3410"/>
                  <a:pt x="563" y="3253"/>
                </a:cubicBezTo>
                <a:moveTo>
                  <a:pt x="7837" y="3253"/>
                </a:moveTo>
                <a:cubicBezTo>
                  <a:pt x="7791" y="3410"/>
                  <a:pt x="7734" y="3563"/>
                  <a:pt x="7668" y="3710"/>
                </a:cubicBezTo>
                <a:moveTo>
                  <a:pt x="7721" y="4201"/>
                </a:moveTo>
                <a:cubicBezTo>
                  <a:pt x="7806" y="4055"/>
                  <a:pt x="7883" y="3903"/>
                  <a:pt x="7949" y="3745"/>
                </a:cubicBezTo>
                <a:moveTo>
                  <a:pt x="452" y="2761"/>
                </a:moveTo>
                <a:cubicBezTo>
                  <a:pt x="384" y="2920"/>
                  <a:pt x="328" y="3084"/>
                  <a:pt x="282" y="3253"/>
                </a:cubicBezTo>
                <a:cubicBezTo>
                  <a:pt x="328" y="3422"/>
                  <a:pt x="384" y="3586"/>
                  <a:pt x="452" y="3745"/>
                </a:cubicBezTo>
                <a:moveTo>
                  <a:pt x="7949" y="3745"/>
                </a:moveTo>
                <a:cubicBezTo>
                  <a:pt x="8016" y="3586"/>
                  <a:pt x="8073" y="3422"/>
                  <a:pt x="8119" y="3253"/>
                </a:cubicBezTo>
                <a:cubicBezTo>
                  <a:pt x="8073" y="3084"/>
                  <a:pt x="8016" y="2920"/>
                  <a:pt x="7949" y="2761"/>
                </a:cubicBezTo>
                <a:moveTo>
                  <a:pt x="8228" y="2727"/>
                </a:moveTo>
                <a:cubicBezTo>
                  <a:pt x="8160" y="2558"/>
                  <a:pt x="8082" y="2393"/>
                  <a:pt x="7994" y="2235"/>
                </a:cubicBezTo>
                <a:moveTo>
                  <a:pt x="7949" y="2761"/>
                </a:moveTo>
                <a:cubicBezTo>
                  <a:pt x="8016" y="2920"/>
                  <a:pt x="8073" y="3084"/>
                  <a:pt x="8119" y="3253"/>
                </a:cubicBezTo>
                <a:moveTo>
                  <a:pt x="282" y="3253"/>
                </a:moveTo>
                <a:cubicBezTo>
                  <a:pt x="328" y="3084"/>
                  <a:pt x="384" y="2920"/>
                  <a:pt x="452" y="2761"/>
                </a:cubicBezTo>
                <a:moveTo>
                  <a:pt x="407" y="2235"/>
                </a:moveTo>
                <a:cubicBezTo>
                  <a:pt x="319" y="2393"/>
                  <a:pt x="241" y="2558"/>
                  <a:pt x="173" y="2727"/>
                </a:cubicBezTo>
                <a:moveTo>
                  <a:pt x="2633" y="6212"/>
                </a:moveTo>
                <a:cubicBezTo>
                  <a:pt x="3119" y="6401"/>
                  <a:pt x="3647" y="6505"/>
                  <a:pt x="4200" y="6505"/>
                </a:cubicBezTo>
                <a:cubicBezTo>
                  <a:pt x="4753" y="6505"/>
                  <a:pt x="5282" y="6401"/>
                  <a:pt x="5768" y="6212"/>
                </a:cubicBezTo>
                <a:moveTo>
                  <a:pt x="6238" y="5686"/>
                </a:moveTo>
                <a:cubicBezTo>
                  <a:pt x="5638" y="6034"/>
                  <a:pt x="4943" y="6234"/>
                  <a:pt x="4200" y="6234"/>
                </a:cubicBezTo>
                <a:cubicBezTo>
                  <a:pt x="3458" y="6234"/>
                  <a:pt x="2763" y="6034"/>
                  <a:pt x="2163" y="5686"/>
                </a:cubicBezTo>
                <a:moveTo>
                  <a:pt x="1980" y="5894"/>
                </a:moveTo>
                <a:cubicBezTo>
                  <a:pt x="2187" y="6018"/>
                  <a:pt x="2406" y="6124"/>
                  <a:pt x="2633" y="6212"/>
                </a:cubicBezTo>
                <a:moveTo>
                  <a:pt x="2163" y="5686"/>
                </a:moveTo>
                <a:cubicBezTo>
                  <a:pt x="1998" y="5591"/>
                  <a:pt x="1841" y="5484"/>
                  <a:pt x="1692" y="5367"/>
                </a:cubicBezTo>
                <a:moveTo>
                  <a:pt x="5768" y="6212"/>
                </a:moveTo>
                <a:cubicBezTo>
                  <a:pt x="5995" y="6124"/>
                  <a:pt x="6214" y="6018"/>
                  <a:pt x="6421" y="5894"/>
                </a:cubicBezTo>
                <a:moveTo>
                  <a:pt x="6709" y="5367"/>
                </a:moveTo>
                <a:cubicBezTo>
                  <a:pt x="6560" y="5484"/>
                  <a:pt x="6403" y="5591"/>
                  <a:pt x="6238" y="5686"/>
                </a:cubicBezTo>
                <a:moveTo>
                  <a:pt x="1469" y="5537"/>
                </a:moveTo>
                <a:cubicBezTo>
                  <a:pt x="1630" y="5668"/>
                  <a:pt x="1801" y="5787"/>
                  <a:pt x="1980" y="5894"/>
                </a:cubicBezTo>
                <a:moveTo>
                  <a:pt x="1692" y="5367"/>
                </a:moveTo>
                <a:cubicBezTo>
                  <a:pt x="1552" y="5257"/>
                  <a:pt x="1420" y="5139"/>
                  <a:pt x="1296" y="5012"/>
                </a:cubicBezTo>
                <a:moveTo>
                  <a:pt x="6421" y="5894"/>
                </a:moveTo>
                <a:cubicBezTo>
                  <a:pt x="6600" y="5787"/>
                  <a:pt x="6770" y="5668"/>
                  <a:pt x="6932" y="5537"/>
                </a:cubicBezTo>
                <a:moveTo>
                  <a:pt x="7105" y="5012"/>
                </a:moveTo>
                <a:cubicBezTo>
                  <a:pt x="6981" y="5139"/>
                  <a:pt x="6849" y="5257"/>
                  <a:pt x="6709" y="5367"/>
                </a:cubicBezTo>
                <a:moveTo>
                  <a:pt x="1048" y="5145"/>
                </a:moveTo>
                <a:cubicBezTo>
                  <a:pt x="1180" y="5285"/>
                  <a:pt x="1320" y="5416"/>
                  <a:pt x="1469" y="5537"/>
                </a:cubicBezTo>
                <a:moveTo>
                  <a:pt x="1296" y="5012"/>
                </a:moveTo>
                <a:cubicBezTo>
                  <a:pt x="1176" y="4890"/>
                  <a:pt x="1064" y="4761"/>
                  <a:pt x="961" y="4624"/>
                </a:cubicBezTo>
                <a:moveTo>
                  <a:pt x="6932" y="5537"/>
                </a:moveTo>
                <a:cubicBezTo>
                  <a:pt x="7081" y="5416"/>
                  <a:pt x="7221" y="5285"/>
                  <a:pt x="7353" y="5145"/>
                </a:cubicBezTo>
                <a:moveTo>
                  <a:pt x="7440" y="4624"/>
                </a:moveTo>
                <a:cubicBezTo>
                  <a:pt x="7337" y="4761"/>
                  <a:pt x="7225" y="4890"/>
                  <a:pt x="7105" y="5012"/>
                </a:cubicBezTo>
                <a:moveTo>
                  <a:pt x="7353" y="5145"/>
                </a:moveTo>
                <a:cubicBezTo>
                  <a:pt x="7478" y="5013"/>
                  <a:pt x="7595" y="4872"/>
                  <a:pt x="7703" y="4725"/>
                </a:cubicBezTo>
                <a:moveTo>
                  <a:pt x="7721" y="4201"/>
                </a:moveTo>
                <a:cubicBezTo>
                  <a:pt x="7636" y="4348"/>
                  <a:pt x="7543" y="4490"/>
                  <a:pt x="7440" y="4624"/>
                </a:cubicBezTo>
                <a:moveTo>
                  <a:pt x="7703" y="4725"/>
                </a:moveTo>
                <a:cubicBezTo>
                  <a:pt x="7809" y="4580"/>
                  <a:pt x="7907" y="4428"/>
                  <a:pt x="7994" y="4270"/>
                </a:cubicBezTo>
                <a:moveTo>
                  <a:pt x="7949" y="3745"/>
                </a:moveTo>
                <a:cubicBezTo>
                  <a:pt x="7883" y="3903"/>
                  <a:pt x="7806" y="4055"/>
                  <a:pt x="7721" y="4201"/>
                </a:cubicBezTo>
                <a:moveTo>
                  <a:pt x="407" y="4270"/>
                </a:moveTo>
                <a:cubicBezTo>
                  <a:pt x="494" y="4428"/>
                  <a:pt x="592" y="4580"/>
                  <a:pt x="698" y="4725"/>
                </a:cubicBezTo>
                <a:moveTo>
                  <a:pt x="680" y="4201"/>
                </a:moveTo>
                <a:cubicBezTo>
                  <a:pt x="595" y="4055"/>
                  <a:pt x="518" y="3903"/>
                  <a:pt x="452" y="3745"/>
                </a:cubicBezTo>
                <a:moveTo>
                  <a:pt x="8119" y="3253"/>
                </a:moveTo>
                <a:cubicBezTo>
                  <a:pt x="8073" y="3422"/>
                  <a:pt x="8016" y="3586"/>
                  <a:pt x="7949" y="3745"/>
                </a:cubicBezTo>
                <a:moveTo>
                  <a:pt x="7994" y="4270"/>
                </a:moveTo>
                <a:cubicBezTo>
                  <a:pt x="8082" y="4112"/>
                  <a:pt x="8160" y="3948"/>
                  <a:pt x="8228" y="3779"/>
                </a:cubicBezTo>
                <a:moveTo>
                  <a:pt x="173" y="3779"/>
                </a:moveTo>
                <a:cubicBezTo>
                  <a:pt x="241" y="3948"/>
                  <a:pt x="319" y="4112"/>
                  <a:pt x="407" y="4270"/>
                </a:cubicBezTo>
                <a:moveTo>
                  <a:pt x="452" y="3745"/>
                </a:moveTo>
                <a:cubicBezTo>
                  <a:pt x="384" y="3586"/>
                  <a:pt x="328" y="3422"/>
                  <a:pt x="282" y="3253"/>
                </a:cubicBezTo>
                <a:moveTo>
                  <a:pt x="173" y="2727"/>
                </a:moveTo>
                <a:cubicBezTo>
                  <a:pt x="105" y="2898"/>
                  <a:pt x="46" y="3073"/>
                  <a:pt x="0" y="3253"/>
                </a:cubicBezTo>
                <a:cubicBezTo>
                  <a:pt x="46" y="3433"/>
                  <a:pt x="105" y="3608"/>
                  <a:pt x="173" y="3779"/>
                </a:cubicBezTo>
                <a:moveTo>
                  <a:pt x="8228" y="3779"/>
                </a:moveTo>
                <a:cubicBezTo>
                  <a:pt x="8296" y="3608"/>
                  <a:pt x="8355" y="3433"/>
                  <a:pt x="8401" y="3253"/>
                </a:cubicBezTo>
                <a:cubicBezTo>
                  <a:pt x="8355" y="3073"/>
                  <a:pt x="8296" y="2898"/>
                  <a:pt x="8228" y="2727"/>
                </a:cubicBezTo>
                <a:moveTo>
                  <a:pt x="5768" y="6212"/>
                </a:moveTo>
                <a:cubicBezTo>
                  <a:pt x="5282" y="6401"/>
                  <a:pt x="4753" y="6505"/>
                  <a:pt x="4200" y="6505"/>
                </a:cubicBezTo>
                <a:cubicBezTo>
                  <a:pt x="3647" y="6505"/>
                  <a:pt x="3119" y="6401"/>
                  <a:pt x="2633" y="6212"/>
                </a:cubicBezTo>
                <a:moveTo>
                  <a:pt x="6421" y="5894"/>
                </a:moveTo>
                <a:cubicBezTo>
                  <a:pt x="6214" y="6018"/>
                  <a:pt x="5995" y="6124"/>
                  <a:pt x="5768" y="6212"/>
                </a:cubicBezTo>
                <a:moveTo>
                  <a:pt x="2633" y="6212"/>
                </a:moveTo>
                <a:cubicBezTo>
                  <a:pt x="2406" y="6124"/>
                  <a:pt x="2187" y="6018"/>
                  <a:pt x="1980" y="5894"/>
                </a:cubicBezTo>
                <a:moveTo>
                  <a:pt x="6932" y="5537"/>
                </a:moveTo>
                <a:cubicBezTo>
                  <a:pt x="6770" y="5668"/>
                  <a:pt x="6600" y="5787"/>
                  <a:pt x="6421" y="5894"/>
                </a:cubicBezTo>
                <a:moveTo>
                  <a:pt x="1980" y="5894"/>
                </a:moveTo>
                <a:cubicBezTo>
                  <a:pt x="1801" y="5787"/>
                  <a:pt x="1630" y="5668"/>
                  <a:pt x="1469" y="5537"/>
                </a:cubicBezTo>
                <a:moveTo>
                  <a:pt x="7353" y="5145"/>
                </a:moveTo>
                <a:cubicBezTo>
                  <a:pt x="7221" y="5285"/>
                  <a:pt x="7081" y="5416"/>
                  <a:pt x="6932" y="5537"/>
                </a:cubicBezTo>
                <a:moveTo>
                  <a:pt x="1469" y="5537"/>
                </a:moveTo>
                <a:cubicBezTo>
                  <a:pt x="1320" y="5416"/>
                  <a:pt x="1180" y="5285"/>
                  <a:pt x="1048" y="5145"/>
                </a:cubicBezTo>
                <a:moveTo>
                  <a:pt x="7703" y="4725"/>
                </a:moveTo>
                <a:cubicBezTo>
                  <a:pt x="7595" y="4872"/>
                  <a:pt x="7478" y="5013"/>
                  <a:pt x="7353" y="5145"/>
                </a:cubicBezTo>
                <a:moveTo>
                  <a:pt x="1048" y="5145"/>
                </a:moveTo>
                <a:cubicBezTo>
                  <a:pt x="923" y="5013"/>
                  <a:pt x="805" y="4872"/>
                  <a:pt x="698" y="4725"/>
                </a:cubicBezTo>
                <a:moveTo>
                  <a:pt x="4472" y="3253"/>
                </a:moveTo>
                <a:cubicBezTo>
                  <a:pt x="4472" y="3403"/>
                  <a:pt x="4350" y="3524"/>
                  <a:pt x="4200" y="3524"/>
                </a:cubicBezTo>
                <a:cubicBezTo>
                  <a:pt x="4051" y="3524"/>
                  <a:pt x="3929" y="3403"/>
                  <a:pt x="3929" y="3253"/>
                </a:cubicBezTo>
                <a:cubicBezTo>
                  <a:pt x="3929" y="3103"/>
                  <a:pt x="4051" y="2982"/>
                  <a:pt x="4200" y="2982"/>
                </a:cubicBezTo>
                <a:cubicBezTo>
                  <a:pt x="4350" y="2982"/>
                  <a:pt x="4472" y="3103"/>
                  <a:pt x="4472" y="3253"/>
                </a:cubicBezTo>
                <a:close/>
                <a:moveTo>
                  <a:pt x="4743" y="3253"/>
                </a:moveTo>
                <a:cubicBezTo>
                  <a:pt x="4743" y="3553"/>
                  <a:pt x="4500" y="3795"/>
                  <a:pt x="4200" y="3795"/>
                </a:cubicBezTo>
                <a:cubicBezTo>
                  <a:pt x="3901" y="3795"/>
                  <a:pt x="3658" y="3553"/>
                  <a:pt x="3658" y="3253"/>
                </a:cubicBezTo>
                <a:cubicBezTo>
                  <a:pt x="3658" y="2953"/>
                  <a:pt x="3901" y="2710"/>
                  <a:pt x="4200" y="2710"/>
                </a:cubicBezTo>
                <a:cubicBezTo>
                  <a:pt x="4500" y="2710"/>
                  <a:pt x="4743" y="2953"/>
                  <a:pt x="4743" y="3253"/>
                </a:cubicBezTo>
                <a:close/>
                <a:moveTo>
                  <a:pt x="5014" y="3253"/>
                </a:moveTo>
                <a:cubicBezTo>
                  <a:pt x="5014" y="3702"/>
                  <a:pt x="4650" y="4067"/>
                  <a:pt x="4200" y="4067"/>
                </a:cubicBezTo>
                <a:cubicBezTo>
                  <a:pt x="3751" y="4067"/>
                  <a:pt x="3387" y="3702"/>
                  <a:pt x="3387" y="3253"/>
                </a:cubicBezTo>
                <a:cubicBezTo>
                  <a:pt x="3387" y="2803"/>
                  <a:pt x="3751" y="2439"/>
                  <a:pt x="4200" y="2439"/>
                </a:cubicBezTo>
                <a:cubicBezTo>
                  <a:pt x="4650" y="2439"/>
                  <a:pt x="5014" y="2803"/>
                  <a:pt x="5014" y="3253"/>
                </a:cubicBezTo>
                <a:close/>
                <a:moveTo>
                  <a:pt x="5285" y="3253"/>
                </a:moveTo>
                <a:cubicBezTo>
                  <a:pt x="5285" y="3852"/>
                  <a:pt x="4800" y="4338"/>
                  <a:pt x="4200" y="4338"/>
                </a:cubicBezTo>
                <a:cubicBezTo>
                  <a:pt x="3601" y="4338"/>
                  <a:pt x="3116" y="3852"/>
                  <a:pt x="3116" y="3253"/>
                </a:cubicBezTo>
                <a:cubicBezTo>
                  <a:pt x="3116" y="2654"/>
                  <a:pt x="3601" y="2168"/>
                  <a:pt x="4200" y="2168"/>
                </a:cubicBezTo>
                <a:cubicBezTo>
                  <a:pt x="4800" y="2168"/>
                  <a:pt x="5285" y="2654"/>
                  <a:pt x="5285" y="3253"/>
                </a:cubicBezTo>
                <a:close/>
                <a:moveTo>
                  <a:pt x="4200" y="4609"/>
                </a:moveTo>
                <a:cubicBezTo>
                  <a:pt x="5159" y="4609"/>
                  <a:pt x="5988" y="4057"/>
                  <a:pt x="6388" y="3253"/>
                </a:cubicBezTo>
                <a:cubicBezTo>
                  <a:pt x="5988" y="2449"/>
                  <a:pt x="5159" y="1897"/>
                  <a:pt x="4200" y="1897"/>
                </a:cubicBezTo>
                <a:cubicBezTo>
                  <a:pt x="3242" y="1897"/>
                  <a:pt x="2413" y="2449"/>
                  <a:pt x="2013" y="3253"/>
                </a:cubicBezTo>
                <a:cubicBezTo>
                  <a:pt x="2413" y="4057"/>
                  <a:pt x="3242" y="4609"/>
                  <a:pt x="4200" y="4609"/>
                </a:cubicBezTo>
                <a:close/>
                <a:moveTo>
                  <a:pt x="2013" y="3253"/>
                </a:moveTo>
                <a:cubicBezTo>
                  <a:pt x="2413" y="2449"/>
                  <a:pt x="3242" y="1897"/>
                  <a:pt x="4200" y="1897"/>
                </a:cubicBezTo>
                <a:cubicBezTo>
                  <a:pt x="5159" y="1897"/>
                  <a:pt x="5988" y="2449"/>
                  <a:pt x="6388" y="3253"/>
                </a:cubicBezTo>
                <a:moveTo>
                  <a:pt x="6519" y="2934"/>
                </a:moveTo>
                <a:cubicBezTo>
                  <a:pt x="6044" y="2151"/>
                  <a:pt x="5183" y="1628"/>
                  <a:pt x="4200" y="1628"/>
                </a:cubicBezTo>
                <a:cubicBezTo>
                  <a:pt x="3218" y="1628"/>
                  <a:pt x="2357" y="2151"/>
                  <a:pt x="1882" y="2934"/>
                </a:cubicBezTo>
                <a:moveTo>
                  <a:pt x="1882" y="2934"/>
                </a:moveTo>
                <a:cubicBezTo>
                  <a:pt x="2357" y="2151"/>
                  <a:pt x="3218" y="1628"/>
                  <a:pt x="4200" y="1628"/>
                </a:cubicBezTo>
                <a:cubicBezTo>
                  <a:pt x="5183" y="1628"/>
                  <a:pt x="6044" y="2151"/>
                  <a:pt x="6519" y="2934"/>
                </a:cubicBezTo>
                <a:moveTo>
                  <a:pt x="6607" y="2579"/>
                </a:moveTo>
                <a:cubicBezTo>
                  <a:pt x="6065" y="1838"/>
                  <a:pt x="5189" y="1357"/>
                  <a:pt x="4200" y="1357"/>
                </a:cubicBezTo>
                <a:cubicBezTo>
                  <a:pt x="3212" y="1357"/>
                  <a:pt x="2336" y="1838"/>
                  <a:pt x="1794" y="2579"/>
                </a:cubicBezTo>
                <a:moveTo>
                  <a:pt x="1758" y="2166"/>
                </a:moveTo>
                <a:cubicBezTo>
                  <a:pt x="1758" y="2174"/>
                  <a:pt x="1759" y="2182"/>
                  <a:pt x="1759" y="2190"/>
                </a:cubicBezTo>
                <a:cubicBezTo>
                  <a:pt x="2355" y="1513"/>
                  <a:pt x="3228" y="1085"/>
                  <a:pt x="4200" y="1085"/>
                </a:cubicBezTo>
                <a:cubicBezTo>
                  <a:pt x="5173" y="1085"/>
                  <a:pt x="6046" y="1513"/>
                  <a:pt x="6642" y="2190"/>
                </a:cubicBezTo>
                <a:moveTo>
                  <a:pt x="6610" y="1768"/>
                </a:moveTo>
                <a:cubicBezTo>
                  <a:pt x="5980" y="1177"/>
                  <a:pt x="5133" y="814"/>
                  <a:pt x="4200" y="814"/>
                </a:cubicBezTo>
                <a:cubicBezTo>
                  <a:pt x="3268" y="814"/>
                  <a:pt x="2421" y="1177"/>
                  <a:pt x="1791" y="1768"/>
                </a:cubicBezTo>
                <a:moveTo>
                  <a:pt x="1791" y="1768"/>
                </a:moveTo>
                <a:cubicBezTo>
                  <a:pt x="2421" y="1177"/>
                  <a:pt x="3268" y="814"/>
                  <a:pt x="4200" y="814"/>
                </a:cubicBezTo>
                <a:cubicBezTo>
                  <a:pt x="5133" y="814"/>
                  <a:pt x="5980" y="1177"/>
                  <a:pt x="6610" y="1768"/>
                </a:cubicBezTo>
                <a:moveTo>
                  <a:pt x="6488" y="1310"/>
                </a:moveTo>
                <a:cubicBezTo>
                  <a:pt x="5852" y="829"/>
                  <a:pt x="5060" y="543"/>
                  <a:pt x="4200" y="543"/>
                </a:cubicBezTo>
                <a:cubicBezTo>
                  <a:pt x="3341" y="543"/>
                  <a:pt x="2549" y="829"/>
                  <a:pt x="1913" y="1310"/>
                </a:cubicBezTo>
                <a:moveTo>
                  <a:pt x="1913" y="1310"/>
                </a:moveTo>
                <a:cubicBezTo>
                  <a:pt x="2549" y="829"/>
                  <a:pt x="3341" y="543"/>
                  <a:pt x="4200" y="543"/>
                </a:cubicBezTo>
                <a:cubicBezTo>
                  <a:pt x="5060" y="543"/>
                  <a:pt x="5852" y="829"/>
                  <a:pt x="6488" y="1310"/>
                </a:cubicBezTo>
                <a:moveTo>
                  <a:pt x="6238" y="819"/>
                </a:moveTo>
                <a:cubicBezTo>
                  <a:pt x="5638" y="472"/>
                  <a:pt x="4943" y="272"/>
                  <a:pt x="4200" y="272"/>
                </a:cubicBezTo>
                <a:cubicBezTo>
                  <a:pt x="3458" y="272"/>
                  <a:pt x="2762" y="472"/>
                  <a:pt x="2163" y="819"/>
                </a:cubicBezTo>
                <a:moveTo>
                  <a:pt x="2163" y="819"/>
                </a:moveTo>
                <a:cubicBezTo>
                  <a:pt x="2762" y="472"/>
                  <a:pt x="3458" y="272"/>
                  <a:pt x="4200" y="272"/>
                </a:cubicBezTo>
                <a:cubicBezTo>
                  <a:pt x="4943" y="272"/>
                  <a:pt x="5638" y="472"/>
                  <a:pt x="6238" y="819"/>
                </a:cubicBezTo>
                <a:moveTo>
                  <a:pt x="5768" y="294"/>
                </a:moveTo>
                <a:cubicBezTo>
                  <a:pt x="5282" y="105"/>
                  <a:pt x="4753" y="0"/>
                  <a:pt x="4200" y="0"/>
                </a:cubicBezTo>
                <a:cubicBezTo>
                  <a:pt x="3647" y="0"/>
                  <a:pt x="3119" y="105"/>
                  <a:pt x="2633" y="294"/>
                </a:cubicBezTo>
                <a:moveTo>
                  <a:pt x="2633" y="294"/>
                </a:moveTo>
                <a:cubicBezTo>
                  <a:pt x="3119" y="105"/>
                  <a:pt x="3647" y="0"/>
                  <a:pt x="4200" y="0"/>
                </a:cubicBezTo>
                <a:cubicBezTo>
                  <a:pt x="4753" y="0"/>
                  <a:pt x="5282" y="105"/>
                  <a:pt x="5768" y="294"/>
                </a:cubicBezTo>
                <a:moveTo>
                  <a:pt x="1882" y="2934"/>
                </a:moveTo>
                <a:cubicBezTo>
                  <a:pt x="1820" y="3036"/>
                  <a:pt x="1765" y="3143"/>
                  <a:pt x="1717" y="3253"/>
                </a:cubicBezTo>
                <a:cubicBezTo>
                  <a:pt x="1765" y="3363"/>
                  <a:pt x="1820" y="3470"/>
                  <a:pt x="1882" y="3572"/>
                </a:cubicBezTo>
                <a:moveTo>
                  <a:pt x="6811" y="2897"/>
                </a:moveTo>
                <a:cubicBezTo>
                  <a:pt x="6750" y="2787"/>
                  <a:pt x="6682" y="2681"/>
                  <a:pt x="6607" y="2579"/>
                </a:cubicBezTo>
                <a:moveTo>
                  <a:pt x="6519" y="2934"/>
                </a:moveTo>
                <a:cubicBezTo>
                  <a:pt x="6581" y="3036"/>
                  <a:pt x="6636" y="3143"/>
                  <a:pt x="6684" y="3253"/>
                </a:cubicBezTo>
                <a:moveTo>
                  <a:pt x="1794" y="2579"/>
                </a:moveTo>
                <a:cubicBezTo>
                  <a:pt x="1719" y="2681"/>
                  <a:pt x="1651" y="2787"/>
                  <a:pt x="1590" y="2897"/>
                </a:cubicBezTo>
                <a:moveTo>
                  <a:pt x="1717" y="3253"/>
                </a:moveTo>
                <a:cubicBezTo>
                  <a:pt x="1765" y="3143"/>
                  <a:pt x="1820" y="3036"/>
                  <a:pt x="1882" y="2934"/>
                </a:cubicBezTo>
                <a:moveTo>
                  <a:pt x="6607" y="2579"/>
                </a:moveTo>
                <a:cubicBezTo>
                  <a:pt x="6682" y="2681"/>
                  <a:pt x="6750" y="2787"/>
                  <a:pt x="6811" y="2897"/>
                </a:cubicBezTo>
                <a:moveTo>
                  <a:pt x="1512" y="2507"/>
                </a:moveTo>
                <a:cubicBezTo>
                  <a:pt x="1588" y="2397"/>
                  <a:pt x="1670" y="2291"/>
                  <a:pt x="1759" y="2190"/>
                </a:cubicBezTo>
                <a:cubicBezTo>
                  <a:pt x="1759" y="2182"/>
                  <a:pt x="1758" y="2174"/>
                  <a:pt x="1758" y="2166"/>
                </a:cubicBezTo>
                <a:moveTo>
                  <a:pt x="6642" y="2190"/>
                </a:moveTo>
                <a:cubicBezTo>
                  <a:pt x="6731" y="2291"/>
                  <a:pt x="6813" y="2397"/>
                  <a:pt x="6889" y="2507"/>
                </a:cubicBezTo>
                <a:moveTo>
                  <a:pt x="6610" y="1768"/>
                </a:moveTo>
                <a:cubicBezTo>
                  <a:pt x="6716" y="1867"/>
                  <a:pt x="6816" y="1973"/>
                  <a:pt x="6909" y="2084"/>
                </a:cubicBezTo>
                <a:moveTo>
                  <a:pt x="6858" y="1630"/>
                </a:moveTo>
                <a:cubicBezTo>
                  <a:pt x="6742" y="1516"/>
                  <a:pt x="6618" y="1409"/>
                  <a:pt x="6488" y="1310"/>
                </a:cubicBezTo>
                <a:moveTo>
                  <a:pt x="1492" y="2084"/>
                </a:moveTo>
                <a:cubicBezTo>
                  <a:pt x="1585" y="1973"/>
                  <a:pt x="1685" y="1867"/>
                  <a:pt x="1791" y="1768"/>
                </a:cubicBezTo>
                <a:moveTo>
                  <a:pt x="1913" y="1310"/>
                </a:moveTo>
                <a:cubicBezTo>
                  <a:pt x="1783" y="1409"/>
                  <a:pt x="1659" y="1516"/>
                  <a:pt x="1543" y="1630"/>
                </a:cubicBezTo>
                <a:moveTo>
                  <a:pt x="6488" y="1310"/>
                </a:moveTo>
                <a:cubicBezTo>
                  <a:pt x="6618" y="1409"/>
                  <a:pt x="6742" y="1516"/>
                  <a:pt x="6858" y="1630"/>
                </a:cubicBezTo>
              </a:path>
            </a:pathLst>
          </a:custGeom>
          <a:noFill/>
          <a:ln w="12700" cap="flat">
            <a:solidFill>
              <a:srgbClr val="FBC9A0"/>
            </a:solidFill>
            <a:prstDash val="solid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6" name="TextBox 5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18" name="Group 17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3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166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for background picture">
    <p:bg>
      <p:bgPr>
        <a:solidFill>
          <a:srgbClr val="F39C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 noEditPoints="1"/>
          </p:cNvSpPr>
          <p:nvPr/>
        </p:nvSpPr>
        <p:spPr bwMode="auto">
          <a:xfrm>
            <a:off x="5119689" y="-392112"/>
            <a:ext cx="4595813" cy="4587875"/>
          </a:xfrm>
          <a:custGeom>
            <a:avLst/>
            <a:gdLst>
              <a:gd name="T0" fmla="*/ 5611 w 6574"/>
              <a:gd name="T1" fmla="*/ 5611 h 6574"/>
              <a:gd name="T2" fmla="*/ 6574 w 6574"/>
              <a:gd name="T3" fmla="*/ 3287 h 6574"/>
              <a:gd name="T4" fmla="*/ 3287 w 6574"/>
              <a:gd name="T5" fmla="*/ 0 h 6574"/>
              <a:gd name="T6" fmla="*/ 0 w 6574"/>
              <a:gd name="T7" fmla="*/ 3287 h 6574"/>
              <a:gd name="T8" fmla="*/ 963 w 6574"/>
              <a:gd name="T9" fmla="*/ 5611 h 6574"/>
              <a:gd name="T10" fmla="*/ 5224 w 6574"/>
              <a:gd name="T11" fmla="*/ 5223 h 6574"/>
              <a:gd name="T12" fmla="*/ 6026 w 6574"/>
              <a:gd name="T13" fmla="*/ 3287 h 6574"/>
              <a:gd name="T14" fmla="*/ 3287 w 6574"/>
              <a:gd name="T15" fmla="*/ 548 h 6574"/>
              <a:gd name="T16" fmla="*/ 548 w 6574"/>
              <a:gd name="T17" fmla="*/ 3287 h 6574"/>
              <a:gd name="T18" fmla="*/ 1350 w 6574"/>
              <a:gd name="T19" fmla="*/ 5223 h 6574"/>
              <a:gd name="T20" fmla="*/ 4837 w 6574"/>
              <a:gd name="T21" fmla="*/ 4836 h 6574"/>
              <a:gd name="T22" fmla="*/ 5478 w 6574"/>
              <a:gd name="T23" fmla="*/ 3287 h 6574"/>
              <a:gd name="T24" fmla="*/ 3287 w 6574"/>
              <a:gd name="T25" fmla="*/ 1095 h 6574"/>
              <a:gd name="T26" fmla="*/ 1096 w 6574"/>
              <a:gd name="T27" fmla="*/ 3287 h 6574"/>
              <a:gd name="T28" fmla="*/ 1737 w 6574"/>
              <a:gd name="T29" fmla="*/ 4836 h 6574"/>
              <a:gd name="T30" fmla="*/ 5418 w 6574"/>
              <a:gd name="T31" fmla="*/ 5417 h 6574"/>
              <a:gd name="T32" fmla="*/ 6300 w 6574"/>
              <a:gd name="T33" fmla="*/ 3287 h 6574"/>
              <a:gd name="T34" fmla="*/ 3287 w 6574"/>
              <a:gd name="T35" fmla="*/ 274 h 6574"/>
              <a:gd name="T36" fmla="*/ 274 w 6574"/>
              <a:gd name="T37" fmla="*/ 3287 h 6574"/>
              <a:gd name="T38" fmla="*/ 1156 w 6574"/>
              <a:gd name="T39" fmla="*/ 5417 h 6574"/>
              <a:gd name="T40" fmla="*/ 5030 w 6574"/>
              <a:gd name="T41" fmla="*/ 5030 h 6574"/>
              <a:gd name="T42" fmla="*/ 5752 w 6574"/>
              <a:gd name="T43" fmla="*/ 3287 h 6574"/>
              <a:gd name="T44" fmla="*/ 3287 w 6574"/>
              <a:gd name="T45" fmla="*/ 821 h 6574"/>
              <a:gd name="T46" fmla="*/ 822 w 6574"/>
              <a:gd name="T47" fmla="*/ 3287 h 6574"/>
              <a:gd name="T48" fmla="*/ 1544 w 6574"/>
              <a:gd name="T49" fmla="*/ 5030 h 6574"/>
              <a:gd name="T50" fmla="*/ 4643 w 6574"/>
              <a:gd name="T51" fmla="*/ 4642 h 6574"/>
              <a:gd name="T52" fmla="*/ 5204 w 6574"/>
              <a:gd name="T53" fmla="*/ 3287 h 6574"/>
              <a:gd name="T54" fmla="*/ 3287 w 6574"/>
              <a:gd name="T55" fmla="*/ 1369 h 6574"/>
              <a:gd name="T56" fmla="*/ 1369 w 6574"/>
              <a:gd name="T57" fmla="*/ 3287 h 6574"/>
              <a:gd name="T58" fmla="*/ 1931 w 6574"/>
              <a:gd name="T59" fmla="*/ 4642 h 6574"/>
              <a:gd name="T60" fmla="*/ 4449 w 6574"/>
              <a:gd name="T61" fmla="*/ 4449 h 6574"/>
              <a:gd name="T62" fmla="*/ 4931 w 6574"/>
              <a:gd name="T63" fmla="*/ 3287 h 6574"/>
              <a:gd name="T64" fmla="*/ 3287 w 6574"/>
              <a:gd name="T65" fmla="*/ 1643 h 6574"/>
              <a:gd name="T66" fmla="*/ 1643 w 6574"/>
              <a:gd name="T67" fmla="*/ 3287 h 6574"/>
              <a:gd name="T68" fmla="*/ 2125 w 6574"/>
              <a:gd name="T69" fmla="*/ 4449 h 6574"/>
              <a:gd name="T70" fmla="*/ 4255 w 6574"/>
              <a:gd name="T71" fmla="*/ 4255 h 6574"/>
              <a:gd name="T72" fmla="*/ 4657 w 6574"/>
              <a:gd name="T73" fmla="*/ 3287 h 6574"/>
              <a:gd name="T74" fmla="*/ 3287 w 6574"/>
              <a:gd name="T75" fmla="*/ 1917 h 6574"/>
              <a:gd name="T76" fmla="*/ 1917 w 6574"/>
              <a:gd name="T77" fmla="*/ 3287 h 6574"/>
              <a:gd name="T78" fmla="*/ 2318 w 6574"/>
              <a:gd name="T79" fmla="*/ 4255 h 6574"/>
              <a:gd name="T80" fmla="*/ 4062 w 6574"/>
              <a:gd name="T81" fmla="*/ 4061 h 6574"/>
              <a:gd name="T82" fmla="*/ 4383 w 6574"/>
              <a:gd name="T83" fmla="*/ 3287 h 6574"/>
              <a:gd name="T84" fmla="*/ 3287 w 6574"/>
              <a:gd name="T85" fmla="*/ 2191 h 6574"/>
              <a:gd name="T86" fmla="*/ 2191 w 6574"/>
              <a:gd name="T87" fmla="*/ 3287 h 6574"/>
              <a:gd name="T88" fmla="*/ 2512 w 6574"/>
              <a:gd name="T89" fmla="*/ 4061 h 6574"/>
              <a:gd name="T90" fmla="*/ 3868 w 6574"/>
              <a:gd name="T91" fmla="*/ 3868 h 6574"/>
              <a:gd name="T92" fmla="*/ 4109 w 6574"/>
              <a:gd name="T93" fmla="*/ 3287 h 6574"/>
              <a:gd name="T94" fmla="*/ 3287 w 6574"/>
              <a:gd name="T95" fmla="*/ 2465 h 6574"/>
              <a:gd name="T96" fmla="*/ 2465 w 6574"/>
              <a:gd name="T97" fmla="*/ 3287 h 6574"/>
              <a:gd name="T98" fmla="*/ 2706 w 6574"/>
              <a:gd name="T99" fmla="*/ 3868 h 6574"/>
              <a:gd name="T100" fmla="*/ 3674 w 6574"/>
              <a:gd name="T101" fmla="*/ 3674 h 6574"/>
              <a:gd name="T102" fmla="*/ 3835 w 6574"/>
              <a:gd name="T103" fmla="*/ 3287 h 6574"/>
              <a:gd name="T104" fmla="*/ 3287 w 6574"/>
              <a:gd name="T105" fmla="*/ 2739 h 6574"/>
              <a:gd name="T106" fmla="*/ 2739 w 6574"/>
              <a:gd name="T107" fmla="*/ 3287 h 6574"/>
              <a:gd name="T108" fmla="*/ 2900 w 6574"/>
              <a:gd name="T109" fmla="*/ 3674 h 6574"/>
              <a:gd name="T110" fmla="*/ 3481 w 6574"/>
              <a:gd name="T111" fmla="*/ 3480 h 6574"/>
              <a:gd name="T112" fmla="*/ 3561 w 6574"/>
              <a:gd name="T113" fmla="*/ 3287 h 6574"/>
              <a:gd name="T114" fmla="*/ 3287 w 6574"/>
              <a:gd name="T115" fmla="*/ 3013 h 6574"/>
              <a:gd name="T116" fmla="*/ 3013 w 6574"/>
              <a:gd name="T117" fmla="*/ 3287 h 6574"/>
              <a:gd name="T118" fmla="*/ 3093 w 6574"/>
              <a:gd name="T119" fmla="*/ 3480 h 6574"/>
              <a:gd name="T120" fmla="*/ 3287 w 6574"/>
              <a:gd name="T121" fmla="*/ 3287 h 6574"/>
              <a:gd name="T122" fmla="*/ 3287 w 6574"/>
              <a:gd name="T123" fmla="*/ 6574 h 6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74" h="6574">
                <a:moveTo>
                  <a:pt x="5611" y="5611"/>
                </a:moveTo>
                <a:cubicBezTo>
                  <a:pt x="6206" y="5016"/>
                  <a:pt x="6574" y="4194"/>
                  <a:pt x="6574" y="3287"/>
                </a:cubicBezTo>
                <a:cubicBezTo>
                  <a:pt x="6574" y="1471"/>
                  <a:pt x="5102" y="0"/>
                  <a:pt x="3287" y="0"/>
                </a:cubicBezTo>
                <a:cubicBezTo>
                  <a:pt x="1472" y="0"/>
                  <a:pt x="0" y="1471"/>
                  <a:pt x="0" y="3287"/>
                </a:cubicBezTo>
                <a:cubicBezTo>
                  <a:pt x="0" y="4194"/>
                  <a:pt x="368" y="5016"/>
                  <a:pt x="963" y="5611"/>
                </a:cubicBezTo>
                <a:moveTo>
                  <a:pt x="5224" y="5223"/>
                </a:moveTo>
                <a:cubicBezTo>
                  <a:pt x="5720" y="4728"/>
                  <a:pt x="6026" y="4043"/>
                  <a:pt x="6026" y="3287"/>
                </a:cubicBezTo>
                <a:cubicBezTo>
                  <a:pt x="6026" y="1774"/>
                  <a:pt x="4800" y="548"/>
                  <a:pt x="3287" y="548"/>
                </a:cubicBezTo>
                <a:cubicBezTo>
                  <a:pt x="1774" y="548"/>
                  <a:pt x="548" y="1774"/>
                  <a:pt x="548" y="3287"/>
                </a:cubicBezTo>
                <a:cubicBezTo>
                  <a:pt x="548" y="4043"/>
                  <a:pt x="854" y="4728"/>
                  <a:pt x="1350" y="5223"/>
                </a:cubicBezTo>
                <a:moveTo>
                  <a:pt x="4837" y="4836"/>
                </a:moveTo>
                <a:cubicBezTo>
                  <a:pt x="5233" y="4440"/>
                  <a:pt x="5478" y="3892"/>
                  <a:pt x="5478" y="3287"/>
                </a:cubicBezTo>
                <a:cubicBezTo>
                  <a:pt x="5478" y="2076"/>
                  <a:pt x="4497" y="1095"/>
                  <a:pt x="3287" y="1095"/>
                </a:cubicBezTo>
                <a:cubicBezTo>
                  <a:pt x="2077" y="1095"/>
                  <a:pt x="1096" y="2076"/>
                  <a:pt x="1096" y="3287"/>
                </a:cubicBezTo>
                <a:cubicBezTo>
                  <a:pt x="1096" y="3892"/>
                  <a:pt x="1341" y="4440"/>
                  <a:pt x="1737" y="4836"/>
                </a:cubicBezTo>
                <a:moveTo>
                  <a:pt x="5418" y="5417"/>
                </a:moveTo>
                <a:cubicBezTo>
                  <a:pt x="5963" y="4872"/>
                  <a:pt x="6300" y="4119"/>
                  <a:pt x="6300" y="3287"/>
                </a:cubicBezTo>
                <a:cubicBezTo>
                  <a:pt x="6300" y="1623"/>
                  <a:pt x="4951" y="274"/>
                  <a:pt x="3287" y="274"/>
                </a:cubicBezTo>
                <a:cubicBezTo>
                  <a:pt x="1623" y="274"/>
                  <a:pt x="274" y="1623"/>
                  <a:pt x="274" y="3287"/>
                </a:cubicBezTo>
                <a:cubicBezTo>
                  <a:pt x="274" y="4119"/>
                  <a:pt x="611" y="4872"/>
                  <a:pt x="1156" y="5417"/>
                </a:cubicBezTo>
                <a:moveTo>
                  <a:pt x="5030" y="5030"/>
                </a:moveTo>
                <a:cubicBezTo>
                  <a:pt x="5476" y="4584"/>
                  <a:pt x="5752" y="3967"/>
                  <a:pt x="5752" y="3287"/>
                </a:cubicBezTo>
                <a:cubicBezTo>
                  <a:pt x="5752" y="1925"/>
                  <a:pt x="4649" y="821"/>
                  <a:pt x="3287" y="821"/>
                </a:cubicBezTo>
                <a:cubicBezTo>
                  <a:pt x="1925" y="821"/>
                  <a:pt x="822" y="1925"/>
                  <a:pt x="822" y="3287"/>
                </a:cubicBezTo>
                <a:cubicBezTo>
                  <a:pt x="822" y="3967"/>
                  <a:pt x="1098" y="4584"/>
                  <a:pt x="1544" y="5030"/>
                </a:cubicBezTo>
                <a:moveTo>
                  <a:pt x="4643" y="4642"/>
                </a:moveTo>
                <a:cubicBezTo>
                  <a:pt x="4990" y="4295"/>
                  <a:pt x="5204" y="3816"/>
                  <a:pt x="5204" y="3287"/>
                </a:cubicBezTo>
                <a:cubicBezTo>
                  <a:pt x="5204" y="2228"/>
                  <a:pt x="4346" y="1369"/>
                  <a:pt x="3287" y="1369"/>
                </a:cubicBezTo>
                <a:cubicBezTo>
                  <a:pt x="2228" y="1369"/>
                  <a:pt x="1369" y="2228"/>
                  <a:pt x="1369" y="3287"/>
                </a:cubicBezTo>
                <a:cubicBezTo>
                  <a:pt x="1369" y="3816"/>
                  <a:pt x="1584" y="4295"/>
                  <a:pt x="1931" y="4642"/>
                </a:cubicBezTo>
                <a:moveTo>
                  <a:pt x="4449" y="4449"/>
                </a:moveTo>
                <a:cubicBezTo>
                  <a:pt x="4747" y="4151"/>
                  <a:pt x="4931" y="3740"/>
                  <a:pt x="4931" y="3287"/>
                </a:cubicBezTo>
                <a:cubicBezTo>
                  <a:pt x="4931" y="2379"/>
                  <a:pt x="4195" y="1643"/>
                  <a:pt x="3287" y="1643"/>
                </a:cubicBezTo>
                <a:cubicBezTo>
                  <a:pt x="2379" y="1643"/>
                  <a:pt x="1643" y="2379"/>
                  <a:pt x="1643" y="3287"/>
                </a:cubicBezTo>
                <a:cubicBezTo>
                  <a:pt x="1643" y="3740"/>
                  <a:pt x="1827" y="4151"/>
                  <a:pt x="2125" y="4449"/>
                </a:cubicBezTo>
                <a:moveTo>
                  <a:pt x="4255" y="4255"/>
                </a:moveTo>
                <a:cubicBezTo>
                  <a:pt x="4503" y="4007"/>
                  <a:pt x="4657" y="3665"/>
                  <a:pt x="4657" y="3287"/>
                </a:cubicBezTo>
                <a:cubicBezTo>
                  <a:pt x="4657" y="2530"/>
                  <a:pt x="4043" y="1917"/>
                  <a:pt x="3287" y="1917"/>
                </a:cubicBezTo>
                <a:cubicBezTo>
                  <a:pt x="2531" y="1917"/>
                  <a:pt x="1917" y="2530"/>
                  <a:pt x="1917" y="3287"/>
                </a:cubicBezTo>
                <a:cubicBezTo>
                  <a:pt x="1917" y="3665"/>
                  <a:pt x="2071" y="4007"/>
                  <a:pt x="2318" y="4255"/>
                </a:cubicBezTo>
                <a:moveTo>
                  <a:pt x="4062" y="4061"/>
                </a:moveTo>
                <a:cubicBezTo>
                  <a:pt x="4260" y="3863"/>
                  <a:pt x="4383" y="3589"/>
                  <a:pt x="4383" y="3287"/>
                </a:cubicBezTo>
                <a:cubicBezTo>
                  <a:pt x="4383" y="2682"/>
                  <a:pt x="3892" y="2191"/>
                  <a:pt x="3287" y="2191"/>
                </a:cubicBezTo>
                <a:cubicBezTo>
                  <a:pt x="2682" y="2191"/>
                  <a:pt x="2191" y="2682"/>
                  <a:pt x="2191" y="3287"/>
                </a:cubicBezTo>
                <a:cubicBezTo>
                  <a:pt x="2191" y="3589"/>
                  <a:pt x="2314" y="3863"/>
                  <a:pt x="2512" y="4061"/>
                </a:cubicBezTo>
                <a:moveTo>
                  <a:pt x="3868" y="3868"/>
                </a:moveTo>
                <a:cubicBezTo>
                  <a:pt x="4017" y="3719"/>
                  <a:pt x="4109" y="3514"/>
                  <a:pt x="4109" y="3287"/>
                </a:cubicBezTo>
                <a:cubicBezTo>
                  <a:pt x="4109" y="2833"/>
                  <a:pt x="3741" y="2465"/>
                  <a:pt x="3287" y="2465"/>
                </a:cubicBezTo>
                <a:cubicBezTo>
                  <a:pt x="2833" y="2465"/>
                  <a:pt x="2465" y="2833"/>
                  <a:pt x="2465" y="3287"/>
                </a:cubicBezTo>
                <a:cubicBezTo>
                  <a:pt x="2465" y="3514"/>
                  <a:pt x="2557" y="3719"/>
                  <a:pt x="2706" y="3868"/>
                </a:cubicBezTo>
                <a:moveTo>
                  <a:pt x="3674" y="3674"/>
                </a:moveTo>
                <a:cubicBezTo>
                  <a:pt x="3773" y="3575"/>
                  <a:pt x="3835" y="3438"/>
                  <a:pt x="3835" y="3287"/>
                </a:cubicBezTo>
                <a:cubicBezTo>
                  <a:pt x="3835" y="2984"/>
                  <a:pt x="3590" y="2739"/>
                  <a:pt x="3287" y="2739"/>
                </a:cubicBezTo>
                <a:cubicBezTo>
                  <a:pt x="2984" y="2739"/>
                  <a:pt x="2739" y="2984"/>
                  <a:pt x="2739" y="3287"/>
                </a:cubicBezTo>
                <a:cubicBezTo>
                  <a:pt x="2739" y="3438"/>
                  <a:pt x="2800" y="3575"/>
                  <a:pt x="2900" y="3674"/>
                </a:cubicBezTo>
                <a:moveTo>
                  <a:pt x="3481" y="3480"/>
                </a:moveTo>
                <a:cubicBezTo>
                  <a:pt x="3530" y="3431"/>
                  <a:pt x="3561" y="3362"/>
                  <a:pt x="3561" y="3287"/>
                </a:cubicBezTo>
                <a:cubicBezTo>
                  <a:pt x="3561" y="3135"/>
                  <a:pt x="3438" y="3013"/>
                  <a:pt x="3287" y="3013"/>
                </a:cubicBezTo>
                <a:cubicBezTo>
                  <a:pt x="3136" y="3013"/>
                  <a:pt x="3013" y="3135"/>
                  <a:pt x="3013" y="3287"/>
                </a:cubicBezTo>
                <a:cubicBezTo>
                  <a:pt x="3013" y="3362"/>
                  <a:pt x="3044" y="3431"/>
                  <a:pt x="3093" y="3480"/>
                </a:cubicBezTo>
                <a:moveTo>
                  <a:pt x="3287" y="3287"/>
                </a:moveTo>
                <a:cubicBezTo>
                  <a:pt x="3287" y="6574"/>
                  <a:pt x="3287" y="6574"/>
                  <a:pt x="3287" y="6574"/>
                </a:cubicBezTo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0239" y="1245428"/>
            <a:ext cx="7872484" cy="445241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dirty="0" smtClean="0"/>
              <a:t>Insert subtitle here. Right click on slide background to set picture.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7464DBFF-AD6E-4E48-AD0A-CCF7B2650287}" type="datetime1">
              <a:rPr lang="en-GB" smtClean="0"/>
              <a:t>24/01/2018</a:t>
            </a:fld>
            <a:endParaRPr lang="en-GB"/>
          </a:p>
        </p:txBody>
      </p:sp>
      <p:cxnSp>
        <p:nvCxnSpPr>
          <p:cNvPr id="16" name="Straight Connector 15"/>
          <p:cNvCxnSpPr/>
          <p:nvPr/>
        </p:nvCxnSpPr>
        <p:spPr>
          <a:xfrm>
            <a:off x="646925" y="470735"/>
            <a:ext cx="7855798" cy="0"/>
          </a:xfrm>
          <a:prstGeom prst="line">
            <a:avLst/>
          </a:prstGeom>
          <a:ln w="381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239" y="470734"/>
            <a:ext cx="7872484" cy="698501"/>
          </a:xfrm>
        </p:spPr>
        <p:txBody>
          <a:bodyPr vert="horz" lIns="36000" tIns="0" rIns="36000" bIns="0" rtlCol="0" anchor="ctr">
            <a:normAutofit/>
          </a:bodyPr>
          <a:lstStyle>
            <a:lvl1pPr>
              <a:defRPr lang="en-US" sz="48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>
              <a:spcBef>
                <a:spcPts val="0"/>
              </a:spcBef>
              <a:buFont typeface="Arial" panose="020B0604020202020204" pitchFamily="34" charset="0"/>
            </a:pPr>
            <a:r>
              <a:rPr lang="en-US" dirty="0" smtClean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826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485654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0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83957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1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83957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2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83957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3</a:t>
            </a:r>
          </a:p>
        </p:txBody>
      </p:sp>
      <p:sp>
        <p:nvSpPr>
          <p:cNvPr id="24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452324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4</a:t>
            </a:r>
          </a:p>
        </p:txBody>
      </p:sp>
      <p:sp>
        <p:nvSpPr>
          <p:cNvPr id="25" name="Text Placeholder 31"/>
          <p:cNvSpPr>
            <a:spLocks noGrp="1"/>
          </p:cNvSpPr>
          <p:nvPr>
            <p:ph type="body" sz="quarter" idx="20" hasCustomPrompt="1"/>
          </p:nvPr>
        </p:nvSpPr>
        <p:spPr>
          <a:xfrm>
            <a:off x="452324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5</a:t>
            </a:r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452324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6</a:t>
            </a:r>
          </a:p>
        </p:txBody>
      </p:sp>
      <p:sp>
        <p:nvSpPr>
          <p:cNvPr id="27" name="Text Placeholder 3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654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1485654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9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5169823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0" name="Text Placeholder 31"/>
          <p:cNvSpPr>
            <a:spLocks noGrp="1"/>
          </p:cNvSpPr>
          <p:nvPr>
            <p:ph type="body" sz="quarter" idx="26" hasCustomPrompt="1"/>
          </p:nvPr>
        </p:nvSpPr>
        <p:spPr>
          <a:xfrm>
            <a:off x="5169823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1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5169823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Summary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algn="ctr"/>
            <a:fld id="{308E559E-E3D8-4B1E-AF80-07AA0623978C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45877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EA092F7-CB3C-46DD-8EF9-F992F8685CAC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46196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F39C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5119689" y="-392112"/>
            <a:ext cx="4595813" cy="4587875"/>
          </a:xfrm>
          <a:custGeom>
            <a:avLst/>
            <a:gdLst>
              <a:gd name="T0" fmla="*/ 5611 w 6574"/>
              <a:gd name="T1" fmla="*/ 5611 h 6574"/>
              <a:gd name="T2" fmla="*/ 6574 w 6574"/>
              <a:gd name="T3" fmla="*/ 3287 h 6574"/>
              <a:gd name="T4" fmla="*/ 3287 w 6574"/>
              <a:gd name="T5" fmla="*/ 0 h 6574"/>
              <a:gd name="T6" fmla="*/ 0 w 6574"/>
              <a:gd name="T7" fmla="*/ 3287 h 6574"/>
              <a:gd name="T8" fmla="*/ 963 w 6574"/>
              <a:gd name="T9" fmla="*/ 5611 h 6574"/>
              <a:gd name="T10" fmla="*/ 5224 w 6574"/>
              <a:gd name="T11" fmla="*/ 5223 h 6574"/>
              <a:gd name="T12" fmla="*/ 6026 w 6574"/>
              <a:gd name="T13" fmla="*/ 3287 h 6574"/>
              <a:gd name="T14" fmla="*/ 3287 w 6574"/>
              <a:gd name="T15" fmla="*/ 548 h 6574"/>
              <a:gd name="T16" fmla="*/ 548 w 6574"/>
              <a:gd name="T17" fmla="*/ 3287 h 6574"/>
              <a:gd name="T18" fmla="*/ 1350 w 6574"/>
              <a:gd name="T19" fmla="*/ 5223 h 6574"/>
              <a:gd name="T20" fmla="*/ 4837 w 6574"/>
              <a:gd name="T21" fmla="*/ 4836 h 6574"/>
              <a:gd name="T22" fmla="*/ 5478 w 6574"/>
              <a:gd name="T23" fmla="*/ 3287 h 6574"/>
              <a:gd name="T24" fmla="*/ 3287 w 6574"/>
              <a:gd name="T25" fmla="*/ 1095 h 6574"/>
              <a:gd name="T26" fmla="*/ 1096 w 6574"/>
              <a:gd name="T27" fmla="*/ 3287 h 6574"/>
              <a:gd name="T28" fmla="*/ 1737 w 6574"/>
              <a:gd name="T29" fmla="*/ 4836 h 6574"/>
              <a:gd name="T30" fmla="*/ 5418 w 6574"/>
              <a:gd name="T31" fmla="*/ 5417 h 6574"/>
              <a:gd name="T32" fmla="*/ 6300 w 6574"/>
              <a:gd name="T33" fmla="*/ 3287 h 6574"/>
              <a:gd name="T34" fmla="*/ 3287 w 6574"/>
              <a:gd name="T35" fmla="*/ 274 h 6574"/>
              <a:gd name="T36" fmla="*/ 274 w 6574"/>
              <a:gd name="T37" fmla="*/ 3287 h 6574"/>
              <a:gd name="T38" fmla="*/ 1156 w 6574"/>
              <a:gd name="T39" fmla="*/ 5417 h 6574"/>
              <a:gd name="T40" fmla="*/ 5030 w 6574"/>
              <a:gd name="T41" fmla="*/ 5030 h 6574"/>
              <a:gd name="T42" fmla="*/ 5752 w 6574"/>
              <a:gd name="T43" fmla="*/ 3287 h 6574"/>
              <a:gd name="T44" fmla="*/ 3287 w 6574"/>
              <a:gd name="T45" fmla="*/ 821 h 6574"/>
              <a:gd name="T46" fmla="*/ 822 w 6574"/>
              <a:gd name="T47" fmla="*/ 3287 h 6574"/>
              <a:gd name="T48" fmla="*/ 1544 w 6574"/>
              <a:gd name="T49" fmla="*/ 5030 h 6574"/>
              <a:gd name="T50" fmla="*/ 4643 w 6574"/>
              <a:gd name="T51" fmla="*/ 4642 h 6574"/>
              <a:gd name="T52" fmla="*/ 5204 w 6574"/>
              <a:gd name="T53" fmla="*/ 3287 h 6574"/>
              <a:gd name="T54" fmla="*/ 3287 w 6574"/>
              <a:gd name="T55" fmla="*/ 1369 h 6574"/>
              <a:gd name="T56" fmla="*/ 1369 w 6574"/>
              <a:gd name="T57" fmla="*/ 3287 h 6574"/>
              <a:gd name="T58" fmla="*/ 1931 w 6574"/>
              <a:gd name="T59" fmla="*/ 4642 h 6574"/>
              <a:gd name="T60" fmla="*/ 4449 w 6574"/>
              <a:gd name="T61" fmla="*/ 4449 h 6574"/>
              <a:gd name="T62" fmla="*/ 4931 w 6574"/>
              <a:gd name="T63" fmla="*/ 3287 h 6574"/>
              <a:gd name="T64" fmla="*/ 3287 w 6574"/>
              <a:gd name="T65" fmla="*/ 1643 h 6574"/>
              <a:gd name="T66" fmla="*/ 1643 w 6574"/>
              <a:gd name="T67" fmla="*/ 3287 h 6574"/>
              <a:gd name="T68" fmla="*/ 2125 w 6574"/>
              <a:gd name="T69" fmla="*/ 4449 h 6574"/>
              <a:gd name="T70" fmla="*/ 4255 w 6574"/>
              <a:gd name="T71" fmla="*/ 4255 h 6574"/>
              <a:gd name="T72" fmla="*/ 4657 w 6574"/>
              <a:gd name="T73" fmla="*/ 3287 h 6574"/>
              <a:gd name="T74" fmla="*/ 3287 w 6574"/>
              <a:gd name="T75" fmla="*/ 1917 h 6574"/>
              <a:gd name="T76" fmla="*/ 1917 w 6574"/>
              <a:gd name="T77" fmla="*/ 3287 h 6574"/>
              <a:gd name="T78" fmla="*/ 2318 w 6574"/>
              <a:gd name="T79" fmla="*/ 4255 h 6574"/>
              <a:gd name="T80" fmla="*/ 4062 w 6574"/>
              <a:gd name="T81" fmla="*/ 4061 h 6574"/>
              <a:gd name="T82" fmla="*/ 4383 w 6574"/>
              <a:gd name="T83" fmla="*/ 3287 h 6574"/>
              <a:gd name="T84" fmla="*/ 3287 w 6574"/>
              <a:gd name="T85" fmla="*/ 2191 h 6574"/>
              <a:gd name="T86" fmla="*/ 2191 w 6574"/>
              <a:gd name="T87" fmla="*/ 3287 h 6574"/>
              <a:gd name="T88" fmla="*/ 2512 w 6574"/>
              <a:gd name="T89" fmla="*/ 4061 h 6574"/>
              <a:gd name="T90" fmla="*/ 3868 w 6574"/>
              <a:gd name="T91" fmla="*/ 3868 h 6574"/>
              <a:gd name="T92" fmla="*/ 4109 w 6574"/>
              <a:gd name="T93" fmla="*/ 3287 h 6574"/>
              <a:gd name="T94" fmla="*/ 3287 w 6574"/>
              <a:gd name="T95" fmla="*/ 2465 h 6574"/>
              <a:gd name="T96" fmla="*/ 2465 w 6574"/>
              <a:gd name="T97" fmla="*/ 3287 h 6574"/>
              <a:gd name="T98" fmla="*/ 2706 w 6574"/>
              <a:gd name="T99" fmla="*/ 3868 h 6574"/>
              <a:gd name="T100" fmla="*/ 3674 w 6574"/>
              <a:gd name="T101" fmla="*/ 3674 h 6574"/>
              <a:gd name="T102" fmla="*/ 3835 w 6574"/>
              <a:gd name="T103" fmla="*/ 3287 h 6574"/>
              <a:gd name="T104" fmla="*/ 3287 w 6574"/>
              <a:gd name="T105" fmla="*/ 2739 h 6574"/>
              <a:gd name="T106" fmla="*/ 2739 w 6574"/>
              <a:gd name="T107" fmla="*/ 3287 h 6574"/>
              <a:gd name="T108" fmla="*/ 2900 w 6574"/>
              <a:gd name="T109" fmla="*/ 3674 h 6574"/>
              <a:gd name="T110" fmla="*/ 3481 w 6574"/>
              <a:gd name="T111" fmla="*/ 3480 h 6574"/>
              <a:gd name="T112" fmla="*/ 3561 w 6574"/>
              <a:gd name="T113" fmla="*/ 3287 h 6574"/>
              <a:gd name="T114" fmla="*/ 3287 w 6574"/>
              <a:gd name="T115" fmla="*/ 3013 h 6574"/>
              <a:gd name="T116" fmla="*/ 3013 w 6574"/>
              <a:gd name="T117" fmla="*/ 3287 h 6574"/>
              <a:gd name="T118" fmla="*/ 3093 w 6574"/>
              <a:gd name="T119" fmla="*/ 3480 h 6574"/>
              <a:gd name="T120" fmla="*/ 3287 w 6574"/>
              <a:gd name="T121" fmla="*/ 3287 h 6574"/>
              <a:gd name="T122" fmla="*/ 3287 w 6574"/>
              <a:gd name="T123" fmla="*/ 6574 h 6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74" h="6574">
                <a:moveTo>
                  <a:pt x="5611" y="5611"/>
                </a:moveTo>
                <a:cubicBezTo>
                  <a:pt x="6206" y="5016"/>
                  <a:pt x="6574" y="4194"/>
                  <a:pt x="6574" y="3287"/>
                </a:cubicBezTo>
                <a:cubicBezTo>
                  <a:pt x="6574" y="1471"/>
                  <a:pt x="5102" y="0"/>
                  <a:pt x="3287" y="0"/>
                </a:cubicBezTo>
                <a:cubicBezTo>
                  <a:pt x="1472" y="0"/>
                  <a:pt x="0" y="1471"/>
                  <a:pt x="0" y="3287"/>
                </a:cubicBezTo>
                <a:cubicBezTo>
                  <a:pt x="0" y="4194"/>
                  <a:pt x="368" y="5016"/>
                  <a:pt x="963" y="5611"/>
                </a:cubicBezTo>
                <a:moveTo>
                  <a:pt x="5224" y="5223"/>
                </a:moveTo>
                <a:cubicBezTo>
                  <a:pt x="5720" y="4728"/>
                  <a:pt x="6026" y="4043"/>
                  <a:pt x="6026" y="3287"/>
                </a:cubicBezTo>
                <a:cubicBezTo>
                  <a:pt x="6026" y="1774"/>
                  <a:pt x="4800" y="548"/>
                  <a:pt x="3287" y="548"/>
                </a:cubicBezTo>
                <a:cubicBezTo>
                  <a:pt x="1774" y="548"/>
                  <a:pt x="548" y="1774"/>
                  <a:pt x="548" y="3287"/>
                </a:cubicBezTo>
                <a:cubicBezTo>
                  <a:pt x="548" y="4043"/>
                  <a:pt x="854" y="4728"/>
                  <a:pt x="1350" y="5223"/>
                </a:cubicBezTo>
                <a:moveTo>
                  <a:pt x="4837" y="4836"/>
                </a:moveTo>
                <a:cubicBezTo>
                  <a:pt x="5233" y="4440"/>
                  <a:pt x="5478" y="3892"/>
                  <a:pt x="5478" y="3287"/>
                </a:cubicBezTo>
                <a:cubicBezTo>
                  <a:pt x="5478" y="2076"/>
                  <a:pt x="4497" y="1095"/>
                  <a:pt x="3287" y="1095"/>
                </a:cubicBezTo>
                <a:cubicBezTo>
                  <a:pt x="2077" y="1095"/>
                  <a:pt x="1096" y="2076"/>
                  <a:pt x="1096" y="3287"/>
                </a:cubicBezTo>
                <a:cubicBezTo>
                  <a:pt x="1096" y="3892"/>
                  <a:pt x="1341" y="4440"/>
                  <a:pt x="1737" y="4836"/>
                </a:cubicBezTo>
                <a:moveTo>
                  <a:pt x="5418" y="5417"/>
                </a:moveTo>
                <a:cubicBezTo>
                  <a:pt x="5963" y="4872"/>
                  <a:pt x="6300" y="4119"/>
                  <a:pt x="6300" y="3287"/>
                </a:cubicBezTo>
                <a:cubicBezTo>
                  <a:pt x="6300" y="1623"/>
                  <a:pt x="4951" y="274"/>
                  <a:pt x="3287" y="274"/>
                </a:cubicBezTo>
                <a:cubicBezTo>
                  <a:pt x="1623" y="274"/>
                  <a:pt x="274" y="1623"/>
                  <a:pt x="274" y="3287"/>
                </a:cubicBezTo>
                <a:cubicBezTo>
                  <a:pt x="274" y="4119"/>
                  <a:pt x="611" y="4872"/>
                  <a:pt x="1156" y="5417"/>
                </a:cubicBezTo>
                <a:moveTo>
                  <a:pt x="5030" y="5030"/>
                </a:moveTo>
                <a:cubicBezTo>
                  <a:pt x="5476" y="4584"/>
                  <a:pt x="5752" y="3967"/>
                  <a:pt x="5752" y="3287"/>
                </a:cubicBezTo>
                <a:cubicBezTo>
                  <a:pt x="5752" y="1925"/>
                  <a:pt x="4649" y="821"/>
                  <a:pt x="3287" y="821"/>
                </a:cubicBezTo>
                <a:cubicBezTo>
                  <a:pt x="1925" y="821"/>
                  <a:pt x="822" y="1925"/>
                  <a:pt x="822" y="3287"/>
                </a:cubicBezTo>
                <a:cubicBezTo>
                  <a:pt x="822" y="3967"/>
                  <a:pt x="1098" y="4584"/>
                  <a:pt x="1544" y="5030"/>
                </a:cubicBezTo>
                <a:moveTo>
                  <a:pt x="4643" y="4642"/>
                </a:moveTo>
                <a:cubicBezTo>
                  <a:pt x="4990" y="4295"/>
                  <a:pt x="5204" y="3816"/>
                  <a:pt x="5204" y="3287"/>
                </a:cubicBezTo>
                <a:cubicBezTo>
                  <a:pt x="5204" y="2228"/>
                  <a:pt x="4346" y="1369"/>
                  <a:pt x="3287" y="1369"/>
                </a:cubicBezTo>
                <a:cubicBezTo>
                  <a:pt x="2228" y="1369"/>
                  <a:pt x="1369" y="2228"/>
                  <a:pt x="1369" y="3287"/>
                </a:cubicBezTo>
                <a:cubicBezTo>
                  <a:pt x="1369" y="3816"/>
                  <a:pt x="1584" y="4295"/>
                  <a:pt x="1931" y="4642"/>
                </a:cubicBezTo>
                <a:moveTo>
                  <a:pt x="4449" y="4449"/>
                </a:moveTo>
                <a:cubicBezTo>
                  <a:pt x="4747" y="4151"/>
                  <a:pt x="4931" y="3740"/>
                  <a:pt x="4931" y="3287"/>
                </a:cubicBezTo>
                <a:cubicBezTo>
                  <a:pt x="4931" y="2379"/>
                  <a:pt x="4195" y="1643"/>
                  <a:pt x="3287" y="1643"/>
                </a:cubicBezTo>
                <a:cubicBezTo>
                  <a:pt x="2379" y="1643"/>
                  <a:pt x="1643" y="2379"/>
                  <a:pt x="1643" y="3287"/>
                </a:cubicBezTo>
                <a:cubicBezTo>
                  <a:pt x="1643" y="3740"/>
                  <a:pt x="1827" y="4151"/>
                  <a:pt x="2125" y="4449"/>
                </a:cubicBezTo>
                <a:moveTo>
                  <a:pt x="4255" y="4255"/>
                </a:moveTo>
                <a:cubicBezTo>
                  <a:pt x="4503" y="4007"/>
                  <a:pt x="4657" y="3665"/>
                  <a:pt x="4657" y="3287"/>
                </a:cubicBezTo>
                <a:cubicBezTo>
                  <a:pt x="4657" y="2530"/>
                  <a:pt x="4043" y="1917"/>
                  <a:pt x="3287" y="1917"/>
                </a:cubicBezTo>
                <a:cubicBezTo>
                  <a:pt x="2531" y="1917"/>
                  <a:pt x="1917" y="2530"/>
                  <a:pt x="1917" y="3287"/>
                </a:cubicBezTo>
                <a:cubicBezTo>
                  <a:pt x="1917" y="3665"/>
                  <a:pt x="2071" y="4007"/>
                  <a:pt x="2318" y="4255"/>
                </a:cubicBezTo>
                <a:moveTo>
                  <a:pt x="4062" y="4061"/>
                </a:moveTo>
                <a:cubicBezTo>
                  <a:pt x="4260" y="3863"/>
                  <a:pt x="4383" y="3589"/>
                  <a:pt x="4383" y="3287"/>
                </a:cubicBezTo>
                <a:cubicBezTo>
                  <a:pt x="4383" y="2682"/>
                  <a:pt x="3892" y="2191"/>
                  <a:pt x="3287" y="2191"/>
                </a:cubicBezTo>
                <a:cubicBezTo>
                  <a:pt x="2682" y="2191"/>
                  <a:pt x="2191" y="2682"/>
                  <a:pt x="2191" y="3287"/>
                </a:cubicBezTo>
                <a:cubicBezTo>
                  <a:pt x="2191" y="3589"/>
                  <a:pt x="2314" y="3863"/>
                  <a:pt x="2512" y="4061"/>
                </a:cubicBezTo>
                <a:moveTo>
                  <a:pt x="3868" y="3868"/>
                </a:moveTo>
                <a:cubicBezTo>
                  <a:pt x="4017" y="3719"/>
                  <a:pt x="4109" y="3514"/>
                  <a:pt x="4109" y="3287"/>
                </a:cubicBezTo>
                <a:cubicBezTo>
                  <a:pt x="4109" y="2833"/>
                  <a:pt x="3741" y="2465"/>
                  <a:pt x="3287" y="2465"/>
                </a:cubicBezTo>
                <a:cubicBezTo>
                  <a:pt x="2833" y="2465"/>
                  <a:pt x="2465" y="2833"/>
                  <a:pt x="2465" y="3287"/>
                </a:cubicBezTo>
                <a:cubicBezTo>
                  <a:pt x="2465" y="3514"/>
                  <a:pt x="2557" y="3719"/>
                  <a:pt x="2706" y="3868"/>
                </a:cubicBezTo>
                <a:moveTo>
                  <a:pt x="3674" y="3674"/>
                </a:moveTo>
                <a:cubicBezTo>
                  <a:pt x="3773" y="3575"/>
                  <a:pt x="3835" y="3438"/>
                  <a:pt x="3835" y="3287"/>
                </a:cubicBezTo>
                <a:cubicBezTo>
                  <a:pt x="3835" y="2984"/>
                  <a:pt x="3590" y="2739"/>
                  <a:pt x="3287" y="2739"/>
                </a:cubicBezTo>
                <a:cubicBezTo>
                  <a:pt x="2984" y="2739"/>
                  <a:pt x="2739" y="2984"/>
                  <a:pt x="2739" y="3287"/>
                </a:cubicBezTo>
                <a:cubicBezTo>
                  <a:pt x="2739" y="3438"/>
                  <a:pt x="2800" y="3575"/>
                  <a:pt x="2900" y="3674"/>
                </a:cubicBezTo>
                <a:moveTo>
                  <a:pt x="3481" y="3480"/>
                </a:moveTo>
                <a:cubicBezTo>
                  <a:pt x="3530" y="3431"/>
                  <a:pt x="3561" y="3362"/>
                  <a:pt x="3561" y="3287"/>
                </a:cubicBezTo>
                <a:cubicBezTo>
                  <a:pt x="3561" y="3135"/>
                  <a:pt x="3438" y="3013"/>
                  <a:pt x="3287" y="3013"/>
                </a:cubicBezTo>
                <a:cubicBezTo>
                  <a:pt x="3136" y="3013"/>
                  <a:pt x="3013" y="3135"/>
                  <a:pt x="3013" y="3287"/>
                </a:cubicBezTo>
                <a:cubicBezTo>
                  <a:pt x="3013" y="3362"/>
                  <a:pt x="3044" y="3431"/>
                  <a:pt x="3093" y="3480"/>
                </a:cubicBezTo>
                <a:moveTo>
                  <a:pt x="3287" y="3287"/>
                </a:moveTo>
                <a:cubicBezTo>
                  <a:pt x="3287" y="6574"/>
                  <a:pt x="3287" y="6574"/>
                  <a:pt x="3287" y="6574"/>
                </a:cubicBezTo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Mobile Operator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24325EEA-A69C-4C6D-92F1-234E7627E5C8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50181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5119689" y="-392112"/>
            <a:ext cx="4595813" cy="4587875"/>
          </a:xfrm>
          <a:custGeom>
            <a:avLst/>
            <a:gdLst>
              <a:gd name="T0" fmla="*/ 5611 w 6574"/>
              <a:gd name="T1" fmla="*/ 5611 h 6574"/>
              <a:gd name="T2" fmla="*/ 6574 w 6574"/>
              <a:gd name="T3" fmla="*/ 3287 h 6574"/>
              <a:gd name="T4" fmla="*/ 3287 w 6574"/>
              <a:gd name="T5" fmla="*/ 0 h 6574"/>
              <a:gd name="T6" fmla="*/ 0 w 6574"/>
              <a:gd name="T7" fmla="*/ 3287 h 6574"/>
              <a:gd name="T8" fmla="*/ 963 w 6574"/>
              <a:gd name="T9" fmla="*/ 5611 h 6574"/>
              <a:gd name="T10" fmla="*/ 5224 w 6574"/>
              <a:gd name="T11" fmla="*/ 5223 h 6574"/>
              <a:gd name="T12" fmla="*/ 6026 w 6574"/>
              <a:gd name="T13" fmla="*/ 3287 h 6574"/>
              <a:gd name="T14" fmla="*/ 3287 w 6574"/>
              <a:gd name="T15" fmla="*/ 548 h 6574"/>
              <a:gd name="T16" fmla="*/ 548 w 6574"/>
              <a:gd name="T17" fmla="*/ 3287 h 6574"/>
              <a:gd name="T18" fmla="*/ 1350 w 6574"/>
              <a:gd name="T19" fmla="*/ 5223 h 6574"/>
              <a:gd name="T20" fmla="*/ 4837 w 6574"/>
              <a:gd name="T21" fmla="*/ 4836 h 6574"/>
              <a:gd name="T22" fmla="*/ 5478 w 6574"/>
              <a:gd name="T23" fmla="*/ 3287 h 6574"/>
              <a:gd name="T24" fmla="*/ 3287 w 6574"/>
              <a:gd name="T25" fmla="*/ 1095 h 6574"/>
              <a:gd name="T26" fmla="*/ 1096 w 6574"/>
              <a:gd name="T27" fmla="*/ 3287 h 6574"/>
              <a:gd name="T28" fmla="*/ 1737 w 6574"/>
              <a:gd name="T29" fmla="*/ 4836 h 6574"/>
              <a:gd name="T30" fmla="*/ 5418 w 6574"/>
              <a:gd name="T31" fmla="*/ 5417 h 6574"/>
              <a:gd name="T32" fmla="*/ 6300 w 6574"/>
              <a:gd name="T33" fmla="*/ 3287 h 6574"/>
              <a:gd name="T34" fmla="*/ 3287 w 6574"/>
              <a:gd name="T35" fmla="*/ 274 h 6574"/>
              <a:gd name="T36" fmla="*/ 274 w 6574"/>
              <a:gd name="T37" fmla="*/ 3287 h 6574"/>
              <a:gd name="T38" fmla="*/ 1156 w 6574"/>
              <a:gd name="T39" fmla="*/ 5417 h 6574"/>
              <a:gd name="T40" fmla="*/ 5030 w 6574"/>
              <a:gd name="T41" fmla="*/ 5030 h 6574"/>
              <a:gd name="T42" fmla="*/ 5752 w 6574"/>
              <a:gd name="T43" fmla="*/ 3287 h 6574"/>
              <a:gd name="T44" fmla="*/ 3287 w 6574"/>
              <a:gd name="T45" fmla="*/ 821 h 6574"/>
              <a:gd name="T46" fmla="*/ 822 w 6574"/>
              <a:gd name="T47" fmla="*/ 3287 h 6574"/>
              <a:gd name="T48" fmla="*/ 1544 w 6574"/>
              <a:gd name="T49" fmla="*/ 5030 h 6574"/>
              <a:gd name="T50" fmla="*/ 4643 w 6574"/>
              <a:gd name="T51" fmla="*/ 4642 h 6574"/>
              <a:gd name="T52" fmla="*/ 5204 w 6574"/>
              <a:gd name="T53" fmla="*/ 3287 h 6574"/>
              <a:gd name="T54" fmla="*/ 3287 w 6574"/>
              <a:gd name="T55" fmla="*/ 1369 h 6574"/>
              <a:gd name="T56" fmla="*/ 1369 w 6574"/>
              <a:gd name="T57" fmla="*/ 3287 h 6574"/>
              <a:gd name="T58" fmla="*/ 1931 w 6574"/>
              <a:gd name="T59" fmla="*/ 4642 h 6574"/>
              <a:gd name="T60" fmla="*/ 4449 w 6574"/>
              <a:gd name="T61" fmla="*/ 4449 h 6574"/>
              <a:gd name="T62" fmla="*/ 4931 w 6574"/>
              <a:gd name="T63" fmla="*/ 3287 h 6574"/>
              <a:gd name="T64" fmla="*/ 3287 w 6574"/>
              <a:gd name="T65" fmla="*/ 1643 h 6574"/>
              <a:gd name="T66" fmla="*/ 1643 w 6574"/>
              <a:gd name="T67" fmla="*/ 3287 h 6574"/>
              <a:gd name="T68" fmla="*/ 2125 w 6574"/>
              <a:gd name="T69" fmla="*/ 4449 h 6574"/>
              <a:gd name="T70" fmla="*/ 4255 w 6574"/>
              <a:gd name="T71" fmla="*/ 4255 h 6574"/>
              <a:gd name="T72" fmla="*/ 4657 w 6574"/>
              <a:gd name="T73" fmla="*/ 3287 h 6574"/>
              <a:gd name="T74" fmla="*/ 3287 w 6574"/>
              <a:gd name="T75" fmla="*/ 1917 h 6574"/>
              <a:gd name="T76" fmla="*/ 1917 w 6574"/>
              <a:gd name="T77" fmla="*/ 3287 h 6574"/>
              <a:gd name="T78" fmla="*/ 2318 w 6574"/>
              <a:gd name="T79" fmla="*/ 4255 h 6574"/>
              <a:gd name="T80" fmla="*/ 4062 w 6574"/>
              <a:gd name="T81" fmla="*/ 4061 h 6574"/>
              <a:gd name="T82" fmla="*/ 4383 w 6574"/>
              <a:gd name="T83" fmla="*/ 3287 h 6574"/>
              <a:gd name="T84" fmla="*/ 3287 w 6574"/>
              <a:gd name="T85" fmla="*/ 2191 h 6574"/>
              <a:gd name="T86" fmla="*/ 2191 w 6574"/>
              <a:gd name="T87" fmla="*/ 3287 h 6574"/>
              <a:gd name="T88" fmla="*/ 2512 w 6574"/>
              <a:gd name="T89" fmla="*/ 4061 h 6574"/>
              <a:gd name="T90" fmla="*/ 3868 w 6574"/>
              <a:gd name="T91" fmla="*/ 3868 h 6574"/>
              <a:gd name="T92" fmla="*/ 4109 w 6574"/>
              <a:gd name="T93" fmla="*/ 3287 h 6574"/>
              <a:gd name="T94" fmla="*/ 3287 w 6574"/>
              <a:gd name="T95" fmla="*/ 2465 h 6574"/>
              <a:gd name="T96" fmla="*/ 2465 w 6574"/>
              <a:gd name="T97" fmla="*/ 3287 h 6574"/>
              <a:gd name="T98" fmla="*/ 2706 w 6574"/>
              <a:gd name="T99" fmla="*/ 3868 h 6574"/>
              <a:gd name="T100" fmla="*/ 3674 w 6574"/>
              <a:gd name="T101" fmla="*/ 3674 h 6574"/>
              <a:gd name="T102" fmla="*/ 3835 w 6574"/>
              <a:gd name="T103" fmla="*/ 3287 h 6574"/>
              <a:gd name="T104" fmla="*/ 3287 w 6574"/>
              <a:gd name="T105" fmla="*/ 2739 h 6574"/>
              <a:gd name="T106" fmla="*/ 2739 w 6574"/>
              <a:gd name="T107" fmla="*/ 3287 h 6574"/>
              <a:gd name="T108" fmla="*/ 2900 w 6574"/>
              <a:gd name="T109" fmla="*/ 3674 h 6574"/>
              <a:gd name="T110" fmla="*/ 3481 w 6574"/>
              <a:gd name="T111" fmla="*/ 3480 h 6574"/>
              <a:gd name="T112" fmla="*/ 3561 w 6574"/>
              <a:gd name="T113" fmla="*/ 3287 h 6574"/>
              <a:gd name="T114" fmla="*/ 3287 w 6574"/>
              <a:gd name="T115" fmla="*/ 3013 h 6574"/>
              <a:gd name="T116" fmla="*/ 3013 w 6574"/>
              <a:gd name="T117" fmla="*/ 3287 h 6574"/>
              <a:gd name="T118" fmla="*/ 3093 w 6574"/>
              <a:gd name="T119" fmla="*/ 3480 h 6574"/>
              <a:gd name="T120" fmla="*/ 3287 w 6574"/>
              <a:gd name="T121" fmla="*/ 3287 h 6574"/>
              <a:gd name="T122" fmla="*/ 3287 w 6574"/>
              <a:gd name="T123" fmla="*/ 6574 h 6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74" h="6574">
                <a:moveTo>
                  <a:pt x="5611" y="5611"/>
                </a:moveTo>
                <a:cubicBezTo>
                  <a:pt x="6206" y="5016"/>
                  <a:pt x="6574" y="4194"/>
                  <a:pt x="6574" y="3287"/>
                </a:cubicBezTo>
                <a:cubicBezTo>
                  <a:pt x="6574" y="1471"/>
                  <a:pt x="5102" y="0"/>
                  <a:pt x="3287" y="0"/>
                </a:cubicBezTo>
                <a:cubicBezTo>
                  <a:pt x="1472" y="0"/>
                  <a:pt x="0" y="1471"/>
                  <a:pt x="0" y="3287"/>
                </a:cubicBezTo>
                <a:cubicBezTo>
                  <a:pt x="0" y="4194"/>
                  <a:pt x="368" y="5016"/>
                  <a:pt x="963" y="5611"/>
                </a:cubicBezTo>
                <a:moveTo>
                  <a:pt x="5224" y="5223"/>
                </a:moveTo>
                <a:cubicBezTo>
                  <a:pt x="5720" y="4728"/>
                  <a:pt x="6026" y="4043"/>
                  <a:pt x="6026" y="3287"/>
                </a:cubicBezTo>
                <a:cubicBezTo>
                  <a:pt x="6026" y="1774"/>
                  <a:pt x="4800" y="548"/>
                  <a:pt x="3287" y="548"/>
                </a:cubicBezTo>
                <a:cubicBezTo>
                  <a:pt x="1774" y="548"/>
                  <a:pt x="548" y="1774"/>
                  <a:pt x="548" y="3287"/>
                </a:cubicBezTo>
                <a:cubicBezTo>
                  <a:pt x="548" y="4043"/>
                  <a:pt x="854" y="4728"/>
                  <a:pt x="1350" y="5223"/>
                </a:cubicBezTo>
                <a:moveTo>
                  <a:pt x="4837" y="4836"/>
                </a:moveTo>
                <a:cubicBezTo>
                  <a:pt x="5233" y="4440"/>
                  <a:pt x="5478" y="3892"/>
                  <a:pt x="5478" y="3287"/>
                </a:cubicBezTo>
                <a:cubicBezTo>
                  <a:pt x="5478" y="2076"/>
                  <a:pt x="4497" y="1095"/>
                  <a:pt x="3287" y="1095"/>
                </a:cubicBezTo>
                <a:cubicBezTo>
                  <a:pt x="2077" y="1095"/>
                  <a:pt x="1096" y="2076"/>
                  <a:pt x="1096" y="3287"/>
                </a:cubicBezTo>
                <a:cubicBezTo>
                  <a:pt x="1096" y="3892"/>
                  <a:pt x="1341" y="4440"/>
                  <a:pt x="1737" y="4836"/>
                </a:cubicBezTo>
                <a:moveTo>
                  <a:pt x="5418" y="5417"/>
                </a:moveTo>
                <a:cubicBezTo>
                  <a:pt x="5963" y="4872"/>
                  <a:pt x="6300" y="4119"/>
                  <a:pt x="6300" y="3287"/>
                </a:cubicBezTo>
                <a:cubicBezTo>
                  <a:pt x="6300" y="1623"/>
                  <a:pt x="4951" y="274"/>
                  <a:pt x="3287" y="274"/>
                </a:cubicBezTo>
                <a:cubicBezTo>
                  <a:pt x="1623" y="274"/>
                  <a:pt x="274" y="1623"/>
                  <a:pt x="274" y="3287"/>
                </a:cubicBezTo>
                <a:cubicBezTo>
                  <a:pt x="274" y="4119"/>
                  <a:pt x="611" y="4872"/>
                  <a:pt x="1156" y="5417"/>
                </a:cubicBezTo>
                <a:moveTo>
                  <a:pt x="5030" y="5030"/>
                </a:moveTo>
                <a:cubicBezTo>
                  <a:pt x="5476" y="4584"/>
                  <a:pt x="5752" y="3967"/>
                  <a:pt x="5752" y="3287"/>
                </a:cubicBezTo>
                <a:cubicBezTo>
                  <a:pt x="5752" y="1925"/>
                  <a:pt x="4649" y="821"/>
                  <a:pt x="3287" y="821"/>
                </a:cubicBezTo>
                <a:cubicBezTo>
                  <a:pt x="1925" y="821"/>
                  <a:pt x="822" y="1925"/>
                  <a:pt x="822" y="3287"/>
                </a:cubicBezTo>
                <a:cubicBezTo>
                  <a:pt x="822" y="3967"/>
                  <a:pt x="1098" y="4584"/>
                  <a:pt x="1544" y="5030"/>
                </a:cubicBezTo>
                <a:moveTo>
                  <a:pt x="4643" y="4642"/>
                </a:moveTo>
                <a:cubicBezTo>
                  <a:pt x="4990" y="4295"/>
                  <a:pt x="5204" y="3816"/>
                  <a:pt x="5204" y="3287"/>
                </a:cubicBezTo>
                <a:cubicBezTo>
                  <a:pt x="5204" y="2228"/>
                  <a:pt x="4346" y="1369"/>
                  <a:pt x="3287" y="1369"/>
                </a:cubicBezTo>
                <a:cubicBezTo>
                  <a:pt x="2228" y="1369"/>
                  <a:pt x="1369" y="2228"/>
                  <a:pt x="1369" y="3287"/>
                </a:cubicBezTo>
                <a:cubicBezTo>
                  <a:pt x="1369" y="3816"/>
                  <a:pt x="1584" y="4295"/>
                  <a:pt x="1931" y="4642"/>
                </a:cubicBezTo>
                <a:moveTo>
                  <a:pt x="4449" y="4449"/>
                </a:moveTo>
                <a:cubicBezTo>
                  <a:pt x="4747" y="4151"/>
                  <a:pt x="4931" y="3740"/>
                  <a:pt x="4931" y="3287"/>
                </a:cubicBezTo>
                <a:cubicBezTo>
                  <a:pt x="4931" y="2379"/>
                  <a:pt x="4195" y="1643"/>
                  <a:pt x="3287" y="1643"/>
                </a:cubicBezTo>
                <a:cubicBezTo>
                  <a:pt x="2379" y="1643"/>
                  <a:pt x="1643" y="2379"/>
                  <a:pt x="1643" y="3287"/>
                </a:cubicBezTo>
                <a:cubicBezTo>
                  <a:pt x="1643" y="3740"/>
                  <a:pt x="1827" y="4151"/>
                  <a:pt x="2125" y="4449"/>
                </a:cubicBezTo>
                <a:moveTo>
                  <a:pt x="4255" y="4255"/>
                </a:moveTo>
                <a:cubicBezTo>
                  <a:pt x="4503" y="4007"/>
                  <a:pt x="4657" y="3665"/>
                  <a:pt x="4657" y="3287"/>
                </a:cubicBezTo>
                <a:cubicBezTo>
                  <a:pt x="4657" y="2530"/>
                  <a:pt x="4043" y="1917"/>
                  <a:pt x="3287" y="1917"/>
                </a:cubicBezTo>
                <a:cubicBezTo>
                  <a:pt x="2531" y="1917"/>
                  <a:pt x="1917" y="2530"/>
                  <a:pt x="1917" y="3287"/>
                </a:cubicBezTo>
                <a:cubicBezTo>
                  <a:pt x="1917" y="3665"/>
                  <a:pt x="2071" y="4007"/>
                  <a:pt x="2318" y="4255"/>
                </a:cubicBezTo>
                <a:moveTo>
                  <a:pt x="4062" y="4061"/>
                </a:moveTo>
                <a:cubicBezTo>
                  <a:pt x="4260" y="3863"/>
                  <a:pt x="4383" y="3589"/>
                  <a:pt x="4383" y="3287"/>
                </a:cubicBezTo>
                <a:cubicBezTo>
                  <a:pt x="4383" y="2682"/>
                  <a:pt x="3892" y="2191"/>
                  <a:pt x="3287" y="2191"/>
                </a:cubicBezTo>
                <a:cubicBezTo>
                  <a:pt x="2682" y="2191"/>
                  <a:pt x="2191" y="2682"/>
                  <a:pt x="2191" y="3287"/>
                </a:cubicBezTo>
                <a:cubicBezTo>
                  <a:pt x="2191" y="3589"/>
                  <a:pt x="2314" y="3863"/>
                  <a:pt x="2512" y="4061"/>
                </a:cubicBezTo>
                <a:moveTo>
                  <a:pt x="3868" y="3868"/>
                </a:moveTo>
                <a:cubicBezTo>
                  <a:pt x="4017" y="3719"/>
                  <a:pt x="4109" y="3514"/>
                  <a:pt x="4109" y="3287"/>
                </a:cubicBezTo>
                <a:cubicBezTo>
                  <a:pt x="4109" y="2833"/>
                  <a:pt x="3741" y="2465"/>
                  <a:pt x="3287" y="2465"/>
                </a:cubicBezTo>
                <a:cubicBezTo>
                  <a:pt x="2833" y="2465"/>
                  <a:pt x="2465" y="2833"/>
                  <a:pt x="2465" y="3287"/>
                </a:cubicBezTo>
                <a:cubicBezTo>
                  <a:pt x="2465" y="3514"/>
                  <a:pt x="2557" y="3719"/>
                  <a:pt x="2706" y="3868"/>
                </a:cubicBezTo>
                <a:moveTo>
                  <a:pt x="3674" y="3674"/>
                </a:moveTo>
                <a:cubicBezTo>
                  <a:pt x="3773" y="3575"/>
                  <a:pt x="3835" y="3438"/>
                  <a:pt x="3835" y="3287"/>
                </a:cubicBezTo>
                <a:cubicBezTo>
                  <a:pt x="3835" y="2984"/>
                  <a:pt x="3590" y="2739"/>
                  <a:pt x="3287" y="2739"/>
                </a:cubicBezTo>
                <a:cubicBezTo>
                  <a:pt x="2984" y="2739"/>
                  <a:pt x="2739" y="2984"/>
                  <a:pt x="2739" y="3287"/>
                </a:cubicBezTo>
                <a:cubicBezTo>
                  <a:pt x="2739" y="3438"/>
                  <a:pt x="2800" y="3575"/>
                  <a:pt x="2900" y="3674"/>
                </a:cubicBezTo>
                <a:moveTo>
                  <a:pt x="3481" y="3480"/>
                </a:moveTo>
                <a:cubicBezTo>
                  <a:pt x="3530" y="3431"/>
                  <a:pt x="3561" y="3362"/>
                  <a:pt x="3561" y="3287"/>
                </a:cubicBezTo>
                <a:cubicBezTo>
                  <a:pt x="3561" y="3135"/>
                  <a:pt x="3438" y="3013"/>
                  <a:pt x="3287" y="3013"/>
                </a:cubicBezTo>
                <a:cubicBezTo>
                  <a:pt x="3136" y="3013"/>
                  <a:pt x="3013" y="3135"/>
                  <a:pt x="3013" y="3287"/>
                </a:cubicBezTo>
                <a:cubicBezTo>
                  <a:pt x="3013" y="3362"/>
                  <a:pt x="3044" y="3431"/>
                  <a:pt x="3093" y="3480"/>
                </a:cubicBezTo>
                <a:moveTo>
                  <a:pt x="3287" y="3287"/>
                </a:moveTo>
                <a:cubicBezTo>
                  <a:pt x="3287" y="6574"/>
                  <a:pt x="3287" y="6574"/>
                  <a:pt x="3287" y="6574"/>
                </a:cubicBezTo>
              </a:path>
            </a:pathLst>
          </a:custGeom>
          <a:noFill/>
          <a:ln w="15875" cap="flat">
            <a:solidFill>
              <a:srgbClr val="F39C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Mobile Operator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chemeClr val="accent1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chemeClr val="accent1"/>
                </a:solidFill>
              </a:defRPr>
            </a:lvl1pPr>
          </a:lstStyle>
          <a:p>
            <a:pPr algn="r"/>
            <a:fld id="{3AB88C1A-F3B2-4635-A668-6DFF4BE5175F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60621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solidFill>
          <a:srgbClr val="F39C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21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7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8" name="Freeform 5"/>
          <p:cNvSpPr>
            <a:spLocks noEditPoints="1"/>
          </p:cNvSpPr>
          <p:nvPr/>
        </p:nvSpPr>
        <p:spPr bwMode="auto">
          <a:xfrm>
            <a:off x="4245915" y="578278"/>
            <a:ext cx="4595813" cy="4587875"/>
          </a:xfrm>
          <a:custGeom>
            <a:avLst/>
            <a:gdLst>
              <a:gd name="T0" fmla="*/ 5611 w 6574"/>
              <a:gd name="T1" fmla="*/ 5611 h 6574"/>
              <a:gd name="T2" fmla="*/ 6574 w 6574"/>
              <a:gd name="T3" fmla="*/ 3287 h 6574"/>
              <a:gd name="T4" fmla="*/ 3287 w 6574"/>
              <a:gd name="T5" fmla="*/ 0 h 6574"/>
              <a:gd name="T6" fmla="*/ 0 w 6574"/>
              <a:gd name="T7" fmla="*/ 3287 h 6574"/>
              <a:gd name="T8" fmla="*/ 963 w 6574"/>
              <a:gd name="T9" fmla="*/ 5611 h 6574"/>
              <a:gd name="T10" fmla="*/ 5224 w 6574"/>
              <a:gd name="T11" fmla="*/ 5223 h 6574"/>
              <a:gd name="T12" fmla="*/ 6026 w 6574"/>
              <a:gd name="T13" fmla="*/ 3287 h 6574"/>
              <a:gd name="T14" fmla="*/ 3287 w 6574"/>
              <a:gd name="T15" fmla="*/ 548 h 6574"/>
              <a:gd name="T16" fmla="*/ 548 w 6574"/>
              <a:gd name="T17" fmla="*/ 3287 h 6574"/>
              <a:gd name="T18" fmla="*/ 1350 w 6574"/>
              <a:gd name="T19" fmla="*/ 5223 h 6574"/>
              <a:gd name="T20" fmla="*/ 4837 w 6574"/>
              <a:gd name="T21" fmla="*/ 4836 h 6574"/>
              <a:gd name="T22" fmla="*/ 5478 w 6574"/>
              <a:gd name="T23" fmla="*/ 3287 h 6574"/>
              <a:gd name="T24" fmla="*/ 3287 w 6574"/>
              <a:gd name="T25" fmla="*/ 1095 h 6574"/>
              <a:gd name="T26" fmla="*/ 1096 w 6574"/>
              <a:gd name="T27" fmla="*/ 3287 h 6574"/>
              <a:gd name="T28" fmla="*/ 1737 w 6574"/>
              <a:gd name="T29" fmla="*/ 4836 h 6574"/>
              <a:gd name="T30" fmla="*/ 5418 w 6574"/>
              <a:gd name="T31" fmla="*/ 5417 h 6574"/>
              <a:gd name="T32" fmla="*/ 6300 w 6574"/>
              <a:gd name="T33" fmla="*/ 3287 h 6574"/>
              <a:gd name="T34" fmla="*/ 3287 w 6574"/>
              <a:gd name="T35" fmla="*/ 274 h 6574"/>
              <a:gd name="T36" fmla="*/ 274 w 6574"/>
              <a:gd name="T37" fmla="*/ 3287 h 6574"/>
              <a:gd name="T38" fmla="*/ 1156 w 6574"/>
              <a:gd name="T39" fmla="*/ 5417 h 6574"/>
              <a:gd name="T40" fmla="*/ 5030 w 6574"/>
              <a:gd name="T41" fmla="*/ 5030 h 6574"/>
              <a:gd name="T42" fmla="*/ 5752 w 6574"/>
              <a:gd name="T43" fmla="*/ 3287 h 6574"/>
              <a:gd name="T44" fmla="*/ 3287 w 6574"/>
              <a:gd name="T45" fmla="*/ 821 h 6574"/>
              <a:gd name="T46" fmla="*/ 822 w 6574"/>
              <a:gd name="T47" fmla="*/ 3287 h 6574"/>
              <a:gd name="T48" fmla="*/ 1544 w 6574"/>
              <a:gd name="T49" fmla="*/ 5030 h 6574"/>
              <a:gd name="T50" fmla="*/ 4643 w 6574"/>
              <a:gd name="T51" fmla="*/ 4642 h 6574"/>
              <a:gd name="T52" fmla="*/ 5204 w 6574"/>
              <a:gd name="T53" fmla="*/ 3287 h 6574"/>
              <a:gd name="T54" fmla="*/ 3287 w 6574"/>
              <a:gd name="T55" fmla="*/ 1369 h 6574"/>
              <a:gd name="T56" fmla="*/ 1369 w 6574"/>
              <a:gd name="T57" fmla="*/ 3287 h 6574"/>
              <a:gd name="T58" fmla="*/ 1931 w 6574"/>
              <a:gd name="T59" fmla="*/ 4642 h 6574"/>
              <a:gd name="T60" fmla="*/ 4449 w 6574"/>
              <a:gd name="T61" fmla="*/ 4449 h 6574"/>
              <a:gd name="T62" fmla="*/ 4931 w 6574"/>
              <a:gd name="T63" fmla="*/ 3287 h 6574"/>
              <a:gd name="T64" fmla="*/ 3287 w 6574"/>
              <a:gd name="T65" fmla="*/ 1643 h 6574"/>
              <a:gd name="T66" fmla="*/ 1643 w 6574"/>
              <a:gd name="T67" fmla="*/ 3287 h 6574"/>
              <a:gd name="T68" fmla="*/ 2125 w 6574"/>
              <a:gd name="T69" fmla="*/ 4449 h 6574"/>
              <a:gd name="T70" fmla="*/ 4255 w 6574"/>
              <a:gd name="T71" fmla="*/ 4255 h 6574"/>
              <a:gd name="T72" fmla="*/ 4657 w 6574"/>
              <a:gd name="T73" fmla="*/ 3287 h 6574"/>
              <a:gd name="T74" fmla="*/ 3287 w 6574"/>
              <a:gd name="T75" fmla="*/ 1917 h 6574"/>
              <a:gd name="T76" fmla="*/ 1917 w 6574"/>
              <a:gd name="T77" fmla="*/ 3287 h 6574"/>
              <a:gd name="T78" fmla="*/ 2318 w 6574"/>
              <a:gd name="T79" fmla="*/ 4255 h 6574"/>
              <a:gd name="T80" fmla="*/ 4062 w 6574"/>
              <a:gd name="T81" fmla="*/ 4061 h 6574"/>
              <a:gd name="T82" fmla="*/ 4383 w 6574"/>
              <a:gd name="T83" fmla="*/ 3287 h 6574"/>
              <a:gd name="T84" fmla="*/ 3287 w 6574"/>
              <a:gd name="T85" fmla="*/ 2191 h 6574"/>
              <a:gd name="T86" fmla="*/ 2191 w 6574"/>
              <a:gd name="T87" fmla="*/ 3287 h 6574"/>
              <a:gd name="T88" fmla="*/ 2512 w 6574"/>
              <a:gd name="T89" fmla="*/ 4061 h 6574"/>
              <a:gd name="T90" fmla="*/ 3868 w 6574"/>
              <a:gd name="T91" fmla="*/ 3868 h 6574"/>
              <a:gd name="T92" fmla="*/ 4109 w 6574"/>
              <a:gd name="T93" fmla="*/ 3287 h 6574"/>
              <a:gd name="T94" fmla="*/ 3287 w 6574"/>
              <a:gd name="T95" fmla="*/ 2465 h 6574"/>
              <a:gd name="T96" fmla="*/ 2465 w 6574"/>
              <a:gd name="T97" fmla="*/ 3287 h 6574"/>
              <a:gd name="T98" fmla="*/ 2706 w 6574"/>
              <a:gd name="T99" fmla="*/ 3868 h 6574"/>
              <a:gd name="T100" fmla="*/ 3674 w 6574"/>
              <a:gd name="T101" fmla="*/ 3674 h 6574"/>
              <a:gd name="T102" fmla="*/ 3835 w 6574"/>
              <a:gd name="T103" fmla="*/ 3287 h 6574"/>
              <a:gd name="T104" fmla="*/ 3287 w 6574"/>
              <a:gd name="T105" fmla="*/ 2739 h 6574"/>
              <a:gd name="T106" fmla="*/ 2739 w 6574"/>
              <a:gd name="T107" fmla="*/ 3287 h 6574"/>
              <a:gd name="T108" fmla="*/ 2900 w 6574"/>
              <a:gd name="T109" fmla="*/ 3674 h 6574"/>
              <a:gd name="T110" fmla="*/ 3481 w 6574"/>
              <a:gd name="T111" fmla="*/ 3480 h 6574"/>
              <a:gd name="T112" fmla="*/ 3561 w 6574"/>
              <a:gd name="T113" fmla="*/ 3287 h 6574"/>
              <a:gd name="T114" fmla="*/ 3287 w 6574"/>
              <a:gd name="T115" fmla="*/ 3013 h 6574"/>
              <a:gd name="T116" fmla="*/ 3013 w 6574"/>
              <a:gd name="T117" fmla="*/ 3287 h 6574"/>
              <a:gd name="T118" fmla="*/ 3093 w 6574"/>
              <a:gd name="T119" fmla="*/ 3480 h 6574"/>
              <a:gd name="T120" fmla="*/ 3287 w 6574"/>
              <a:gd name="T121" fmla="*/ 3287 h 6574"/>
              <a:gd name="T122" fmla="*/ 3287 w 6574"/>
              <a:gd name="T123" fmla="*/ 6574 h 6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74" h="6574">
                <a:moveTo>
                  <a:pt x="5611" y="5611"/>
                </a:moveTo>
                <a:cubicBezTo>
                  <a:pt x="6206" y="5016"/>
                  <a:pt x="6574" y="4194"/>
                  <a:pt x="6574" y="3287"/>
                </a:cubicBezTo>
                <a:cubicBezTo>
                  <a:pt x="6574" y="1471"/>
                  <a:pt x="5102" y="0"/>
                  <a:pt x="3287" y="0"/>
                </a:cubicBezTo>
                <a:cubicBezTo>
                  <a:pt x="1472" y="0"/>
                  <a:pt x="0" y="1471"/>
                  <a:pt x="0" y="3287"/>
                </a:cubicBezTo>
                <a:cubicBezTo>
                  <a:pt x="0" y="4194"/>
                  <a:pt x="368" y="5016"/>
                  <a:pt x="963" y="5611"/>
                </a:cubicBezTo>
                <a:moveTo>
                  <a:pt x="5224" y="5223"/>
                </a:moveTo>
                <a:cubicBezTo>
                  <a:pt x="5720" y="4728"/>
                  <a:pt x="6026" y="4043"/>
                  <a:pt x="6026" y="3287"/>
                </a:cubicBezTo>
                <a:cubicBezTo>
                  <a:pt x="6026" y="1774"/>
                  <a:pt x="4800" y="548"/>
                  <a:pt x="3287" y="548"/>
                </a:cubicBezTo>
                <a:cubicBezTo>
                  <a:pt x="1774" y="548"/>
                  <a:pt x="548" y="1774"/>
                  <a:pt x="548" y="3287"/>
                </a:cubicBezTo>
                <a:cubicBezTo>
                  <a:pt x="548" y="4043"/>
                  <a:pt x="854" y="4728"/>
                  <a:pt x="1350" y="5223"/>
                </a:cubicBezTo>
                <a:moveTo>
                  <a:pt x="4837" y="4836"/>
                </a:moveTo>
                <a:cubicBezTo>
                  <a:pt x="5233" y="4440"/>
                  <a:pt x="5478" y="3892"/>
                  <a:pt x="5478" y="3287"/>
                </a:cubicBezTo>
                <a:cubicBezTo>
                  <a:pt x="5478" y="2076"/>
                  <a:pt x="4497" y="1095"/>
                  <a:pt x="3287" y="1095"/>
                </a:cubicBezTo>
                <a:cubicBezTo>
                  <a:pt x="2077" y="1095"/>
                  <a:pt x="1096" y="2076"/>
                  <a:pt x="1096" y="3287"/>
                </a:cubicBezTo>
                <a:cubicBezTo>
                  <a:pt x="1096" y="3892"/>
                  <a:pt x="1341" y="4440"/>
                  <a:pt x="1737" y="4836"/>
                </a:cubicBezTo>
                <a:moveTo>
                  <a:pt x="5418" y="5417"/>
                </a:moveTo>
                <a:cubicBezTo>
                  <a:pt x="5963" y="4872"/>
                  <a:pt x="6300" y="4119"/>
                  <a:pt x="6300" y="3287"/>
                </a:cubicBezTo>
                <a:cubicBezTo>
                  <a:pt x="6300" y="1623"/>
                  <a:pt x="4951" y="274"/>
                  <a:pt x="3287" y="274"/>
                </a:cubicBezTo>
                <a:cubicBezTo>
                  <a:pt x="1623" y="274"/>
                  <a:pt x="274" y="1623"/>
                  <a:pt x="274" y="3287"/>
                </a:cubicBezTo>
                <a:cubicBezTo>
                  <a:pt x="274" y="4119"/>
                  <a:pt x="611" y="4872"/>
                  <a:pt x="1156" y="5417"/>
                </a:cubicBezTo>
                <a:moveTo>
                  <a:pt x="5030" y="5030"/>
                </a:moveTo>
                <a:cubicBezTo>
                  <a:pt x="5476" y="4584"/>
                  <a:pt x="5752" y="3967"/>
                  <a:pt x="5752" y="3287"/>
                </a:cubicBezTo>
                <a:cubicBezTo>
                  <a:pt x="5752" y="1925"/>
                  <a:pt x="4649" y="821"/>
                  <a:pt x="3287" y="821"/>
                </a:cubicBezTo>
                <a:cubicBezTo>
                  <a:pt x="1925" y="821"/>
                  <a:pt x="822" y="1925"/>
                  <a:pt x="822" y="3287"/>
                </a:cubicBezTo>
                <a:cubicBezTo>
                  <a:pt x="822" y="3967"/>
                  <a:pt x="1098" y="4584"/>
                  <a:pt x="1544" y="5030"/>
                </a:cubicBezTo>
                <a:moveTo>
                  <a:pt x="4643" y="4642"/>
                </a:moveTo>
                <a:cubicBezTo>
                  <a:pt x="4990" y="4295"/>
                  <a:pt x="5204" y="3816"/>
                  <a:pt x="5204" y="3287"/>
                </a:cubicBezTo>
                <a:cubicBezTo>
                  <a:pt x="5204" y="2228"/>
                  <a:pt x="4346" y="1369"/>
                  <a:pt x="3287" y="1369"/>
                </a:cubicBezTo>
                <a:cubicBezTo>
                  <a:pt x="2228" y="1369"/>
                  <a:pt x="1369" y="2228"/>
                  <a:pt x="1369" y="3287"/>
                </a:cubicBezTo>
                <a:cubicBezTo>
                  <a:pt x="1369" y="3816"/>
                  <a:pt x="1584" y="4295"/>
                  <a:pt x="1931" y="4642"/>
                </a:cubicBezTo>
                <a:moveTo>
                  <a:pt x="4449" y="4449"/>
                </a:moveTo>
                <a:cubicBezTo>
                  <a:pt x="4747" y="4151"/>
                  <a:pt x="4931" y="3740"/>
                  <a:pt x="4931" y="3287"/>
                </a:cubicBezTo>
                <a:cubicBezTo>
                  <a:pt x="4931" y="2379"/>
                  <a:pt x="4195" y="1643"/>
                  <a:pt x="3287" y="1643"/>
                </a:cubicBezTo>
                <a:cubicBezTo>
                  <a:pt x="2379" y="1643"/>
                  <a:pt x="1643" y="2379"/>
                  <a:pt x="1643" y="3287"/>
                </a:cubicBezTo>
                <a:cubicBezTo>
                  <a:pt x="1643" y="3740"/>
                  <a:pt x="1827" y="4151"/>
                  <a:pt x="2125" y="4449"/>
                </a:cubicBezTo>
                <a:moveTo>
                  <a:pt x="4255" y="4255"/>
                </a:moveTo>
                <a:cubicBezTo>
                  <a:pt x="4503" y="4007"/>
                  <a:pt x="4657" y="3665"/>
                  <a:pt x="4657" y="3287"/>
                </a:cubicBezTo>
                <a:cubicBezTo>
                  <a:pt x="4657" y="2530"/>
                  <a:pt x="4043" y="1917"/>
                  <a:pt x="3287" y="1917"/>
                </a:cubicBezTo>
                <a:cubicBezTo>
                  <a:pt x="2531" y="1917"/>
                  <a:pt x="1917" y="2530"/>
                  <a:pt x="1917" y="3287"/>
                </a:cubicBezTo>
                <a:cubicBezTo>
                  <a:pt x="1917" y="3665"/>
                  <a:pt x="2071" y="4007"/>
                  <a:pt x="2318" y="4255"/>
                </a:cubicBezTo>
                <a:moveTo>
                  <a:pt x="4062" y="4061"/>
                </a:moveTo>
                <a:cubicBezTo>
                  <a:pt x="4260" y="3863"/>
                  <a:pt x="4383" y="3589"/>
                  <a:pt x="4383" y="3287"/>
                </a:cubicBezTo>
                <a:cubicBezTo>
                  <a:pt x="4383" y="2682"/>
                  <a:pt x="3892" y="2191"/>
                  <a:pt x="3287" y="2191"/>
                </a:cubicBezTo>
                <a:cubicBezTo>
                  <a:pt x="2682" y="2191"/>
                  <a:pt x="2191" y="2682"/>
                  <a:pt x="2191" y="3287"/>
                </a:cubicBezTo>
                <a:cubicBezTo>
                  <a:pt x="2191" y="3589"/>
                  <a:pt x="2314" y="3863"/>
                  <a:pt x="2512" y="4061"/>
                </a:cubicBezTo>
                <a:moveTo>
                  <a:pt x="3868" y="3868"/>
                </a:moveTo>
                <a:cubicBezTo>
                  <a:pt x="4017" y="3719"/>
                  <a:pt x="4109" y="3514"/>
                  <a:pt x="4109" y="3287"/>
                </a:cubicBezTo>
                <a:cubicBezTo>
                  <a:pt x="4109" y="2833"/>
                  <a:pt x="3741" y="2465"/>
                  <a:pt x="3287" y="2465"/>
                </a:cubicBezTo>
                <a:cubicBezTo>
                  <a:pt x="2833" y="2465"/>
                  <a:pt x="2465" y="2833"/>
                  <a:pt x="2465" y="3287"/>
                </a:cubicBezTo>
                <a:cubicBezTo>
                  <a:pt x="2465" y="3514"/>
                  <a:pt x="2557" y="3719"/>
                  <a:pt x="2706" y="3868"/>
                </a:cubicBezTo>
                <a:moveTo>
                  <a:pt x="3674" y="3674"/>
                </a:moveTo>
                <a:cubicBezTo>
                  <a:pt x="3773" y="3575"/>
                  <a:pt x="3835" y="3438"/>
                  <a:pt x="3835" y="3287"/>
                </a:cubicBezTo>
                <a:cubicBezTo>
                  <a:pt x="3835" y="2984"/>
                  <a:pt x="3590" y="2739"/>
                  <a:pt x="3287" y="2739"/>
                </a:cubicBezTo>
                <a:cubicBezTo>
                  <a:pt x="2984" y="2739"/>
                  <a:pt x="2739" y="2984"/>
                  <a:pt x="2739" y="3287"/>
                </a:cubicBezTo>
                <a:cubicBezTo>
                  <a:pt x="2739" y="3438"/>
                  <a:pt x="2800" y="3575"/>
                  <a:pt x="2900" y="3674"/>
                </a:cubicBezTo>
                <a:moveTo>
                  <a:pt x="3481" y="3480"/>
                </a:moveTo>
                <a:cubicBezTo>
                  <a:pt x="3530" y="3431"/>
                  <a:pt x="3561" y="3362"/>
                  <a:pt x="3561" y="3287"/>
                </a:cubicBezTo>
                <a:cubicBezTo>
                  <a:pt x="3561" y="3135"/>
                  <a:pt x="3438" y="3013"/>
                  <a:pt x="3287" y="3013"/>
                </a:cubicBezTo>
                <a:cubicBezTo>
                  <a:pt x="3136" y="3013"/>
                  <a:pt x="3013" y="3135"/>
                  <a:pt x="3013" y="3287"/>
                </a:cubicBezTo>
                <a:cubicBezTo>
                  <a:pt x="3013" y="3362"/>
                  <a:pt x="3044" y="3431"/>
                  <a:pt x="3093" y="3480"/>
                </a:cubicBezTo>
                <a:moveTo>
                  <a:pt x="3287" y="3287"/>
                </a:moveTo>
                <a:cubicBezTo>
                  <a:pt x="3287" y="6574"/>
                  <a:pt x="3287" y="6574"/>
                  <a:pt x="3287" y="6574"/>
                </a:cubicBezTo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CCA69D1B-0247-4F3A-926F-84FB20C00281}" type="datetime1">
              <a:rPr lang="en-GB" smtClean="0"/>
              <a:t>24/01/2018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10448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 noEditPoints="1"/>
          </p:cNvSpPr>
          <p:nvPr/>
        </p:nvSpPr>
        <p:spPr bwMode="auto">
          <a:xfrm>
            <a:off x="4245915" y="578278"/>
            <a:ext cx="4595813" cy="4587875"/>
          </a:xfrm>
          <a:custGeom>
            <a:avLst/>
            <a:gdLst>
              <a:gd name="T0" fmla="*/ 5611 w 6574"/>
              <a:gd name="T1" fmla="*/ 5611 h 6574"/>
              <a:gd name="T2" fmla="*/ 6574 w 6574"/>
              <a:gd name="T3" fmla="*/ 3287 h 6574"/>
              <a:gd name="T4" fmla="*/ 3287 w 6574"/>
              <a:gd name="T5" fmla="*/ 0 h 6574"/>
              <a:gd name="T6" fmla="*/ 0 w 6574"/>
              <a:gd name="T7" fmla="*/ 3287 h 6574"/>
              <a:gd name="T8" fmla="*/ 963 w 6574"/>
              <a:gd name="T9" fmla="*/ 5611 h 6574"/>
              <a:gd name="T10" fmla="*/ 5224 w 6574"/>
              <a:gd name="T11" fmla="*/ 5223 h 6574"/>
              <a:gd name="T12" fmla="*/ 6026 w 6574"/>
              <a:gd name="T13" fmla="*/ 3287 h 6574"/>
              <a:gd name="T14" fmla="*/ 3287 w 6574"/>
              <a:gd name="T15" fmla="*/ 548 h 6574"/>
              <a:gd name="T16" fmla="*/ 548 w 6574"/>
              <a:gd name="T17" fmla="*/ 3287 h 6574"/>
              <a:gd name="T18" fmla="*/ 1350 w 6574"/>
              <a:gd name="T19" fmla="*/ 5223 h 6574"/>
              <a:gd name="T20" fmla="*/ 4837 w 6574"/>
              <a:gd name="T21" fmla="*/ 4836 h 6574"/>
              <a:gd name="T22" fmla="*/ 5478 w 6574"/>
              <a:gd name="T23" fmla="*/ 3287 h 6574"/>
              <a:gd name="T24" fmla="*/ 3287 w 6574"/>
              <a:gd name="T25" fmla="*/ 1095 h 6574"/>
              <a:gd name="T26" fmla="*/ 1096 w 6574"/>
              <a:gd name="T27" fmla="*/ 3287 h 6574"/>
              <a:gd name="T28" fmla="*/ 1737 w 6574"/>
              <a:gd name="T29" fmla="*/ 4836 h 6574"/>
              <a:gd name="T30" fmla="*/ 5418 w 6574"/>
              <a:gd name="T31" fmla="*/ 5417 h 6574"/>
              <a:gd name="T32" fmla="*/ 6300 w 6574"/>
              <a:gd name="T33" fmla="*/ 3287 h 6574"/>
              <a:gd name="T34" fmla="*/ 3287 w 6574"/>
              <a:gd name="T35" fmla="*/ 274 h 6574"/>
              <a:gd name="T36" fmla="*/ 274 w 6574"/>
              <a:gd name="T37" fmla="*/ 3287 h 6574"/>
              <a:gd name="T38" fmla="*/ 1156 w 6574"/>
              <a:gd name="T39" fmla="*/ 5417 h 6574"/>
              <a:gd name="T40" fmla="*/ 5030 w 6574"/>
              <a:gd name="T41" fmla="*/ 5030 h 6574"/>
              <a:gd name="T42" fmla="*/ 5752 w 6574"/>
              <a:gd name="T43" fmla="*/ 3287 h 6574"/>
              <a:gd name="T44" fmla="*/ 3287 w 6574"/>
              <a:gd name="T45" fmla="*/ 821 h 6574"/>
              <a:gd name="T46" fmla="*/ 822 w 6574"/>
              <a:gd name="T47" fmla="*/ 3287 h 6574"/>
              <a:gd name="T48" fmla="*/ 1544 w 6574"/>
              <a:gd name="T49" fmla="*/ 5030 h 6574"/>
              <a:gd name="T50" fmla="*/ 4643 w 6574"/>
              <a:gd name="T51" fmla="*/ 4642 h 6574"/>
              <a:gd name="T52" fmla="*/ 5204 w 6574"/>
              <a:gd name="T53" fmla="*/ 3287 h 6574"/>
              <a:gd name="T54" fmla="*/ 3287 w 6574"/>
              <a:gd name="T55" fmla="*/ 1369 h 6574"/>
              <a:gd name="T56" fmla="*/ 1369 w 6574"/>
              <a:gd name="T57" fmla="*/ 3287 h 6574"/>
              <a:gd name="T58" fmla="*/ 1931 w 6574"/>
              <a:gd name="T59" fmla="*/ 4642 h 6574"/>
              <a:gd name="T60" fmla="*/ 4449 w 6574"/>
              <a:gd name="T61" fmla="*/ 4449 h 6574"/>
              <a:gd name="T62" fmla="*/ 4931 w 6574"/>
              <a:gd name="T63" fmla="*/ 3287 h 6574"/>
              <a:gd name="T64" fmla="*/ 3287 w 6574"/>
              <a:gd name="T65" fmla="*/ 1643 h 6574"/>
              <a:gd name="T66" fmla="*/ 1643 w 6574"/>
              <a:gd name="T67" fmla="*/ 3287 h 6574"/>
              <a:gd name="T68" fmla="*/ 2125 w 6574"/>
              <a:gd name="T69" fmla="*/ 4449 h 6574"/>
              <a:gd name="T70" fmla="*/ 4255 w 6574"/>
              <a:gd name="T71" fmla="*/ 4255 h 6574"/>
              <a:gd name="T72" fmla="*/ 4657 w 6574"/>
              <a:gd name="T73" fmla="*/ 3287 h 6574"/>
              <a:gd name="T74" fmla="*/ 3287 w 6574"/>
              <a:gd name="T75" fmla="*/ 1917 h 6574"/>
              <a:gd name="T76" fmla="*/ 1917 w 6574"/>
              <a:gd name="T77" fmla="*/ 3287 h 6574"/>
              <a:gd name="T78" fmla="*/ 2318 w 6574"/>
              <a:gd name="T79" fmla="*/ 4255 h 6574"/>
              <a:gd name="T80" fmla="*/ 4062 w 6574"/>
              <a:gd name="T81" fmla="*/ 4061 h 6574"/>
              <a:gd name="T82" fmla="*/ 4383 w 6574"/>
              <a:gd name="T83" fmla="*/ 3287 h 6574"/>
              <a:gd name="T84" fmla="*/ 3287 w 6574"/>
              <a:gd name="T85" fmla="*/ 2191 h 6574"/>
              <a:gd name="T86" fmla="*/ 2191 w 6574"/>
              <a:gd name="T87" fmla="*/ 3287 h 6574"/>
              <a:gd name="T88" fmla="*/ 2512 w 6574"/>
              <a:gd name="T89" fmla="*/ 4061 h 6574"/>
              <a:gd name="T90" fmla="*/ 3868 w 6574"/>
              <a:gd name="T91" fmla="*/ 3868 h 6574"/>
              <a:gd name="T92" fmla="*/ 4109 w 6574"/>
              <a:gd name="T93" fmla="*/ 3287 h 6574"/>
              <a:gd name="T94" fmla="*/ 3287 w 6574"/>
              <a:gd name="T95" fmla="*/ 2465 h 6574"/>
              <a:gd name="T96" fmla="*/ 2465 w 6574"/>
              <a:gd name="T97" fmla="*/ 3287 h 6574"/>
              <a:gd name="T98" fmla="*/ 2706 w 6574"/>
              <a:gd name="T99" fmla="*/ 3868 h 6574"/>
              <a:gd name="T100" fmla="*/ 3674 w 6574"/>
              <a:gd name="T101" fmla="*/ 3674 h 6574"/>
              <a:gd name="T102" fmla="*/ 3835 w 6574"/>
              <a:gd name="T103" fmla="*/ 3287 h 6574"/>
              <a:gd name="T104" fmla="*/ 3287 w 6574"/>
              <a:gd name="T105" fmla="*/ 2739 h 6574"/>
              <a:gd name="T106" fmla="*/ 2739 w 6574"/>
              <a:gd name="T107" fmla="*/ 3287 h 6574"/>
              <a:gd name="T108" fmla="*/ 2900 w 6574"/>
              <a:gd name="T109" fmla="*/ 3674 h 6574"/>
              <a:gd name="T110" fmla="*/ 3481 w 6574"/>
              <a:gd name="T111" fmla="*/ 3480 h 6574"/>
              <a:gd name="T112" fmla="*/ 3561 w 6574"/>
              <a:gd name="T113" fmla="*/ 3287 h 6574"/>
              <a:gd name="T114" fmla="*/ 3287 w 6574"/>
              <a:gd name="T115" fmla="*/ 3013 h 6574"/>
              <a:gd name="T116" fmla="*/ 3013 w 6574"/>
              <a:gd name="T117" fmla="*/ 3287 h 6574"/>
              <a:gd name="T118" fmla="*/ 3093 w 6574"/>
              <a:gd name="T119" fmla="*/ 3480 h 6574"/>
              <a:gd name="T120" fmla="*/ 3287 w 6574"/>
              <a:gd name="T121" fmla="*/ 3287 h 6574"/>
              <a:gd name="T122" fmla="*/ 3287 w 6574"/>
              <a:gd name="T123" fmla="*/ 6574 h 6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74" h="6574">
                <a:moveTo>
                  <a:pt x="5611" y="5611"/>
                </a:moveTo>
                <a:cubicBezTo>
                  <a:pt x="6206" y="5016"/>
                  <a:pt x="6574" y="4194"/>
                  <a:pt x="6574" y="3287"/>
                </a:cubicBezTo>
                <a:cubicBezTo>
                  <a:pt x="6574" y="1471"/>
                  <a:pt x="5102" y="0"/>
                  <a:pt x="3287" y="0"/>
                </a:cubicBezTo>
                <a:cubicBezTo>
                  <a:pt x="1472" y="0"/>
                  <a:pt x="0" y="1471"/>
                  <a:pt x="0" y="3287"/>
                </a:cubicBezTo>
                <a:cubicBezTo>
                  <a:pt x="0" y="4194"/>
                  <a:pt x="368" y="5016"/>
                  <a:pt x="963" y="5611"/>
                </a:cubicBezTo>
                <a:moveTo>
                  <a:pt x="5224" y="5223"/>
                </a:moveTo>
                <a:cubicBezTo>
                  <a:pt x="5720" y="4728"/>
                  <a:pt x="6026" y="4043"/>
                  <a:pt x="6026" y="3287"/>
                </a:cubicBezTo>
                <a:cubicBezTo>
                  <a:pt x="6026" y="1774"/>
                  <a:pt x="4800" y="548"/>
                  <a:pt x="3287" y="548"/>
                </a:cubicBezTo>
                <a:cubicBezTo>
                  <a:pt x="1774" y="548"/>
                  <a:pt x="548" y="1774"/>
                  <a:pt x="548" y="3287"/>
                </a:cubicBezTo>
                <a:cubicBezTo>
                  <a:pt x="548" y="4043"/>
                  <a:pt x="854" y="4728"/>
                  <a:pt x="1350" y="5223"/>
                </a:cubicBezTo>
                <a:moveTo>
                  <a:pt x="4837" y="4836"/>
                </a:moveTo>
                <a:cubicBezTo>
                  <a:pt x="5233" y="4440"/>
                  <a:pt x="5478" y="3892"/>
                  <a:pt x="5478" y="3287"/>
                </a:cubicBezTo>
                <a:cubicBezTo>
                  <a:pt x="5478" y="2076"/>
                  <a:pt x="4497" y="1095"/>
                  <a:pt x="3287" y="1095"/>
                </a:cubicBezTo>
                <a:cubicBezTo>
                  <a:pt x="2077" y="1095"/>
                  <a:pt x="1096" y="2076"/>
                  <a:pt x="1096" y="3287"/>
                </a:cubicBezTo>
                <a:cubicBezTo>
                  <a:pt x="1096" y="3892"/>
                  <a:pt x="1341" y="4440"/>
                  <a:pt x="1737" y="4836"/>
                </a:cubicBezTo>
                <a:moveTo>
                  <a:pt x="5418" y="5417"/>
                </a:moveTo>
                <a:cubicBezTo>
                  <a:pt x="5963" y="4872"/>
                  <a:pt x="6300" y="4119"/>
                  <a:pt x="6300" y="3287"/>
                </a:cubicBezTo>
                <a:cubicBezTo>
                  <a:pt x="6300" y="1623"/>
                  <a:pt x="4951" y="274"/>
                  <a:pt x="3287" y="274"/>
                </a:cubicBezTo>
                <a:cubicBezTo>
                  <a:pt x="1623" y="274"/>
                  <a:pt x="274" y="1623"/>
                  <a:pt x="274" y="3287"/>
                </a:cubicBezTo>
                <a:cubicBezTo>
                  <a:pt x="274" y="4119"/>
                  <a:pt x="611" y="4872"/>
                  <a:pt x="1156" y="5417"/>
                </a:cubicBezTo>
                <a:moveTo>
                  <a:pt x="5030" y="5030"/>
                </a:moveTo>
                <a:cubicBezTo>
                  <a:pt x="5476" y="4584"/>
                  <a:pt x="5752" y="3967"/>
                  <a:pt x="5752" y="3287"/>
                </a:cubicBezTo>
                <a:cubicBezTo>
                  <a:pt x="5752" y="1925"/>
                  <a:pt x="4649" y="821"/>
                  <a:pt x="3287" y="821"/>
                </a:cubicBezTo>
                <a:cubicBezTo>
                  <a:pt x="1925" y="821"/>
                  <a:pt x="822" y="1925"/>
                  <a:pt x="822" y="3287"/>
                </a:cubicBezTo>
                <a:cubicBezTo>
                  <a:pt x="822" y="3967"/>
                  <a:pt x="1098" y="4584"/>
                  <a:pt x="1544" y="5030"/>
                </a:cubicBezTo>
                <a:moveTo>
                  <a:pt x="4643" y="4642"/>
                </a:moveTo>
                <a:cubicBezTo>
                  <a:pt x="4990" y="4295"/>
                  <a:pt x="5204" y="3816"/>
                  <a:pt x="5204" y="3287"/>
                </a:cubicBezTo>
                <a:cubicBezTo>
                  <a:pt x="5204" y="2228"/>
                  <a:pt x="4346" y="1369"/>
                  <a:pt x="3287" y="1369"/>
                </a:cubicBezTo>
                <a:cubicBezTo>
                  <a:pt x="2228" y="1369"/>
                  <a:pt x="1369" y="2228"/>
                  <a:pt x="1369" y="3287"/>
                </a:cubicBezTo>
                <a:cubicBezTo>
                  <a:pt x="1369" y="3816"/>
                  <a:pt x="1584" y="4295"/>
                  <a:pt x="1931" y="4642"/>
                </a:cubicBezTo>
                <a:moveTo>
                  <a:pt x="4449" y="4449"/>
                </a:moveTo>
                <a:cubicBezTo>
                  <a:pt x="4747" y="4151"/>
                  <a:pt x="4931" y="3740"/>
                  <a:pt x="4931" y="3287"/>
                </a:cubicBezTo>
                <a:cubicBezTo>
                  <a:pt x="4931" y="2379"/>
                  <a:pt x="4195" y="1643"/>
                  <a:pt x="3287" y="1643"/>
                </a:cubicBezTo>
                <a:cubicBezTo>
                  <a:pt x="2379" y="1643"/>
                  <a:pt x="1643" y="2379"/>
                  <a:pt x="1643" y="3287"/>
                </a:cubicBezTo>
                <a:cubicBezTo>
                  <a:pt x="1643" y="3740"/>
                  <a:pt x="1827" y="4151"/>
                  <a:pt x="2125" y="4449"/>
                </a:cubicBezTo>
                <a:moveTo>
                  <a:pt x="4255" y="4255"/>
                </a:moveTo>
                <a:cubicBezTo>
                  <a:pt x="4503" y="4007"/>
                  <a:pt x="4657" y="3665"/>
                  <a:pt x="4657" y="3287"/>
                </a:cubicBezTo>
                <a:cubicBezTo>
                  <a:pt x="4657" y="2530"/>
                  <a:pt x="4043" y="1917"/>
                  <a:pt x="3287" y="1917"/>
                </a:cubicBezTo>
                <a:cubicBezTo>
                  <a:pt x="2531" y="1917"/>
                  <a:pt x="1917" y="2530"/>
                  <a:pt x="1917" y="3287"/>
                </a:cubicBezTo>
                <a:cubicBezTo>
                  <a:pt x="1917" y="3665"/>
                  <a:pt x="2071" y="4007"/>
                  <a:pt x="2318" y="4255"/>
                </a:cubicBezTo>
                <a:moveTo>
                  <a:pt x="4062" y="4061"/>
                </a:moveTo>
                <a:cubicBezTo>
                  <a:pt x="4260" y="3863"/>
                  <a:pt x="4383" y="3589"/>
                  <a:pt x="4383" y="3287"/>
                </a:cubicBezTo>
                <a:cubicBezTo>
                  <a:pt x="4383" y="2682"/>
                  <a:pt x="3892" y="2191"/>
                  <a:pt x="3287" y="2191"/>
                </a:cubicBezTo>
                <a:cubicBezTo>
                  <a:pt x="2682" y="2191"/>
                  <a:pt x="2191" y="2682"/>
                  <a:pt x="2191" y="3287"/>
                </a:cubicBezTo>
                <a:cubicBezTo>
                  <a:pt x="2191" y="3589"/>
                  <a:pt x="2314" y="3863"/>
                  <a:pt x="2512" y="4061"/>
                </a:cubicBezTo>
                <a:moveTo>
                  <a:pt x="3868" y="3868"/>
                </a:moveTo>
                <a:cubicBezTo>
                  <a:pt x="4017" y="3719"/>
                  <a:pt x="4109" y="3514"/>
                  <a:pt x="4109" y="3287"/>
                </a:cubicBezTo>
                <a:cubicBezTo>
                  <a:pt x="4109" y="2833"/>
                  <a:pt x="3741" y="2465"/>
                  <a:pt x="3287" y="2465"/>
                </a:cubicBezTo>
                <a:cubicBezTo>
                  <a:pt x="2833" y="2465"/>
                  <a:pt x="2465" y="2833"/>
                  <a:pt x="2465" y="3287"/>
                </a:cubicBezTo>
                <a:cubicBezTo>
                  <a:pt x="2465" y="3514"/>
                  <a:pt x="2557" y="3719"/>
                  <a:pt x="2706" y="3868"/>
                </a:cubicBezTo>
                <a:moveTo>
                  <a:pt x="3674" y="3674"/>
                </a:moveTo>
                <a:cubicBezTo>
                  <a:pt x="3773" y="3575"/>
                  <a:pt x="3835" y="3438"/>
                  <a:pt x="3835" y="3287"/>
                </a:cubicBezTo>
                <a:cubicBezTo>
                  <a:pt x="3835" y="2984"/>
                  <a:pt x="3590" y="2739"/>
                  <a:pt x="3287" y="2739"/>
                </a:cubicBezTo>
                <a:cubicBezTo>
                  <a:pt x="2984" y="2739"/>
                  <a:pt x="2739" y="2984"/>
                  <a:pt x="2739" y="3287"/>
                </a:cubicBezTo>
                <a:cubicBezTo>
                  <a:pt x="2739" y="3438"/>
                  <a:pt x="2800" y="3575"/>
                  <a:pt x="2900" y="3674"/>
                </a:cubicBezTo>
                <a:moveTo>
                  <a:pt x="3481" y="3480"/>
                </a:moveTo>
                <a:cubicBezTo>
                  <a:pt x="3530" y="3431"/>
                  <a:pt x="3561" y="3362"/>
                  <a:pt x="3561" y="3287"/>
                </a:cubicBezTo>
                <a:cubicBezTo>
                  <a:pt x="3561" y="3135"/>
                  <a:pt x="3438" y="3013"/>
                  <a:pt x="3287" y="3013"/>
                </a:cubicBezTo>
                <a:cubicBezTo>
                  <a:pt x="3136" y="3013"/>
                  <a:pt x="3013" y="3135"/>
                  <a:pt x="3013" y="3287"/>
                </a:cubicBezTo>
                <a:cubicBezTo>
                  <a:pt x="3013" y="3362"/>
                  <a:pt x="3044" y="3431"/>
                  <a:pt x="3093" y="3480"/>
                </a:cubicBezTo>
                <a:moveTo>
                  <a:pt x="3287" y="3287"/>
                </a:moveTo>
                <a:cubicBezTo>
                  <a:pt x="3287" y="6574"/>
                  <a:pt x="3287" y="6574"/>
                  <a:pt x="3287" y="6574"/>
                </a:cubicBezTo>
              </a:path>
            </a:pathLst>
          </a:custGeom>
          <a:noFill/>
          <a:ln w="15875" cap="flat">
            <a:solidFill>
              <a:srgbClr val="F39C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0927F341-035A-4C10-9D27-45EC5858395D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1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56444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A4C4F805-9E8D-46EC-B7F9-52530B812C2B}" type="datetime1">
              <a:rPr lang="en-GB" smtClean="0"/>
              <a:t>24/01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49802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87222396-D3B2-410E-9225-B46790AAC148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5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34986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B8DA227C-C9B7-4DFA-800E-C3FBCECCEFB3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71050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A15C78A5-AA7C-4995-BC39-FDB1D660F223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52227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4082BA13-300E-4B15-AC8B-5B4261162C94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17054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Freeform 5"/>
          <p:cNvSpPr>
            <a:spLocks noEditPoints="1"/>
          </p:cNvSpPr>
          <p:nvPr userDrawn="1"/>
        </p:nvSpPr>
        <p:spPr bwMode="gray">
          <a:xfrm>
            <a:off x="237982" y="801688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8" name="Group 4"/>
          <p:cNvGrpSpPr>
            <a:grpSpLocks noChangeAspect="1"/>
          </p:cNvGrpSpPr>
          <p:nvPr userDrawn="1"/>
        </p:nvGrpSpPr>
        <p:grpSpPr bwMode="auto">
          <a:xfrm>
            <a:off x="237384" y="227981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1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2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3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00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chemeClr val="bg1"/>
              </a:solidFill>
            </a:endParaRPr>
          </a:p>
        </p:txBody>
      </p:sp>
      <p:grpSp>
        <p:nvGrpSpPr>
          <p:cNvPr id="17" name="Group 8"/>
          <p:cNvGrpSpPr>
            <a:grpSpLocks noChangeAspect="1"/>
          </p:cNvGrpSpPr>
          <p:nvPr/>
        </p:nvGrpSpPr>
        <p:grpSpPr bwMode="auto">
          <a:xfrm>
            <a:off x="856918" y="2362886"/>
            <a:ext cx="8288755" cy="2780615"/>
            <a:chOff x="1243" y="1097"/>
            <a:chExt cx="3272" cy="1048"/>
          </a:xfrm>
        </p:grpSpPr>
        <p:sp>
          <p:nvSpPr>
            <p:cNvPr id="18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6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7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3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4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5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6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0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1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2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3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4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5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6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chemeClr val="bg1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fr-FR" smtClean="0"/>
              <a:t>Modifier les styles du texte du masqu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BE9718FB-A763-4397-9DAF-C40AEADDCD9A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94268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DBD284F-B85A-43BC-8505-F09A3EDB6677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2847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F895833-E972-40DD-ABCA-114A542954C4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218737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18E3447C-B7FA-403E-8CCA-E59CC731C3E9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1988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90C52DDB-7DCB-43C2-97F6-82DD3C2C8A05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48347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399" y="985500"/>
            <a:ext cx="39258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400" y="1571400"/>
            <a:ext cx="39258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78800" y="985500"/>
            <a:ext cx="39501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78800" y="1571400"/>
            <a:ext cx="39501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19BB9261-D8FA-43CB-84E7-759D58E26243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73205" y="1088122"/>
            <a:ext cx="0" cy="3637087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43574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2-Spli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re 1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72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52"/>
          </p:nvPr>
        </p:nvSpPr>
        <p:spPr bwMode="auto">
          <a:xfrm>
            <a:off x="4992683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55"/>
          </p:nvPr>
        </p:nvSpPr>
        <p:spPr/>
        <p:txBody>
          <a:bodyPr/>
          <a:lstStyle/>
          <a:p>
            <a:pPr algn="ctr"/>
            <a:fld id="{37E3E2A0-8EC1-4013-9DEA-B0CA764A78A6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58"/>
          </p:nvPr>
        </p:nvSpPr>
        <p:spPr>
          <a:xfrm>
            <a:off x="842401" y="1373981"/>
            <a:ext cx="3912956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9"/>
          </p:nvPr>
        </p:nvSpPr>
        <p:spPr>
          <a:xfrm>
            <a:off x="4992683" y="1373981"/>
            <a:ext cx="3913200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60"/>
          </p:nvPr>
        </p:nvSpPr>
        <p:spPr>
          <a:xfrm>
            <a:off x="4992684" y="3137608"/>
            <a:ext cx="3913192" cy="1587983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61"/>
          </p:nvPr>
        </p:nvSpPr>
        <p:spPr>
          <a:xfrm>
            <a:off x="842963" y="3137298"/>
            <a:ext cx="3912394" cy="158829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113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2" y="935715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38"/>
          </p:nvPr>
        </p:nvSpPr>
        <p:spPr bwMode="auto">
          <a:xfrm>
            <a:off x="842459" y="2866853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3"/>
          </p:nvPr>
        </p:nvSpPr>
        <p:spPr bwMode="auto">
          <a:xfrm>
            <a:off x="4992673" y="923759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40"/>
          </p:nvPr>
        </p:nvSpPr>
        <p:spPr bwMode="auto">
          <a:xfrm>
            <a:off x="4992670" y="2873531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pPr algn="ctr"/>
            <a:fld id="{500FB09E-18AD-4BEB-8960-11387EAC6C1C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4"/>
          </p:nvPr>
        </p:nvSpPr>
        <p:spPr>
          <a:xfrm>
            <a:off x="842401" y="1374031"/>
            <a:ext cx="3913259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5"/>
          </p:nvPr>
        </p:nvSpPr>
        <p:spPr>
          <a:xfrm>
            <a:off x="4992670" y="1374031"/>
            <a:ext cx="3913200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56"/>
          </p:nvPr>
        </p:nvSpPr>
        <p:spPr>
          <a:xfrm>
            <a:off x="4992291" y="3305175"/>
            <a:ext cx="3913584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57"/>
          </p:nvPr>
        </p:nvSpPr>
        <p:spPr>
          <a:xfrm>
            <a:off x="842401" y="3305175"/>
            <a:ext cx="3912956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34"/>
          </p:nvPr>
        </p:nvSpPr>
        <p:spPr bwMode="auto">
          <a:xfrm>
            <a:off x="3573370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32"/>
          </p:nvPr>
        </p:nvSpPr>
        <p:spPr bwMode="auto">
          <a:xfrm>
            <a:off x="630907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pPr algn="ctr"/>
            <a:fld id="{B7B13151-BE25-4EA0-8D34-6A2B12A81797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8"/>
          </p:nvPr>
        </p:nvSpPr>
        <p:spPr>
          <a:xfrm>
            <a:off x="840338" y="1376208"/>
            <a:ext cx="2589326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9"/>
          </p:nvPr>
        </p:nvSpPr>
        <p:spPr>
          <a:xfrm>
            <a:off x="3573370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50"/>
          </p:nvPr>
        </p:nvSpPr>
        <p:spPr>
          <a:xfrm>
            <a:off x="6309075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93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485654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0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83957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1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83957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2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83957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3</a:t>
            </a:r>
          </a:p>
        </p:txBody>
      </p:sp>
      <p:sp>
        <p:nvSpPr>
          <p:cNvPr id="24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452324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4</a:t>
            </a:r>
          </a:p>
        </p:txBody>
      </p:sp>
      <p:sp>
        <p:nvSpPr>
          <p:cNvPr id="25" name="Text Placeholder 31"/>
          <p:cNvSpPr>
            <a:spLocks noGrp="1"/>
          </p:cNvSpPr>
          <p:nvPr>
            <p:ph type="body" sz="quarter" idx="20" hasCustomPrompt="1"/>
          </p:nvPr>
        </p:nvSpPr>
        <p:spPr>
          <a:xfrm>
            <a:off x="452324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5</a:t>
            </a:r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452324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6</a:t>
            </a:r>
          </a:p>
        </p:txBody>
      </p:sp>
      <p:sp>
        <p:nvSpPr>
          <p:cNvPr id="27" name="Text Placeholder 3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654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1485654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9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5169823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0" name="Text Placeholder 31"/>
          <p:cNvSpPr>
            <a:spLocks noGrp="1"/>
          </p:cNvSpPr>
          <p:nvPr>
            <p:ph type="body" sz="quarter" idx="26" hasCustomPrompt="1"/>
          </p:nvPr>
        </p:nvSpPr>
        <p:spPr>
          <a:xfrm>
            <a:off x="5169823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1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5169823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Summary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algn="ctr"/>
            <a:fld id="{8E607C6D-ABBE-415C-97A0-9CC5CCEE295D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7368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08006" y="226219"/>
            <a:ext cx="2020491" cy="449937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42963" y="226219"/>
            <a:ext cx="5950744" cy="4499372"/>
          </a:xfrm>
        </p:spPr>
        <p:txBody>
          <a:bodyPr vert="vert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758216BF-CA2A-42AD-81CC-D5E4824A41E2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4121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Freeform 5"/>
          <p:cNvSpPr>
            <a:spLocks noEditPoints="1"/>
          </p:cNvSpPr>
          <p:nvPr userDrawn="1"/>
        </p:nvSpPr>
        <p:spPr bwMode="gray">
          <a:xfrm>
            <a:off x="237982" y="801688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2" name="Group 4"/>
          <p:cNvGrpSpPr>
            <a:grpSpLocks noChangeAspect="1"/>
          </p:cNvGrpSpPr>
          <p:nvPr userDrawn="1"/>
        </p:nvGrpSpPr>
        <p:grpSpPr bwMode="auto">
          <a:xfrm>
            <a:off x="237384" y="227981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3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4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5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6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grpSp>
        <p:nvGrpSpPr>
          <p:cNvPr id="9" name="Group 8"/>
          <p:cNvGrpSpPr>
            <a:grpSpLocks noChangeAspect="1"/>
          </p:cNvGrpSpPr>
          <p:nvPr/>
        </p:nvGrpSpPr>
        <p:grpSpPr bwMode="auto">
          <a:xfrm>
            <a:off x="856918" y="2362886"/>
            <a:ext cx="8288755" cy="2780615"/>
            <a:chOff x="1243" y="1097"/>
            <a:chExt cx="3272" cy="1048"/>
          </a:xfrm>
        </p:grpSpPr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3650" y="2010"/>
              <a:ext cx="69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>
              <a:off x="3860" y="1766"/>
              <a:ext cx="239" cy="3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Line 11"/>
            <p:cNvSpPr>
              <a:spLocks noChangeShapeType="1"/>
            </p:cNvSpPr>
            <p:nvPr/>
          </p:nvSpPr>
          <p:spPr bwMode="auto">
            <a:xfrm>
              <a:off x="3966" y="1645"/>
              <a:ext cx="351" cy="50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Line 12"/>
            <p:cNvSpPr>
              <a:spLocks noChangeShapeType="1"/>
            </p:cNvSpPr>
            <p:nvPr/>
          </p:nvSpPr>
          <p:spPr bwMode="auto">
            <a:xfrm flipH="1" flipV="1">
              <a:off x="4124" y="1462"/>
              <a:ext cx="391" cy="4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Line 13"/>
            <p:cNvSpPr>
              <a:spLocks noChangeShapeType="1"/>
            </p:cNvSpPr>
            <p:nvPr/>
          </p:nvSpPr>
          <p:spPr bwMode="auto">
            <a:xfrm>
              <a:off x="4072" y="1522"/>
              <a:ext cx="443" cy="55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Line 14"/>
            <p:cNvSpPr>
              <a:spLocks noChangeShapeType="1"/>
            </p:cNvSpPr>
            <p:nvPr/>
          </p:nvSpPr>
          <p:spPr bwMode="auto">
            <a:xfrm flipH="1" flipV="1">
              <a:off x="4018" y="1582"/>
              <a:ext cx="420" cy="5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auto">
            <a:xfrm flipH="1" flipV="1">
              <a:off x="3914" y="1705"/>
              <a:ext cx="291" cy="44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Line 16"/>
            <p:cNvSpPr>
              <a:spLocks noChangeShapeType="1"/>
            </p:cNvSpPr>
            <p:nvPr/>
          </p:nvSpPr>
          <p:spPr bwMode="auto">
            <a:xfrm flipH="1" flipV="1">
              <a:off x="3808" y="1826"/>
              <a:ext cx="189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Line 17"/>
            <p:cNvSpPr>
              <a:spLocks noChangeShapeType="1"/>
            </p:cNvSpPr>
            <p:nvPr/>
          </p:nvSpPr>
          <p:spPr bwMode="auto">
            <a:xfrm flipH="1" flipV="1">
              <a:off x="3596" y="2070"/>
              <a:ext cx="38" cy="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>
              <a:off x="3754" y="1887"/>
              <a:ext cx="148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Line 19"/>
            <p:cNvSpPr>
              <a:spLocks noChangeShapeType="1"/>
            </p:cNvSpPr>
            <p:nvPr/>
          </p:nvSpPr>
          <p:spPr bwMode="auto">
            <a:xfrm flipH="1" flipV="1">
              <a:off x="3702" y="1949"/>
              <a:ext cx="106" cy="19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Line 20"/>
            <p:cNvSpPr>
              <a:spLocks noChangeShapeType="1"/>
            </p:cNvSpPr>
            <p:nvPr/>
          </p:nvSpPr>
          <p:spPr bwMode="auto">
            <a:xfrm flipH="1" flipV="1">
              <a:off x="4336" y="1218"/>
              <a:ext cx="179" cy="14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Line 21"/>
            <p:cNvSpPr>
              <a:spLocks noChangeShapeType="1"/>
            </p:cNvSpPr>
            <p:nvPr/>
          </p:nvSpPr>
          <p:spPr bwMode="auto">
            <a:xfrm>
              <a:off x="4388" y="1157"/>
              <a:ext cx="127" cy="9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Line 22"/>
            <p:cNvSpPr>
              <a:spLocks noChangeShapeType="1"/>
            </p:cNvSpPr>
            <p:nvPr/>
          </p:nvSpPr>
          <p:spPr bwMode="auto">
            <a:xfrm flipH="1" flipV="1">
              <a:off x="4230" y="1341"/>
              <a:ext cx="285" cy="2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Line 23"/>
            <p:cNvSpPr>
              <a:spLocks noChangeShapeType="1"/>
            </p:cNvSpPr>
            <p:nvPr/>
          </p:nvSpPr>
          <p:spPr bwMode="auto">
            <a:xfrm flipH="1" flipV="1">
              <a:off x="4442" y="1097"/>
              <a:ext cx="73" cy="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Line 24"/>
            <p:cNvSpPr>
              <a:spLocks noChangeShapeType="1"/>
            </p:cNvSpPr>
            <p:nvPr/>
          </p:nvSpPr>
          <p:spPr bwMode="auto">
            <a:xfrm>
              <a:off x="4284" y="1278"/>
              <a:ext cx="231" cy="20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Line 25"/>
            <p:cNvSpPr>
              <a:spLocks noChangeShapeType="1"/>
            </p:cNvSpPr>
            <p:nvPr/>
          </p:nvSpPr>
          <p:spPr bwMode="auto">
            <a:xfrm>
              <a:off x="4178" y="1401"/>
              <a:ext cx="337" cy="3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Line 26"/>
            <p:cNvSpPr>
              <a:spLocks noChangeShapeType="1"/>
            </p:cNvSpPr>
            <p:nvPr/>
          </p:nvSpPr>
          <p:spPr bwMode="auto">
            <a:xfrm>
              <a:off x="3557" y="2062"/>
              <a:ext cx="43" cy="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Line 27"/>
            <p:cNvSpPr>
              <a:spLocks noChangeShapeType="1"/>
            </p:cNvSpPr>
            <p:nvPr/>
          </p:nvSpPr>
          <p:spPr bwMode="auto">
            <a:xfrm>
              <a:off x="2237" y="1835"/>
              <a:ext cx="245" cy="3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Line 28"/>
            <p:cNvSpPr>
              <a:spLocks noChangeShapeType="1"/>
            </p:cNvSpPr>
            <p:nvPr/>
          </p:nvSpPr>
          <p:spPr bwMode="auto">
            <a:xfrm flipH="1" flipV="1">
              <a:off x="2199" y="1843"/>
              <a:ext cx="229" cy="3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Line 29"/>
            <p:cNvSpPr>
              <a:spLocks noChangeShapeType="1"/>
            </p:cNvSpPr>
            <p:nvPr/>
          </p:nvSpPr>
          <p:spPr bwMode="auto">
            <a:xfrm flipH="1" flipV="1">
              <a:off x="2347" y="1807"/>
              <a:ext cx="305" cy="3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Line 30"/>
            <p:cNvSpPr>
              <a:spLocks noChangeShapeType="1"/>
            </p:cNvSpPr>
            <p:nvPr/>
          </p:nvSpPr>
          <p:spPr bwMode="auto">
            <a:xfrm>
              <a:off x="2309" y="1818"/>
              <a:ext cx="285" cy="3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31"/>
            <p:cNvSpPr>
              <a:spLocks noChangeShapeType="1"/>
            </p:cNvSpPr>
            <p:nvPr/>
          </p:nvSpPr>
          <p:spPr bwMode="auto">
            <a:xfrm flipH="1" flipV="1">
              <a:off x="2272" y="1826"/>
              <a:ext cx="266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Line 32"/>
            <p:cNvSpPr>
              <a:spLocks noChangeShapeType="1"/>
            </p:cNvSpPr>
            <p:nvPr/>
          </p:nvSpPr>
          <p:spPr bwMode="auto">
            <a:xfrm flipH="1" flipV="1">
              <a:off x="1979" y="1895"/>
              <a:ext cx="143" cy="25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Line 33"/>
            <p:cNvSpPr>
              <a:spLocks noChangeShapeType="1"/>
            </p:cNvSpPr>
            <p:nvPr/>
          </p:nvSpPr>
          <p:spPr bwMode="auto">
            <a:xfrm flipH="1" flipV="1">
              <a:off x="2052" y="1878"/>
              <a:ext cx="170" cy="2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Line 34"/>
            <p:cNvSpPr>
              <a:spLocks noChangeShapeType="1"/>
            </p:cNvSpPr>
            <p:nvPr/>
          </p:nvSpPr>
          <p:spPr bwMode="auto">
            <a:xfrm flipH="1" flipV="1">
              <a:off x="2126" y="1862"/>
              <a:ext cx="198" cy="2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Line 35"/>
            <p:cNvSpPr>
              <a:spLocks noChangeShapeType="1"/>
            </p:cNvSpPr>
            <p:nvPr/>
          </p:nvSpPr>
          <p:spPr bwMode="auto">
            <a:xfrm>
              <a:off x="2016" y="1887"/>
              <a:ext cx="156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Line 36"/>
            <p:cNvSpPr>
              <a:spLocks noChangeShapeType="1"/>
            </p:cNvSpPr>
            <p:nvPr/>
          </p:nvSpPr>
          <p:spPr bwMode="auto">
            <a:xfrm>
              <a:off x="2089" y="1870"/>
              <a:ext cx="183" cy="2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Line 37"/>
            <p:cNvSpPr>
              <a:spLocks noChangeShapeType="1"/>
            </p:cNvSpPr>
            <p:nvPr/>
          </p:nvSpPr>
          <p:spPr bwMode="auto">
            <a:xfrm>
              <a:off x="2162" y="1851"/>
              <a:ext cx="214" cy="29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Line 38"/>
            <p:cNvSpPr>
              <a:spLocks noChangeShapeType="1"/>
            </p:cNvSpPr>
            <p:nvPr/>
          </p:nvSpPr>
          <p:spPr bwMode="auto">
            <a:xfrm flipH="1" flipV="1">
              <a:off x="2657" y="1862"/>
              <a:ext cx="226" cy="2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Line 39"/>
            <p:cNvSpPr>
              <a:spLocks noChangeShapeType="1"/>
            </p:cNvSpPr>
            <p:nvPr/>
          </p:nvSpPr>
          <p:spPr bwMode="auto">
            <a:xfrm>
              <a:off x="2617" y="1851"/>
              <a:ext cx="241" cy="29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Line 40"/>
            <p:cNvSpPr>
              <a:spLocks noChangeShapeType="1"/>
            </p:cNvSpPr>
            <p:nvPr/>
          </p:nvSpPr>
          <p:spPr bwMode="auto">
            <a:xfrm>
              <a:off x="2696" y="1870"/>
              <a:ext cx="214" cy="2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Line 41"/>
            <p:cNvSpPr>
              <a:spLocks noChangeShapeType="1"/>
            </p:cNvSpPr>
            <p:nvPr/>
          </p:nvSpPr>
          <p:spPr bwMode="auto">
            <a:xfrm flipH="1" flipV="1">
              <a:off x="2580" y="1843"/>
              <a:ext cx="251" cy="3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Line 42"/>
            <p:cNvSpPr>
              <a:spLocks noChangeShapeType="1"/>
            </p:cNvSpPr>
            <p:nvPr/>
          </p:nvSpPr>
          <p:spPr bwMode="auto">
            <a:xfrm>
              <a:off x="2384" y="1799"/>
              <a:ext cx="329" cy="3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Line 43"/>
            <p:cNvSpPr>
              <a:spLocks noChangeShapeType="1"/>
            </p:cNvSpPr>
            <p:nvPr/>
          </p:nvSpPr>
          <p:spPr bwMode="auto">
            <a:xfrm flipH="1" flipV="1">
              <a:off x="2422" y="1807"/>
              <a:ext cx="314" cy="33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6" name="Line 44"/>
            <p:cNvSpPr>
              <a:spLocks noChangeShapeType="1"/>
            </p:cNvSpPr>
            <p:nvPr/>
          </p:nvSpPr>
          <p:spPr bwMode="auto">
            <a:xfrm>
              <a:off x="2461" y="1818"/>
              <a:ext cx="297" cy="3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7" name="Line 45"/>
            <p:cNvSpPr>
              <a:spLocks noChangeShapeType="1"/>
            </p:cNvSpPr>
            <p:nvPr/>
          </p:nvSpPr>
          <p:spPr bwMode="auto">
            <a:xfrm>
              <a:off x="2540" y="1835"/>
              <a:ext cx="266" cy="3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Line 46"/>
            <p:cNvSpPr>
              <a:spLocks noChangeShapeType="1"/>
            </p:cNvSpPr>
            <p:nvPr/>
          </p:nvSpPr>
          <p:spPr bwMode="auto">
            <a:xfrm flipH="1" flipV="1">
              <a:off x="2501" y="1826"/>
              <a:ext cx="280" cy="3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Line 47"/>
            <p:cNvSpPr>
              <a:spLocks noChangeShapeType="1"/>
            </p:cNvSpPr>
            <p:nvPr/>
          </p:nvSpPr>
          <p:spPr bwMode="auto">
            <a:xfrm>
              <a:off x="1318" y="2053"/>
              <a:ext cx="21" cy="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Line 48"/>
            <p:cNvSpPr>
              <a:spLocks noChangeShapeType="1"/>
            </p:cNvSpPr>
            <p:nvPr/>
          </p:nvSpPr>
          <p:spPr bwMode="auto">
            <a:xfrm>
              <a:off x="1941" y="1903"/>
              <a:ext cx="134" cy="24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Line 49"/>
            <p:cNvSpPr>
              <a:spLocks noChangeShapeType="1"/>
            </p:cNvSpPr>
            <p:nvPr/>
          </p:nvSpPr>
          <p:spPr bwMode="auto">
            <a:xfrm>
              <a:off x="1463" y="2018"/>
              <a:ext cx="38" cy="1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Line 50"/>
            <p:cNvSpPr>
              <a:spLocks noChangeShapeType="1"/>
            </p:cNvSpPr>
            <p:nvPr/>
          </p:nvSpPr>
          <p:spPr bwMode="auto">
            <a:xfrm>
              <a:off x="1428" y="2026"/>
              <a:ext cx="31" cy="1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3" name="Line 51"/>
            <p:cNvSpPr>
              <a:spLocks noChangeShapeType="1"/>
            </p:cNvSpPr>
            <p:nvPr/>
          </p:nvSpPr>
          <p:spPr bwMode="auto">
            <a:xfrm>
              <a:off x="1501" y="2010"/>
              <a:ext cx="41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4" name="Line 52"/>
            <p:cNvSpPr>
              <a:spLocks noChangeShapeType="1"/>
            </p:cNvSpPr>
            <p:nvPr/>
          </p:nvSpPr>
          <p:spPr bwMode="auto">
            <a:xfrm flipH="1" flipV="1">
              <a:off x="2736" y="1878"/>
              <a:ext cx="203" cy="26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5" name="Line 53"/>
            <p:cNvSpPr>
              <a:spLocks noChangeShapeType="1"/>
            </p:cNvSpPr>
            <p:nvPr/>
          </p:nvSpPr>
          <p:spPr bwMode="auto">
            <a:xfrm>
              <a:off x="1243" y="2070"/>
              <a:ext cx="15" cy="7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6" name="Line 54"/>
            <p:cNvSpPr>
              <a:spLocks noChangeShapeType="1"/>
            </p:cNvSpPr>
            <p:nvPr/>
          </p:nvSpPr>
          <p:spPr bwMode="auto">
            <a:xfrm>
              <a:off x="1280" y="2062"/>
              <a:ext cx="17" cy="8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Line 55"/>
            <p:cNvSpPr>
              <a:spLocks noChangeShapeType="1"/>
            </p:cNvSpPr>
            <p:nvPr/>
          </p:nvSpPr>
          <p:spPr bwMode="auto">
            <a:xfrm>
              <a:off x="1353" y="2043"/>
              <a:ext cx="25" cy="1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Line 56"/>
            <p:cNvSpPr>
              <a:spLocks noChangeShapeType="1"/>
            </p:cNvSpPr>
            <p:nvPr/>
          </p:nvSpPr>
          <p:spPr bwMode="auto">
            <a:xfrm flipH="1" flipV="1">
              <a:off x="1538" y="1999"/>
              <a:ext cx="46" cy="1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Line 57"/>
            <p:cNvSpPr>
              <a:spLocks noChangeShapeType="1"/>
            </p:cNvSpPr>
            <p:nvPr/>
          </p:nvSpPr>
          <p:spPr bwMode="auto">
            <a:xfrm>
              <a:off x="1391" y="2035"/>
              <a:ext cx="27" cy="1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Line 58"/>
            <p:cNvSpPr>
              <a:spLocks noChangeShapeType="1"/>
            </p:cNvSpPr>
            <p:nvPr/>
          </p:nvSpPr>
          <p:spPr bwMode="auto">
            <a:xfrm>
              <a:off x="1796" y="1939"/>
              <a:ext cx="94" cy="20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Line 59"/>
            <p:cNvSpPr>
              <a:spLocks noChangeShapeType="1"/>
            </p:cNvSpPr>
            <p:nvPr/>
          </p:nvSpPr>
          <p:spPr bwMode="auto">
            <a:xfrm>
              <a:off x="1869" y="1922"/>
              <a:ext cx="112" cy="22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Line 60"/>
            <p:cNvSpPr>
              <a:spLocks noChangeShapeType="1"/>
            </p:cNvSpPr>
            <p:nvPr/>
          </p:nvSpPr>
          <p:spPr bwMode="auto">
            <a:xfrm flipH="1" flipV="1">
              <a:off x="1831" y="1930"/>
              <a:ext cx="104" cy="2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Line 61"/>
            <p:cNvSpPr>
              <a:spLocks noChangeShapeType="1"/>
            </p:cNvSpPr>
            <p:nvPr/>
          </p:nvSpPr>
          <p:spPr bwMode="auto">
            <a:xfrm flipH="1" flipV="1">
              <a:off x="1906" y="1914"/>
              <a:ext cx="121" cy="23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Line 62"/>
            <p:cNvSpPr>
              <a:spLocks noChangeShapeType="1"/>
            </p:cNvSpPr>
            <p:nvPr/>
          </p:nvSpPr>
          <p:spPr bwMode="auto">
            <a:xfrm>
              <a:off x="1576" y="1991"/>
              <a:ext cx="50" cy="1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Line 63"/>
            <p:cNvSpPr>
              <a:spLocks noChangeShapeType="1"/>
            </p:cNvSpPr>
            <p:nvPr/>
          </p:nvSpPr>
          <p:spPr bwMode="auto">
            <a:xfrm flipH="1" flipV="1">
              <a:off x="1759" y="1947"/>
              <a:ext cx="85" cy="1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Line 64"/>
            <p:cNvSpPr>
              <a:spLocks noChangeShapeType="1"/>
            </p:cNvSpPr>
            <p:nvPr/>
          </p:nvSpPr>
          <p:spPr bwMode="auto">
            <a:xfrm>
              <a:off x="1648" y="1974"/>
              <a:ext cx="63" cy="17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Line 65"/>
            <p:cNvSpPr>
              <a:spLocks noChangeShapeType="1"/>
            </p:cNvSpPr>
            <p:nvPr/>
          </p:nvSpPr>
          <p:spPr bwMode="auto">
            <a:xfrm flipH="1" flipV="1">
              <a:off x="1611" y="1982"/>
              <a:ext cx="58" cy="1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Line 66"/>
            <p:cNvSpPr>
              <a:spLocks noChangeShapeType="1"/>
            </p:cNvSpPr>
            <p:nvPr/>
          </p:nvSpPr>
          <p:spPr bwMode="auto">
            <a:xfrm>
              <a:off x="1721" y="1957"/>
              <a:ext cx="79" cy="18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Line 67"/>
            <p:cNvSpPr>
              <a:spLocks noChangeShapeType="1"/>
            </p:cNvSpPr>
            <p:nvPr/>
          </p:nvSpPr>
          <p:spPr bwMode="auto">
            <a:xfrm flipH="1" flipV="1">
              <a:off x="1686" y="1966"/>
              <a:ext cx="68" cy="1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Line 68"/>
            <p:cNvSpPr>
              <a:spLocks noChangeShapeType="1"/>
            </p:cNvSpPr>
            <p:nvPr/>
          </p:nvSpPr>
          <p:spPr bwMode="auto">
            <a:xfrm>
              <a:off x="3166" y="1974"/>
              <a:ext cx="104" cy="17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Line 69"/>
            <p:cNvSpPr>
              <a:spLocks noChangeShapeType="1"/>
            </p:cNvSpPr>
            <p:nvPr/>
          </p:nvSpPr>
          <p:spPr bwMode="auto">
            <a:xfrm flipH="1" flipV="1">
              <a:off x="3205" y="1982"/>
              <a:ext cx="96" cy="16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Line 70"/>
            <p:cNvSpPr>
              <a:spLocks noChangeShapeType="1"/>
            </p:cNvSpPr>
            <p:nvPr/>
          </p:nvSpPr>
          <p:spPr bwMode="auto">
            <a:xfrm>
              <a:off x="3245" y="1991"/>
              <a:ext cx="89" cy="154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Line 71"/>
            <p:cNvSpPr>
              <a:spLocks noChangeShapeType="1"/>
            </p:cNvSpPr>
            <p:nvPr/>
          </p:nvSpPr>
          <p:spPr bwMode="auto">
            <a:xfrm flipH="1" flipV="1">
              <a:off x="3284" y="1999"/>
              <a:ext cx="81" cy="14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Line 72"/>
            <p:cNvSpPr>
              <a:spLocks noChangeShapeType="1"/>
            </p:cNvSpPr>
            <p:nvPr/>
          </p:nvSpPr>
          <p:spPr bwMode="auto">
            <a:xfrm>
              <a:off x="3087" y="1957"/>
              <a:ext cx="118" cy="18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Line 73"/>
            <p:cNvSpPr>
              <a:spLocks noChangeShapeType="1"/>
            </p:cNvSpPr>
            <p:nvPr/>
          </p:nvSpPr>
          <p:spPr bwMode="auto">
            <a:xfrm>
              <a:off x="3010" y="1939"/>
              <a:ext cx="135" cy="206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Line 74"/>
            <p:cNvSpPr>
              <a:spLocks noChangeShapeType="1"/>
            </p:cNvSpPr>
            <p:nvPr/>
          </p:nvSpPr>
          <p:spPr bwMode="auto">
            <a:xfrm flipH="1" flipV="1">
              <a:off x="3049" y="1947"/>
              <a:ext cx="125" cy="19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Line 75"/>
            <p:cNvSpPr>
              <a:spLocks noChangeShapeType="1"/>
            </p:cNvSpPr>
            <p:nvPr/>
          </p:nvSpPr>
          <p:spPr bwMode="auto">
            <a:xfrm>
              <a:off x="3480" y="2043"/>
              <a:ext cx="52" cy="10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Line 76"/>
            <p:cNvSpPr>
              <a:spLocks noChangeShapeType="1"/>
            </p:cNvSpPr>
            <p:nvPr/>
          </p:nvSpPr>
          <p:spPr bwMode="auto">
            <a:xfrm flipH="1" flipV="1">
              <a:off x="3517" y="2053"/>
              <a:ext cx="48" cy="9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Line 77"/>
            <p:cNvSpPr>
              <a:spLocks noChangeShapeType="1"/>
            </p:cNvSpPr>
            <p:nvPr/>
          </p:nvSpPr>
          <p:spPr bwMode="auto">
            <a:xfrm>
              <a:off x="3322" y="2010"/>
              <a:ext cx="77" cy="13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Line 78"/>
            <p:cNvSpPr>
              <a:spLocks noChangeShapeType="1"/>
            </p:cNvSpPr>
            <p:nvPr/>
          </p:nvSpPr>
          <p:spPr bwMode="auto">
            <a:xfrm flipH="1" flipV="1">
              <a:off x="3440" y="2035"/>
              <a:ext cx="58" cy="11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Line 79"/>
            <p:cNvSpPr>
              <a:spLocks noChangeShapeType="1"/>
            </p:cNvSpPr>
            <p:nvPr/>
          </p:nvSpPr>
          <p:spPr bwMode="auto">
            <a:xfrm flipH="1" flipV="1">
              <a:off x="3361" y="2018"/>
              <a:ext cx="71" cy="127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Line 80"/>
            <p:cNvSpPr>
              <a:spLocks noChangeShapeType="1"/>
            </p:cNvSpPr>
            <p:nvPr/>
          </p:nvSpPr>
          <p:spPr bwMode="auto">
            <a:xfrm>
              <a:off x="3401" y="2026"/>
              <a:ext cx="64" cy="11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Line 81"/>
            <p:cNvSpPr>
              <a:spLocks noChangeShapeType="1"/>
            </p:cNvSpPr>
            <p:nvPr/>
          </p:nvSpPr>
          <p:spPr bwMode="auto">
            <a:xfrm flipH="1" flipV="1">
              <a:off x="3126" y="1966"/>
              <a:ext cx="113" cy="179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Line 82"/>
            <p:cNvSpPr>
              <a:spLocks noChangeShapeType="1"/>
            </p:cNvSpPr>
            <p:nvPr/>
          </p:nvSpPr>
          <p:spPr bwMode="auto">
            <a:xfrm>
              <a:off x="2852" y="1903"/>
              <a:ext cx="172" cy="242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Line 83"/>
            <p:cNvSpPr>
              <a:spLocks noChangeShapeType="1"/>
            </p:cNvSpPr>
            <p:nvPr/>
          </p:nvSpPr>
          <p:spPr bwMode="auto">
            <a:xfrm flipH="1" flipV="1">
              <a:off x="2891" y="1914"/>
              <a:ext cx="163" cy="231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Line 84"/>
            <p:cNvSpPr>
              <a:spLocks noChangeShapeType="1"/>
            </p:cNvSpPr>
            <p:nvPr/>
          </p:nvSpPr>
          <p:spPr bwMode="auto">
            <a:xfrm>
              <a:off x="2931" y="1922"/>
              <a:ext cx="152" cy="223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Line 85"/>
            <p:cNvSpPr>
              <a:spLocks noChangeShapeType="1"/>
            </p:cNvSpPr>
            <p:nvPr/>
          </p:nvSpPr>
          <p:spPr bwMode="auto">
            <a:xfrm flipH="1" flipV="1">
              <a:off x="2815" y="1895"/>
              <a:ext cx="180" cy="250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Line 86"/>
            <p:cNvSpPr>
              <a:spLocks noChangeShapeType="1"/>
            </p:cNvSpPr>
            <p:nvPr/>
          </p:nvSpPr>
          <p:spPr bwMode="auto">
            <a:xfrm flipH="1" flipV="1">
              <a:off x="2970" y="1930"/>
              <a:ext cx="144" cy="215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Line 87"/>
            <p:cNvSpPr>
              <a:spLocks noChangeShapeType="1"/>
            </p:cNvSpPr>
            <p:nvPr/>
          </p:nvSpPr>
          <p:spPr bwMode="auto">
            <a:xfrm>
              <a:off x="2775" y="1887"/>
              <a:ext cx="191" cy="258"/>
            </a:xfrm>
            <a:prstGeom prst="line">
              <a:avLst/>
            </a:prstGeom>
            <a:noFill/>
            <a:ln w="3175" cap="flat">
              <a:solidFill>
                <a:schemeClr val="tx2">
                  <a:alpha val="34902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fr-FR" smtClean="0"/>
              <a:t>Modifier les styles du texte du masqu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82B4C64D-8614-4F4F-993A-BF62ECD55F17}" type="datetime1">
              <a:rPr lang="en-GB" smtClean="0"/>
              <a:t>24/01/2018</a:t>
            </a:fld>
            <a:endParaRPr lang="en-GB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0" name="Slide Number Placeholder 8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58418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rgbClr val="F39C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7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5" name="Freeform 5"/>
          <p:cNvSpPr>
            <a:spLocks noEditPoints="1"/>
          </p:cNvSpPr>
          <p:nvPr/>
        </p:nvSpPr>
        <p:spPr bwMode="auto">
          <a:xfrm>
            <a:off x="4245915" y="578278"/>
            <a:ext cx="4595813" cy="4587875"/>
          </a:xfrm>
          <a:custGeom>
            <a:avLst/>
            <a:gdLst>
              <a:gd name="T0" fmla="*/ 5611 w 6574"/>
              <a:gd name="T1" fmla="*/ 5611 h 6574"/>
              <a:gd name="T2" fmla="*/ 6574 w 6574"/>
              <a:gd name="T3" fmla="*/ 3287 h 6574"/>
              <a:gd name="T4" fmla="*/ 3287 w 6574"/>
              <a:gd name="T5" fmla="*/ 0 h 6574"/>
              <a:gd name="T6" fmla="*/ 0 w 6574"/>
              <a:gd name="T7" fmla="*/ 3287 h 6574"/>
              <a:gd name="T8" fmla="*/ 963 w 6574"/>
              <a:gd name="T9" fmla="*/ 5611 h 6574"/>
              <a:gd name="T10" fmla="*/ 5224 w 6574"/>
              <a:gd name="T11" fmla="*/ 5223 h 6574"/>
              <a:gd name="T12" fmla="*/ 6026 w 6574"/>
              <a:gd name="T13" fmla="*/ 3287 h 6574"/>
              <a:gd name="T14" fmla="*/ 3287 w 6574"/>
              <a:gd name="T15" fmla="*/ 548 h 6574"/>
              <a:gd name="T16" fmla="*/ 548 w 6574"/>
              <a:gd name="T17" fmla="*/ 3287 h 6574"/>
              <a:gd name="T18" fmla="*/ 1350 w 6574"/>
              <a:gd name="T19" fmla="*/ 5223 h 6574"/>
              <a:gd name="T20" fmla="*/ 4837 w 6574"/>
              <a:gd name="T21" fmla="*/ 4836 h 6574"/>
              <a:gd name="T22" fmla="*/ 5478 w 6574"/>
              <a:gd name="T23" fmla="*/ 3287 h 6574"/>
              <a:gd name="T24" fmla="*/ 3287 w 6574"/>
              <a:gd name="T25" fmla="*/ 1095 h 6574"/>
              <a:gd name="T26" fmla="*/ 1096 w 6574"/>
              <a:gd name="T27" fmla="*/ 3287 h 6574"/>
              <a:gd name="T28" fmla="*/ 1737 w 6574"/>
              <a:gd name="T29" fmla="*/ 4836 h 6574"/>
              <a:gd name="T30" fmla="*/ 5418 w 6574"/>
              <a:gd name="T31" fmla="*/ 5417 h 6574"/>
              <a:gd name="T32" fmla="*/ 6300 w 6574"/>
              <a:gd name="T33" fmla="*/ 3287 h 6574"/>
              <a:gd name="T34" fmla="*/ 3287 w 6574"/>
              <a:gd name="T35" fmla="*/ 274 h 6574"/>
              <a:gd name="T36" fmla="*/ 274 w 6574"/>
              <a:gd name="T37" fmla="*/ 3287 h 6574"/>
              <a:gd name="T38" fmla="*/ 1156 w 6574"/>
              <a:gd name="T39" fmla="*/ 5417 h 6574"/>
              <a:gd name="T40" fmla="*/ 5030 w 6574"/>
              <a:gd name="T41" fmla="*/ 5030 h 6574"/>
              <a:gd name="T42" fmla="*/ 5752 w 6574"/>
              <a:gd name="T43" fmla="*/ 3287 h 6574"/>
              <a:gd name="T44" fmla="*/ 3287 w 6574"/>
              <a:gd name="T45" fmla="*/ 821 h 6574"/>
              <a:gd name="T46" fmla="*/ 822 w 6574"/>
              <a:gd name="T47" fmla="*/ 3287 h 6574"/>
              <a:gd name="T48" fmla="*/ 1544 w 6574"/>
              <a:gd name="T49" fmla="*/ 5030 h 6574"/>
              <a:gd name="T50" fmla="*/ 4643 w 6574"/>
              <a:gd name="T51" fmla="*/ 4642 h 6574"/>
              <a:gd name="T52" fmla="*/ 5204 w 6574"/>
              <a:gd name="T53" fmla="*/ 3287 h 6574"/>
              <a:gd name="T54" fmla="*/ 3287 w 6574"/>
              <a:gd name="T55" fmla="*/ 1369 h 6574"/>
              <a:gd name="T56" fmla="*/ 1369 w 6574"/>
              <a:gd name="T57" fmla="*/ 3287 h 6574"/>
              <a:gd name="T58" fmla="*/ 1931 w 6574"/>
              <a:gd name="T59" fmla="*/ 4642 h 6574"/>
              <a:gd name="T60" fmla="*/ 4449 w 6574"/>
              <a:gd name="T61" fmla="*/ 4449 h 6574"/>
              <a:gd name="T62" fmla="*/ 4931 w 6574"/>
              <a:gd name="T63" fmla="*/ 3287 h 6574"/>
              <a:gd name="T64" fmla="*/ 3287 w 6574"/>
              <a:gd name="T65" fmla="*/ 1643 h 6574"/>
              <a:gd name="T66" fmla="*/ 1643 w 6574"/>
              <a:gd name="T67" fmla="*/ 3287 h 6574"/>
              <a:gd name="T68" fmla="*/ 2125 w 6574"/>
              <a:gd name="T69" fmla="*/ 4449 h 6574"/>
              <a:gd name="T70" fmla="*/ 4255 w 6574"/>
              <a:gd name="T71" fmla="*/ 4255 h 6574"/>
              <a:gd name="T72" fmla="*/ 4657 w 6574"/>
              <a:gd name="T73" fmla="*/ 3287 h 6574"/>
              <a:gd name="T74" fmla="*/ 3287 w 6574"/>
              <a:gd name="T75" fmla="*/ 1917 h 6574"/>
              <a:gd name="T76" fmla="*/ 1917 w 6574"/>
              <a:gd name="T77" fmla="*/ 3287 h 6574"/>
              <a:gd name="T78" fmla="*/ 2318 w 6574"/>
              <a:gd name="T79" fmla="*/ 4255 h 6574"/>
              <a:gd name="T80" fmla="*/ 4062 w 6574"/>
              <a:gd name="T81" fmla="*/ 4061 h 6574"/>
              <a:gd name="T82" fmla="*/ 4383 w 6574"/>
              <a:gd name="T83" fmla="*/ 3287 h 6574"/>
              <a:gd name="T84" fmla="*/ 3287 w 6574"/>
              <a:gd name="T85" fmla="*/ 2191 h 6574"/>
              <a:gd name="T86" fmla="*/ 2191 w 6574"/>
              <a:gd name="T87" fmla="*/ 3287 h 6574"/>
              <a:gd name="T88" fmla="*/ 2512 w 6574"/>
              <a:gd name="T89" fmla="*/ 4061 h 6574"/>
              <a:gd name="T90" fmla="*/ 3868 w 6574"/>
              <a:gd name="T91" fmla="*/ 3868 h 6574"/>
              <a:gd name="T92" fmla="*/ 4109 w 6574"/>
              <a:gd name="T93" fmla="*/ 3287 h 6574"/>
              <a:gd name="T94" fmla="*/ 3287 w 6574"/>
              <a:gd name="T95" fmla="*/ 2465 h 6574"/>
              <a:gd name="T96" fmla="*/ 2465 w 6574"/>
              <a:gd name="T97" fmla="*/ 3287 h 6574"/>
              <a:gd name="T98" fmla="*/ 2706 w 6574"/>
              <a:gd name="T99" fmla="*/ 3868 h 6574"/>
              <a:gd name="T100" fmla="*/ 3674 w 6574"/>
              <a:gd name="T101" fmla="*/ 3674 h 6574"/>
              <a:gd name="T102" fmla="*/ 3835 w 6574"/>
              <a:gd name="T103" fmla="*/ 3287 h 6574"/>
              <a:gd name="T104" fmla="*/ 3287 w 6574"/>
              <a:gd name="T105" fmla="*/ 2739 h 6574"/>
              <a:gd name="T106" fmla="*/ 2739 w 6574"/>
              <a:gd name="T107" fmla="*/ 3287 h 6574"/>
              <a:gd name="T108" fmla="*/ 2900 w 6574"/>
              <a:gd name="T109" fmla="*/ 3674 h 6574"/>
              <a:gd name="T110" fmla="*/ 3481 w 6574"/>
              <a:gd name="T111" fmla="*/ 3480 h 6574"/>
              <a:gd name="T112" fmla="*/ 3561 w 6574"/>
              <a:gd name="T113" fmla="*/ 3287 h 6574"/>
              <a:gd name="T114" fmla="*/ 3287 w 6574"/>
              <a:gd name="T115" fmla="*/ 3013 h 6574"/>
              <a:gd name="T116" fmla="*/ 3013 w 6574"/>
              <a:gd name="T117" fmla="*/ 3287 h 6574"/>
              <a:gd name="T118" fmla="*/ 3093 w 6574"/>
              <a:gd name="T119" fmla="*/ 3480 h 6574"/>
              <a:gd name="T120" fmla="*/ 3287 w 6574"/>
              <a:gd name="T121" fmla="*/ 3287 h 6574"/>
              <a:gd name="T122" fmla="*/ 3287 w 6574"/>
              <a:gd name="T123" fmla="*/ 6574 h 6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74" h="6574">
                <a:moveTo>
                  <a:pt x="5611" y="5611"/>
                </a:moveTo>
                <a:cubicBezTo>
                  <a:pt x="6206" y="5016"/>
                  <a:pt x="6574" y="4194"/>
                  <a:pt x="6574" y="3287"/>
                </a:cubicBezTo>
                <a:cubicBezTo>
                  <a:pt x="6574" y="1471"/>
                  <a:pt x="5102" y="0"/>
                  <a:pt x="3287" y="0"/>
                </a:cubicBezTo>
                <a:cubicBezTo>
                  <a:pt x="1472" y="0"/>
                  <a:pt x="0" y="1471"/>
                  <a:pt x="0" y="3287"/>
                </a:cubicBezTo>
                <a:cubicBezTo>
                  <a:pt x="0" y="4194"/>
                  <a:pt x="368" y="5016"/>
                  <a:pt x="963" y="5611"/>
                </a:cubicBezTo>
                <a:moveTo>
                  <a:pt x="5224" y="5223"/>
                </a:moveTo>
                <a:cubicBezTo>
                  <a:pt x="5720" y="4728"/>
                  <a:pt x="6026" y="4043"/>
                  <a:pt x="6026" y="3287"/>
                </a:cubicBezTo>
                <a:cubicBezTo>
                  <a:pt x="6026" y="1774"/>
                  <a:pt x="4800" y="548"/>
                  <a:pt x="3287" y="548"/>
                </a:cubicBezTo>
                <a:cubicBezTo>
                  <a:pt x="1774" y="548"/>
                  <a:pt x="548" y="1774"/>
                  <a:pt x="548" y="3287"/>
                </a:cubicBezTo>
                <a:cubicBezTo>
                  <a:pt x="548" y="4043"/>
                  <a:pt x="854" y="4728"/>
                  <a:pt x="1350" y="5223"/>
                </a:cubicBezTo>
                <a:moveTo>
                  <a:pt x="4837" y="4836"/>
                </a:moveTo>
                <a:cubicBezTo>
                  <a:pt x="5233" y="4440"/>
                  <a:pt x="5478" y="3892"/>
                  <a:pt x="5478" y="3287"/>
                </a:cubicBezTo>
                <a:cubicBezTo>
                  <a:pt x="5478" y="2076"/>
                  <a:pt x="4497" y="1095"/>
                  <a:pt x="3287" y="1095"/>
                </a:cubicBezTo>
                <a:cubicBezTo>
                  <a:pt x="2077" y="1095"/>
                  <a:pt x="1096" y="2076"/>
                  <a:pt x="1096" y="3287"/>
                </a:cubicBezTo>
                <a:cubicBezTo>
                  <a:pt x="1096" y="3892"/>
                  <a:pt x="1341" y="4440"/>
                  <a:pt x="1737" y="4836"/>
                </a:cubicBezTo>
                <a:moveTo>
                  <a:pt x="5418" y="5417"/>
                </a:moveTo>
                <a:cubicBezTo>
                  <a:pt x="5963" y="4872"/>
                  <a:pt x="6300" y="4119"/>
                  <a:pt x="6300" y="3287"/>
                </a:cubicBezTo>
                <a:cubicBezTo>
                  <a:pt x="6300" y="1623"/>
                  <a:pt x="4951" y="274"/>
                  <a:pt x="3287" y="274"/>
                </a:cubicBezTo>
                <a:cubicBezTo>
                  <a:pt x="1623" y="274"/>
                  <a:pt x="274" y="1623"/>
                  <a:pt x="274" y="3287"/>
                </a:cubicBezTo>
                <a:cubicBezTo>
                  <a:pt x="274" y="4119"/>
                  <a:pt x="611" y="4872"/>
                  <a:pt x="1156" y="5417"/>
                </a:cubicBezTo>
                <a:moveTo>
                  <a:pt x="5030" y="5030"/>
                </a:moveTo>
                <a:cubicBezTo>
                  <a:pt x="5476" y="4584"/>
                  <a:pt x="5752" y="3967"/>
                  <a:pt x="5752" y="3287"/>
                </a:cubicBezTo>
                <a:cubicBezTo>
                  <a:pt x="5752" y="1925"/>
                  <a:pt x="4649" y="821"/>
                  <a:pt x="3287" y="821"/>
                </a:cubicBezTo>
                <a:cubicBezTo>
                  <a:pt x="1925" y="821"/>
                  <a:pt x="822" y="1925"/>
                  <a:pt x="822" y="3287"/>
                </a:cubicBezTo>
                <a:cubicBezTo>
                  <a:pt x="822" y="3967"/>
                  <a:pt x="1098" y="4584"/>
                  <a:pt x="1544" y="5030"/>
                </a:cubicBezTo>
                <a:moveTo>
                  <a:pt x="4643" y="4642"/>
                </a:moveTo>
                <a:cubicBezTo>
                  <a:pt x="4990" y="4295"/>
                  <a:pt x="5204" y="3816"/>
                  <a:pt x="5204" y="3287"/>
                </a:cubicBezTo>
                <a:cubicBezTo>
                  <a:pt x="5204" y="2228"/>
                  <a:pt x="4346" y="1369"/>
                  <a:pt x="3287" y="1369"/>
                </a:cubicBezTo>
                <a:cubicBezTo>
                  <a:pt x="2228" y="1369"/>
                  <a:pt x="1369" y="2228"/>
                  <a:pt x="1369" y="3287"/>
                </a:cubicBezTo>
                <a:cubicBezTo>
                  <a:pt x="1369" y="3816"/>
                  <a:pt x="1584" y="4295"/>
                  <a:pt x="1931" y="4642"/>
                </a:cubicBezTo>
                <a:moveTo>
                  <a:pt x="4449" y="4449"/>
                </a:moveTo>
                <a:cubicBezTo>
                  <a:pt x="4747" y="4151"/>
                  <a:pt x="4931" y="3740"/>
                  <a:pt x="4931" y="3287"/>
                </a:cubicBezTo>
                <a:cubicBezTo>
                  <a:pt x="4931" y="2379"/>
                  <a:pt x="4195" y="1643"/>
                  <a:pt x="3287" y="1643"/>
                </a:cubicBezTo>
                <a:cubicBezTo>
                  <a:pt x="2379" y="1643"/>
                  <a:pt x="1643" y="2379"/>
                  <a:pt x="1643" y="3287"/>
                </a:cubicBezTo>
                <a:cubicBezTo>
                  <a:pt x="1643" y="3740"/>
                  <a:pt x="1827" y="4151"/>
                  <a:pt x="2125" y="4449"/>
                </a:cubicBezTo>
                <a:moveTo>
                  <a:pt x="4255" y="4255"/>
                </a:moveTo>
                <a:cubicBezTo>
                  <a:pt x="4503" y="4007"/>
                  <a:pt x="4657" y="3665"/>
                  <a:pt x="4657" y="3287"/>
                </a:cubicBezTo>
                <a:cubicBezTo>
                  <a:pt x="4657" y="2530"/>
                  <a:pt x="4043" y="1917"/>
                  <a:pt x="3287" y="1917"/>
                </a:cubicBezTo>
                <a:cubicBezTo>
                  <a:pt x="2531" y="1917"/>
                  <a:pt x="1917" y="2530"/>
                  <a:pt x="1917" y="3287"/>
                </a:cubicBezTo>
                <a:cubicBezTo>
                  <a:pt x="1917" y="3665"/>
                  <a:pt x="2071" y="4007"/>
                  <a:pt x="2318" y="4255"/>
                </a:cubicBezTo>
                <a:moveTo>
                  <a:pt x="4062" y="4061"/>
                </a:moveTo>
                <a:cubicBezTo>
                  <a:pt x="4260" y="3863"/>
                  <a:pt x="4383" y="3589"/>
                  <a:pt x="4383" y="3287"/>
                </a:cubicBezTo>
                <a:cubicBezTo>
                  <a:pt x="4383" y="2682"/>
                  <a:pt x="3892" y="2191"/>
                  <a:pt x="3287" y="2191"/>
                </a:cubicBezTo>
                <a:cubicBezTo>
                  <a:pt x="2682" y="2191"/>
                  <a:pt x="2191" y="2682"/>
                  <a:pt x="2191" y="3287"/>
                </a:cubicBezTo>
                <a:cubicBezTo>
                  <a:pt x="2191" y="3589"/>
                  <a:pt x="2314" y="3863"/>
                  <a:pt x="2512" y="4061"/>
                </a:cubicBezTo>
                <a:moveTo>
                  <a:pt x="3868" y="3868"/>
                </a:moveTo>
                <a:cubicBezTo>
                  <a:pt x="4017" y="3719"/>
                  <a:pt x="4109" y="3514"/>
                  <a:pt x="4109" y="3287"/>
                </a:cubicBezTo>
                <a:cubicBezTo>
                  <a:pt x="4109" y="2833"/>
                  <a:pt x="3741" y="2465"/>
                  <a:pt x="3287" y="2465"/>
                </a:cubicBezTo>
                <a:cubicBezTo>
                  <a:pt x="2833" y="2465"/>
                  <a:pt x="2465" y="2833"/>
                  <a:pt x="2465" y="3287"/>
                </a:cubicBezTo>
                <a:cubicBezTo>
                  <a:pt x="2465" y="3514"/>
                  <a:pt x="2557" y="3719"/>
                  <a:pt x="2706" y="3868"/>
                </a:cubicBezTo>
                <a:moveTo>
                  <a:pt x="3674" y="3674"/>
                </a:moveTo>
                <a:cubicBezTo>
                  <a:pt x="3773" y="3575"/>
                  <a:pt x="3835" y="3438"/>
                  <a:pt x="3835" y="3287"/>
                </a:cubicBezTo>
                <a:cubicBezTo>
                  <a:pt x="3835" y="2984"/>
                  <a:pt x="3590" y="2739"/>
                  <a:pt x="3287" y="2739"/>
                </a:cubicBezTo>
                <a:cubicBezTo>
                  <a:pt x="2984" y="2739"/>
                  <a:pt x="2739" y="2984"/>
                  <a:pt x="2739" y="3287"/>
                </a:cubicBezTo>
                <a:cubicBezTo>
                  <a:pt x="2739" y="3438"/>
                  <a:pt x="2800" y="3575"/>
                  <a:pt x="2900" y="3674"/>
                </a:cubicBezTo>
                <a:moveTo>
                  <a:pt x="3481" y="3480"/>
                </a:moveTo>
                <a:cubicBezTo>
                  <a:pt x="3530" y="3431"/>
                  <a:pt x="3561" y="3362"/>
                  <a:pt x="3561" y="3287"/>
                </a:cubicBezTo>
                <a:cubicBezTo>
                  <a:pt x="3561" y="3135"/>
                  <a:pt x="3438" y="3013"/>
                  <a:pt x="3287" y="3013"/>
                </a:cubicBezTo>
                <a:cubicBezTo>
                  <a:pt x="3136" y="3013"/>
                  <a:pt x="3013" y="3135"/>
                  <a:pt x="3013" y="3287"/>
                </a:cubicBezTo>
                <a:cubicBezTo>
                  <a:pt x="3013" y="3362"/>
                  <a:pt x="3044" y="3431"/>
                  <a:pt x="3093" y="3480"/>
                </a:cubicBezTo>
                <a:moveTo>
                  <a:pt x="3287" y="3287"/>
                </a:moveTo>
                <a:cubicBezTo>
                  <a:pt x="3287" y="6574"/>
                  <a:pt x="3287" y="6574"/>
                  <a:pt x="3287" y="6574"/>
                </a:cubicBezTo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03DB941B-59A1-4C03-94A3-4A0FD69CDD2D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913044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1">
    <p:bg>
      <p:bgPr>
        <a:solidFill>
          <a:srgbClr val="F39C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5"/>
          <p:cNvSpPr>
            <a:spLocks noEditPoints="1"/>
          </p:cNvSpPr>
          <p:nvPr/>
        </p:nvSpPr>
        <p:spPr bwMode="auto">
          <a:xfrm>
            <a:off x="5119689" y="-392112"/>
            <a:ext cx="4595813" cy="4587875"/>
          </a:xfrm>
          <a:custGeom>
            <a:avLst/>
            <a:gdLst>
              <a:gd name="T0" fmla="*/ 5611 w 6574"/>
              <a:gd name="T1" fmla="*/ 5611 h 6574"/>
              <a:gd name="T2" fmla="*/ 6574 w 6574"/>
              <a:gd name="T3" fmla="*/ 3287 h 6574"/>
              <a:gd name="T4" fmla="*/ 3287 w 6574"/>
              <a:gd name="T5" fmla="*/ 0 h 6574"/>
              <a:gd name="T6" fmla="*/ 0 w 6574"/>
              <a:gd name="T7" fmla="*/ 3287 h 6574"/>
              <a:gd name="T8" fmla="*/ 963 w 6574"/>
              <a:gd name="T9" fmla="*/ 5611 h 6574"/>
              <a:gd name="T10" fmla="*/ 5224 w 6574"/>
              <a:gd name="T11" fmla="*/ 5223 h 6574"/>
              <a:gd name="T12" fmla="*/ 6026 w 6574"/>
              <a:gd name="T13" fmla="*/ 3287 h 6574"/>
              <a:gd name="T14" fmla="*/ 3287 w 6574"/>
              <a:gd name="T15" fmla="*/ 548 h 6574"/>
              <a:gd name="T16" fmla="*/ 548 w 6574"/>
              <a:gd name="T17" fmla="*/ 3287 h 6574"/>
              <a:gd name="T18" fmla="*/ 1350 w 6574"/>
              <a:gd name="T19" fmla="*/ 5223 h 6574"/>
              <a:gd name="T20" fmla="*/ 4837 w 6574"/>
              <a:gd name="T21" fmla="*/ 4836 h 6574"/>
              <a:gd name="T22" fmla="*/ 5478 w 6574"/>
              <a:gd name="T23" fmla="*/ 3287 h 6574"/>
              <a:gd name="T24" fmla="*/ 3287 w 6574"/>
              <a:gd name="T25" fmla="*/ 1095 h 6574"/>
              <a:gd name="T26" fmla="*/ 1096 w 6574"/>
              <a:gd name="T27" fmla="*/ 3287 h 6574"/>
              <a:gd name="T28" fmla="*/ 1737 w 6574"/>
              <a:gd name="T29" fmla="*/ 4836 h 6574"/>
              <a:gd name="T30" fmla="*/ 5418 w 6574"/>
              <a:gd name="T31" fmla="*/ 5417 h 6574"/>
              <a:gd name="T32" fmla="*/ 6300 w 6574"/>
              <a:gd name="T33" fmla="*/ 3287 h 6574"/>
              <a:gd name="T34" fmla="*/ 3287 w 6574"/>
              <a:gd name="T35" fmla="*/ 274 h 6574"/>
              <a:gd name="T36" fmla="*/ 274 w 6574"/>
              <a:gd name="T37" fmla="*/ 3287 h 6574"/>
              <a:gd name="T38" fmla="*/ 1156 w 6574"/>
              <a:gd name="T39" fmla="*/ 5417 h 6574"/>
              <a:gd name="T40" fmla="*/ 5030 w 6574"/>
              <a:gd name="T41" fmla="*/ 5030 h 6574"/>
              <a:gd name="T42" fmla="*/ 5752 w 6574"/>
              <a:gd name="T43" fmla="*/ 3287 h 6574"/>
              <a:gd name="T44" fmla="*/ 3287 w 6574"/>
              <a:gd name="T45" fmla="*/ 821 h 6574"/>
              <a:gd name="T46" fmla="*/ 822 w 6574"/>
              <a:gd name="T47" fmla="*/ 3287 h 6574"/>
              <a:gd name="T48" fmla="*/ 1544 w 6574"/>
              <a:gd name="T49" fmla="*/ 5030 h 6574"/>
              <a:gd name="T50" fmla="*/ 4643 w 6574"/>
              <a:gd name="T51" fmla="*/ 4642 h 6574"/>
              <a:gd name="T52" fmla="*/ 5204 w 6574"/>
              <a:gd name="T53" fmla="*/ 3287 h 6574"/>
              <a:gd name="T54" fmla="*/ 3287 w 6574"/>
              <a:gd name="T55" fmla="*/ 1369 h 6574"/>
              <a:gd name="T56" fmla="*/ 1369 w 6574"/>
              <a:gd name="T57" fmla="*/ 3287 h 6574"/>
              <a:gd name="T58" fmla="*/ 1931 w 6574"/>
              <a:gd name="T59" fmla="*/ 4642 h 6574"/>
              <a:gd name="T60" fmla="*/ 4449 w 6574"/>
              <a:gd name="T61" fmla="*/ 4449 h 6574"/>
              <a:gd name="T62" fmla="*/ 4931 w 6574"/>
              <a:gd name="T63" fmla="*/ 3287 h 6574"/>
              <a:gd name="T64" fmla="*/ 3287 w 6574"/>
              <a:gd name="T65" fmla="*/ 1643 h 6574"/>
              <a:gd name="T66" fmla="*/ 1643 w 6574"/>
              <a:gd name="T67" fmla="*/ 3287 h 6574"/>
              <a:gd name="T68" fmla="*/ 2125 w 6574"/>
              <a:gd name="T69" fmla="*/ 4449 h 6574"/>
              <a:gd name="T70" fmla="*/ 4255 w 6574"/>
              <a:gd name="T71" fmla="*/ 4255 h 6574"/>
              <a:gd name="T72" fmla="*/ 4657 w 6574"/>
              <a:gd name="T73" fmla="*/ 3287 h 6574"/>
              <a:gd name="T74" fmla="*/ 3287 w 6574"/>
              <a:gd name="T75" fmla="*/ 1917 h 6574"/>
              <a:gd name="T76" fmla="*/ 1917 w 6574"/>
              <a:gd name="T77" fmla="*/ 3287 h 6574"/>
              <a:gd name="T78" fmla="*/ 2318 w 6574"/>
              <a:gd name="T79" fmla="*/ 4255 h 6574"/>
              <a:gd name="T80" fmla="*/ 4062 w 6574"/>
              <a:gd name="T81" fmla="*/ 4061 h 6574"/>
              <a:gd name="T82" fmla="*/ 4383 w 6574"/>
              <a:gd name="T83" fmla="*/ 3287 h 6574"/>
              <a:gd name="T84" fmla="*/ 3287 w 6574"/>
              <a:gd name="T85" fmla="*/ 2191 h 6574"/>
              <a:gd name="T86" fmla="*/ 2191 w 6574"/>
              <a:gd name="T87" fmla="*/ 3287 h 6574"/>
              <a:gd name="T88" fmla="*/ 2512 w 6574"/>
              <a:gd name="T89" fmla="*/ 4061 h 6574"/>
              <a:gd name="T90" fmla="*/ 3868 w 6574"/>
              <a:gd name="T91" fmla="*/ 3868 h 6574"/>
              <a:gd name="T92" fmla="*/ 4109 w 6574"/>
              <a:gd name="T93" fmla="*/ 3287 h 6574"/>
              <a:gd name="T94" fmla="*/ 3287 w 6574"/>
              <a:gd name="T95" fmla="*/ 2465 h 6574"/>
              <a:gd name="T96" fmla="*/ 2465 w 6574"/>
              <a:gd name="T97" fmla="*/ 3287 h 6574"/>
              <a:gd name="T98" fmla="*/ 2706 w 6574"/>
              <a:gd name="T99" fmla="*/ 3868 h 6574"/>
              <a:gd name="T100" fmla="*/ 3674 w 6574"/>
              <a:gd name="T101" fmla="*/ 3674 h 6574"/>
              <a:gd name="T102" fmla="*/ 3835 w 6574"/>
              <a:gd name="T103" fmla="*/ 3287 h 6574"/>
              <a:gd name="T104" fmla="*/ 3287 w 6574"/>
              <a:gd name="T105" fmla="*/ 2739 h 6574"/>
              <a:gd name="T106" fmla="*/ 2739 w 6574"/>
              <a:gd name="T107" fmla="*/ 3287 h 6574"/>
              <a:gd name="T108" fmla="*/ 2900 w 6574"/>
              <a:gd name="T109" fmla="*/ 3674 h 6574"/>
              <a:gd name="T110" fmla="*/ 3481 w 6574"/>
              <a:gd name="T111" fmla="*/ 3480 h 6574"/>
              <a:gd name="T112" fmla="*/ 3561 w 6574"/>
              <a:gd name="T113" fmla="*/ 3287 h 6574"/>
              <a:gd name="T114" fmla="*/ 3287 w 6574"/>
              <a:gd name="T115" fmla="*/ 3013 h 6574"/>
              <a:gd name="T116" fmla="*/ 3013 w 6574"/>
              <a:gd name="T117" fmla="*/ 3287 h 6574"/>
              <a:gd name="T118" fmla="*/ 3093 w 6574"/>
              <a:gd name="T119" fmla="*/ 3480 h 6574"/>
              <a:gd name="T120" fmla="*/ 3287 w 6574"/>
              <a:gd name="T121" fmla="*/ 3287 h 6574"/>
              <a:gd name="T122" fmla="*/ 3287 w 6574"/>
              <a:gd name="T123" fmla="*/ 6574 h 6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74" h="6574">
                <a:moveTo>
                  <a:pt x="5611" y="5611"/>
                </a:moveTo>
                <a:cubicBezTo>
                  <a:pt x="6206" y="5016"/>
                  <a:pt x="6574" y="4194"/>
                  <a:pt x="6574" y="3287"/>
                </a:cubicBezTo>
                <a:cubicBezTo>
                  <a:pt x="6574" y="1471"/>
                  <a:pt x="5102" y="0"/>
                  <a:pt x="3287" y="0"/>
                </a:cubicBezTo>
                <a:cubicBezTo>
                  <a:pt x="1472" y="0"/>
                  <a:pt x="0" y="1471"/>
                  <a:pt x="0" y="3287"/>
                </a:cubicBezTo>
                <a:cubicBezTo>
                  <a:pt x="0" y="4194"/>
                  <a:pt x="368" y="5016"/>
                  <a:pt x="963" y="5611"/>
                </a:cubicBezTo>
                <a:moveTo>
                  <a:pt x="5224" y="5223"/>
                </a:moveTo>
                <a:cubicBezTo>
                  <a:pt x="5720" y="4728"/>
                  <a:pt x="6026" y="4043"/>
                  <a:pt x="6026" y="3287"/>
                </a:cubicBezTo>
                <a:cubicBezTo>
                  <a:pt x="6026" y="1774"/>
                  <a:pt x="4800" y="548"/>
                  <a:pt x="3287" y="548"/>
                </a:cubicBezTo>
                <a:cubicBezTo>
                  <a:pt x="1774" y="548"/>
                  <a:pt x="548" y="1774"/>
                  <a:pt x="548" y="3287"/>
                </a:cubicBezTo>
                <a:cubicBezTo>
                  <a:pt x="548" y="4043"/>
                  <a:pt x="854" y="4728"/>
                  <a:pt x="1350" y="5223"/>
                </a:cubicBezTo>
                <a:moveTo>
                  <a:pt x="4837" y="4836"/>
                </a:moveTo>
                <a:cubicBezTo>
                  <a:pt x="5233" y="4440"/>
                  <a:pt x="5478" y="3892"/>
                  <a:pt x="5478" y="3287"/>
                </a:cubicBezTo>
                <a:cubicBezTo>
                  <a:pt x="5478" y="2076"/>
                  <a:pt x="4497" y="1095"/>
                  <a:pt x="3287" y="1095"/>
                </a:cubicBezTo>
                <a:cubicBezTo>
                  <a:pt x="2077" y="1095"/>
                  <a:pt x="1096" y="2076"/>
                  <a:pt x="1096" y="3287"/>
                </a:cubicBezTo>
                <a:cubicBezTo>
                  <a:pt x="1096" y="3892"/>
                  <a:pt x="1341" y="4440"/>
                  <a:pt x="1737" y="4836"/>
                </a:cubicBezTo>
                <a:moveTo>
                  <a:pt x="5418" y="5417"/>
                </a:moveTo>
                <a:cubicBezTo>
                  <a:pt x="5963" y="4872"/>
                  <a:pt x="6300" y="4119"/>
                  <a:pt x="6300" y="3287"/>
                </a:cubicBezTo>
                <a:cubicBezTo>
                  <a:pt x="6300" y="1623"/>
                  <a:pt x="4951" y="274"/>
                  <a:pt x="3287" y="274"/>
                </a:cubicBezTo>
                <a:cubicBezTo>
                  <a:pt x="1623" y="274"/>
                  <a:pt x="274" y="1623"/>
                  <a:pt x="274" y="3287"/>
                </a:cubicBezTo>
                <a:cubicBezTo>
                  <a:pt x="274" y="4119"/>
                  <a:pt x="611" y="4872"/>
                  <a:pt x="1156" y="5417"/>
                </a:cubicBezTo>
                <a:moveTo>
                  <a:pt x="5030" y="5030"/>
                </a:moveTo>
                <a:cubicBezTo>
                  <a:pt x="5476" y="4584"/>
                  <a:pt x="5752" y="3967"/>
                  <a:pt x="5752" y="3287"/>
                </a:cubicBezTo>
                <a:cubicBezTo>
                  <a:pt x="5752" y="1925"/>
                  <a:pt x="4649" y="821"/>
                  <a:pt x="3287" y="821"/>
                </a:cubicBezTo>
                <a:cubicBezTo>
                  <a:pt x="1925" y="821"/>
                  <a:pt x="822" y="1925"/>
                  <a:pt x="822" y="3287"/>
                </a:cubicBezTo>
                <a:cubicBezTo>
                  <a:pt x="822" y="3967"/>
                  <a:pt x="1098" y="4584"/>
                  <a:pt x="1544" y="5030"/>
                </a:cubicBezTo>
                <a:moveTo>
                  <a:pt x="4643" y="4642"/>
                </a:moveTo>
                <a:cubicBezTo>
                  <a:pt x="4990" y="4295"/>
                  <a:pt x="5204" y="3816"/>
                  <a:pt x="5204" y="3287"/>
                </a:cubicBezTo>
                <a:cubicBezTo>
                  <a:pt x="5204" y="2228"/>
                  <a:pt x="4346" y="1369"/>
                  <a:pt x="3287" y="1369"/>
                </a:cubicBezTo>
                <a:cubicBezTo>
                  <a:pt x="2228" y="1369"/>
                  <a:pt x="1369" y="2228"/>
                  <a:pt x="1369" y="3287"/>
                </a:cubicBezTo>
                <a:cubicBezTo>
                  <a:pt x="1369" y="3816"/>
                  <a:pt x="1584" y="4295"/>
                  <a:pt x="1931" y="4642"/>
                </a:cubicBezTo>
                <a:moveTo>
                  <a:pt x="4449" y="4449"/>
                </a:moveTo>
                <a:cubicBezTo>
                  <a:pt x="4747" y="4151"/>
                  <a:pt x="4931" y="3740"/>
                  <a:pt x="4931" y="3287"/>
                </a:cubicBezTo>
                <a:cubicBezTo>
                  <a:pt x="4931" y="2379"/>
                  <a:pt x="4195" y="1643"/>
                  <a:pt x="3287" y="1643"/>
                </a:cubicBezTo>
                <a:cubicBezTo>
                  <a:pt x="2379" y="1643"/>
                  <a:pt x="1643" y="2379"/>
                  <a:pt x="1643" y="3287"/>
                </a:cubicBezTo>
                <a:cubicBezTo>
                  <a:pt x="1643" y="3740"/>
                  <a:pt x="1827" y="4151"/>
                  <a:pt x="2125" y="4449"/>
                </a:cubicBezTo>
                <a:moveTo>
                  <a:pt x="4255" y="4255"/>
                </a:moveTo>
                <a:cubicBezTo>
                  <a:pt x="4503" y="4007"/>
                  <a:pt x="4657" y="3665"/>
                  <a:pt x="4657" y="3287"/>
                </a:cubicBezTo>
                <a:cubicBezTo>
                  <a:pt x="4657" y="2530"/>
                  <a:pt x="4043" y="1917"/>
                  <a:pt x="3287" y="1917"/>
                </a:cubicBezTo>
                <a:cubicBezTo>
                  <a:pt x="2531" y="1917"/>
                  <a:pt x="1917" y="2530"/>
                  <a:pt x="1917" y="3287"/>
                </a:cubicBezTo>
                <a:cubicBezTo>
                  <a:pt x="1917" y="3665"/>
                  <a:pt x="2071" y="4007"/>
                  <a:pt x="2318" y="4255"/>
                </a:cubicBezTo>
                <a:moveTo>
                  <a:pt x="4062" y="4061"/>
                </a:moveTo>
                <a:cubicBezTo>
                  <a:pt x="4260" y="3863"/>
                  <a:pt x="4383" y="3589"/>
                  <a:pt x="4383" y="3287"/>
                </a:cubicBezTo>
                <a:cubicBezTo>
                  <a:pt x="4383" y="2682"/>
                  <a:pt x="3892" y="2191"/>
                  <a:pt x="3287" y="2191"/>
                </a:cubicBezTo>
                <a:cubicBezTo>
                  <a:pt x="2682" y="2191"/>
                  <a:pt x="2191" y="2682"/>
                  <a:pt x="2191" y="3287"/>
                </a:cubicBezTo>
                <a:cubicBezTo>
                  <a:pt x="2191" y="3589"/>
                  <a:pt x="2314" y="3863"/>
                  <a:pt x="2512" y="4061"/>
                </a:cubicBezTo>
                <a:moveTo>
                  <a:pt x="3868" y="3868"/>
                </a:moveTo>
                <a:cubicBezTo>
                  <a:pt x="4017" y="3719"/>
                  <a:pt x="4109" y="3514"/>
                  <a:pt x="4109" y="3287"/>
                </a:cubicBezTo>
                <a:cubicBezTo>
                  <a:pt x="4109" y="2833"/>
                  <a:pt x="3741" y="2465"/>
                  <a:pt x="3287" y="2465"/>
                </a:cubicBezTo>
                <a:cubicBezTo>
                  <a:pt x="2833" y="2465"/>
                  <a:pt x="2465" y="2833"/>
                  <a:pt x="2465" y="3287"/>
                </a:cubicBezTo>
                <a:cubicBezTo>
                  <a:pt x="2465" y="3514"/>
                  <a:pt x="2557" y="3719"/>
                  <a:pt x="2706" y="3868"/>
                </a:cubicBezTo>
                <a:moveTo>
                  <a:pt x="3674" y="3674"/>
                </a:moveTo>
                <a:cubicBezTo>
                  <a:pt x="3773" y="3575"/>
                  <a:pt x="3835" y="3438"/>
                  <a:pt x="3835" y="3287"/>
                </a:cubicBezTo>
                <a:cubicBezTo>
                  <a:pt x="3835" y="2984"/>
                  <a:pt x="3590" y="2739"/>
                  <a:pt x="3287" y="2739"/>
                </a:cubicBezTo>
                <a:cubicBezTo>
                  <a:pt x="2984" y="2739"/>
                  <a:pt x="2739" y="2984"/>
                  <a:pt x="2739" y="3287"/>
                </a:cubicBezTo>
                <a:cubicBezTo>
                  <a:pt x="2739" y="3438"/>
                  <a:pt x="2800" y="3575"/>
                  <a:pt x="2900" y="3674"/>
                </a:cubicBezTo>
                <a:moveTo>
                  <a:pt x="3481" y="3480"/>
                </a:moveTo>
                <a:cubicBezTo>
                  <a:pt x="3530" y="3431"/>
                  <a:pt x="3561" y="3362"/>
                  <a:pt x="3561" y="3287"/>
                </a:cubicBezTo>
                <a:cubicBezTo>
                  <a:pt x="3561" y="3135"/>
                  <a:pt x="3438" y="3013"/>
                  <a:pt x="3287" y="3013"/>
                </a:cubicBezTo>
                <a:cubicBezTo>
                  <a:pt x="3136" y="3013"/>
                  <a:pt x="3013" y="3135"/>
                  <a:pt x="3013" y="3287"/>
                </a:cubicBezTo>
                <a:cubicBezTo>
                  <a:pt x="3013" y="3362"/>
                  <a:pt x="3044" y="3431"/>
                  <a:pt x="3093" y="3480"/>
                </a:cubicBezTo>
                <a:moveTo>
                  <a:pt x="3287" y="3287"/>
                </a:moveTo>
                <a:cubicBezTo>
                  <a:pt x="3287" y="6574"/>
                  <a:pt x="3287" y="6574"/>
                  <a:pt x="3287" y="6574"/>
                </a:cubicBezTo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6" name="TextBox 5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18" name="Group 17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3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705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5"/>
          <p:cNvSpPr>
            <a:spLocks noEditPoints="1"/>
          </p:cNvSpPr>
          <p:nvPr/>
        </p:nvSpPr>
        <p:spPr bwMode="auto">
          <a:xfrm>
            <a:off x="5119689" y="-392112"/>
            <a:ext cx="4595813" cy="4587875"/>
          </a:xfrm>
          <a:custGeom>
            <a:avLst/>
            <a:gdLst>
              <a:gd name="T0" fmla="*/ 5611 w 6574"/>
              <a:gd name="T1" fmla="*/ 5611 h 6574"/>
              <a:gd name="T2" fmla="*/ 6574 w 6574"/>
              <a:gd name="T3" fmla="*/ 3287 h 6574"/>
              <a:gd name="T4" fmla="*/ 3287 w 6574"/>
              <a:gd name="T5" fmla="*/ 0 h 6574"/>
              <a:gd name="T6" fmla="*/ 0 w 6574"/>
              <a:gd name="T7" fmla="*/ 3287 h 6574"/>
              <a:gd name="T8" fmla="*/ 963 w 6574"/>
              <a:gd name="T9" fmla="*/ 5611 h 6574"/>
              <a:gd name="T10" fmla="*/ 5224 w 6574"/>
              <a:gd name="T11" fmla="*/ 5223 h 6574"/>
              <a:gd name="T12" fmla="*/ 6026 w 6574"/>
              <a:gd name="T13" fmla="*/ 3287 h 6574"/>
              <a:gd name="T14" fmla="*/ 3287 w 6574"/>
              <a:gd name="T15" fmla="*/ 548 h 6574"/>
              <a:gd name="T16" fmla="*/ 548 w 6574"/>
              <a:gd name="T17" fmla="*/ 3287 h 6574"/>
              <a:gd name="T18" fmla="*/ 1350 w 6574"/>
              <a:gd name="T19" fmla="*/ 5223 h 6574"/>
              <a:gd name="T20" fmla="*/ 4837 w 6574"/>
              <a:gd name="T21" fmla="*/ 4836 h 6574"/>
              <a:gd name="T22" fmla="*/ 5478 w 6574"/>
              <a:gd name="T23" fmla="*/ 3287 h 6574"/>
              <a:gd name="T24" fmla="*/ 3287 w 6574"/>
              <a:gd name="T25" fmla="*/ 1095 h 6574"/>
              <a:gd name="T26" fmla="*/ 1096 w 6574"/>
              <a:gd name="T27" fmla="*/ 3287 h 6574"/>
              <a:gd name="T28" fmla="*/ 1737 w 6574"/>
              <a:gd name="T29" fmla="*/ 4836 h 6574"/>
              <a:gd name="T30" fmla="*/ 5418 w 6574"/>
              <a:gd name="T31" fmla="*/ 5417 h 6574"/>
              <a:gd name="T32" fmla="*/ 6300 w 6574"/>
              <a:gd name="T33" fmla="*/ 3287 h 6574"/>
              <a:gd name="T34" fmla="*/ 3287 w 6574"/>
              <a:gd name="T35" fmla="*/ 274 h 6574"/>
              <a:gd name="T36" fmla="*/ 274 w 6574"/>
              <a:gd name="T37" fmla="*/ 3287 h 6574"/>
              <a:gd name="T38" fmla="*/ 1156 w 6574"/>
              <a:gd name="T39" fmla="*/ 5417 h 6574"/>
              <a:gd name="T40" fmla="*/ 5030 w 6574"/>
              <a:gd name="T41" fmla="*/ 5030 h 6574"/>
              <a:gd name="T42" fmla="*/ 5752 w 6574"/>
              <a:gd name="T43" fmla="*/ 3287 h 6574"/>
              <a:gd name="T44" fmla="*/ 3287 w 6574"/>
              <a:gd name="T45" fmla="*/ 821 h 6574"/>
              <a:gd name="T46" fmla="*/ 822 w 6574"/>
              <a:gd name="T47" fmla="*/ 3287 h 6574"/>
              <a:gd name="T48" fmla="*/ 1544 w 6574"/>
              <a:gd name="T49" fmla="*/ 5030 h 6574"/>
              <a:gd name="T50" fmla="*/ 4643 w 6574"/>
              <a:gd name="T51" fmla="*/ 4642 h 6574"/>
              <a:gd name="T52" fmla="*/ 5204 w 6574"/>
              <a:gd name="T53" fmla="*/ 3287 h 6574"/>
              <a:gd name="T54" fmla="*/ 3287 w 6574"/>
              <a:gd name="T55" fmla="*/ 1369 h 6574"/>
              <a:gd name="T56" fmla="*/ 1369 w 6574"/>
              <a:gd name="T57" fmla="*/ 3287 h 6574"/>
              <a:gd name="T58" fmla="*/ 1931 w 6574"/>
              <a:gd name="T59" fmla="*/ 4642 h 6574"/>
              <a:gd name="T60" fmla="*/ 4449 w 6574"/>
              <a:gd name="T61" fmla="*/ 4449 h 6574"/>
              <a:gd name="T62" fmla="*/ 4931 w 6574"/>
              <a:gd name="T63" fmla="*/ 3287 h 6574"/>
              <a:gd name="T64" fmla="*/ 3287 w 6574"/>
              <a:gd name="T65" fmla="*/ 1643 h 6574"/>
              <a:gd name="T66" fmla="*/ 1643 w 6574"/>
              <a:gd name="T67" fmla="*/ 3287 h 6574"/>
              <a:gd name="T68" fmla="*/ 2125 w 6574"/>
              <a:gd name="T69" fmla="*/ 4449 h 6574"/>
              <a:gd name="T70" fmla="*/ 4255 w 6574"/>
              <a:gd name="T71" fmla="*/ 4255 h 6574"/>
              <a:gd name="T72" fmla="*/ 4657 w 6574"/>
              <a:gd name="T73" fmla="*/ 3287 h 6574"/>
              <a:gd name="T74" fmla="*/ 3287 w 6574"/>
              <a:gd name="T75" fmla="*/ 1917 h 6574"/>
              <a:gd name="T76" fmla="*/ 1917 w 6574"/>
              <a:gd name="T77" fmla="*/ 3287 h 6574"/>
              <a:gd name="T78" fmla="*/ 2318 w 6574"/>
              <a:gd name="T79" fmla="*/ 4255 h 6574"/>
              <a:gd name="T80" fmla="*/ 4062 w 6574"/>
              <a:gd name="T81" fmla="*/ 4061 h 6574"/>
              <a:gd name="T82" fmla="*/ 4383 w 6574"/>
              <a:gd name="T83" fmla="*/ 3287 h 6574"/>
              <a:gd name="T84" fmla="*/ 3287 w 6574"/>
              <a:gd name="T85" fmla="*/ 2191 h 6574"/>
              <a:gd name="T86" fmla="*/ 2191 w 6574"/>
              <a:gd name="T87" fmla="*/ 3287 h 6574"/>
              <a:gd name="T88" fmla="*/ 2512 w 6574"/>
              <a:gd name="T89" fmla="*/ 4061 h 6574"/>
              <a:gd name="T90" fmla="*/ 3868 w 6574"/>
              <a:gd name="T91" fmla="*/ 3868 h 6574"/>
              <a:gd name="T92" fmla="*/ 4109 w 6574"/>
              <a:gd name="T93" fmla="*/ 3287 h 6574"/>
              <a:gd name="T94" fmla="*/ 3287 w 6574"/>
              <a:gd name="T95" fmla="*/ 2465 h 6574"/>
              <a:gd name="T96" fmla="*/ 2465 w 6574"/>
              <a:gd name="T97" fmla="*/ 3287 h 6574"/>
              <a:gd name="T98" fmla="*/ 2706 w 6574"/>
              <a:gd name="T99" fmla="*/ 3868 h 6574"/>
              <a:gd name="T100" fmla="*/ 3674 w 6574"/>
              <a:gd name="T101" fmla="*/ 3674 h 6574"/>
              <a:gd name="T102" fmla="*/ 3835 w 6574"/>
              <a:gd name="T103" fmla="*/ 3287 h 6574"/>
              <a:gd name="T104" fmla="*/ 3287 w 6574"/>
              <a:gd name="T105" fmla="*/ 2739 h 6574"/>
              <a:gd name="T106" fmla="*/ 2739 w 6574"/>
              <a:gd name="T107" fmla="*/ 3287 h 6574"/>
              <a:gd name="T108" fmla="*/ 2900 w 6574"/>
              <a:gd name="T109" fmla="*/ 3674 h 6574"/>
              <a:gd name="T110" fmla="*/ 3481 w 6574"/>
              <a:gd name="T111" fmla="*/ 3480 h 6574"/>
              <a:gd name="T112" fmla="*/ 3561 w 6574"/>
              <a:gd name="T113" fmla="*/ 3287 h 6574"/>
              <a:gd name="T114" fmla="*/ 3287 w 6574"/>
              <a:gd name="T115" fmla="*/ 3013 h 6574"/>
              <a:gd name="T116" fmla="*/ 3013 w 6574"/>
              <a:gd name="T117" fmla="*/ 3287 h 6574"/>
              <a:gd name="T118" fmla="*/ 3093 w 6574"/>
              <a:gd name="T119" fmla="*/ 3480 h 6574"/>
              <a:gd name="T120" fmla="*/ 3287 w 6574"/>
              <a:gd name="T121" fmla="*/ 3287 h 6574"/>
              <a:gd name="T122" fmla="*/ 3287 w 6574"/>
              <a:gd name="T123" fmla="*/ 6574 h 6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74" h="6574">
                <a:moveTo>
                  <a:pt x="5611" y="5611"/>
                </a:moveTo>
                <a:cubicBezTo>
                  <a:pt x="6206" y="5016"/>
                  <a:pt x="6574" y="4194"/>
                  <a:pt x="6574" y="3287"/>
                </a:cubicBezTo>
                <a:cubicBezTo>
                  <a:pt x="6574" y="1471"/>
                  <a:pt x="5102" y="0"/>
                  <a:pt x="3287" y="0"/>
                </a:cubicBezTo>
                <a:cubicBezTo>
                  <a:pt x="1472" y="0"/>
                  <a:pt x="0" y="1471"/>
                  <a:pt x="0" y="3287"/>
                </a:cubicBezTo>
                <a:cubicBezTo>
                  <a:pt x="0" y="4194"/>
                  <a:pt x="368" y="5016"/>
                  <a:pt x="963" y="5611"/>
                </a:cubicBezTo>
                <a:moveTo>
                  <a:pt x="5224" y="5223"/>
                </a:moveTo>
                <a:cubicBezTo>
                  <a:pt x="5720" y="4728"/>
                  <a:pt x="6026" y="4043"/>
                  <a:pt x="6026" y="3287"/>
                </a:cubicBezTo>
                <a:cubicBezTo>
                  <a:pt x="6026" y="1774"/>
                  <a:pt x="4800" y="548"/>
                  <a:pt x="3287" y="548"/>
                </a:cubicBezTo>
                <a:cubicBezTo>
                  <a:pt x="1774" y="548"/>
                  <a:pt x="548" y="1774"/>
                  <a:pt x="548" y="3287"/>
                </a:cubicBezTo>
                <a:cubicBezTo>
                  <a:pt x="548" y="4043"/>
                  <a:pt x="854" y="4728"/>
                  <a:pt x="1350" y="5223"/>
                </a:cubicBezTo>
                <a:moveTo>
                  <a:pt x="4837" y="4836"/>
                </a:moveTo>
                <a:cubicBezTo>
                  <a:pt x="5233" y="4440"/>
                  <a:pt x="5478" y="3892"/>
                  <a:pt x="5478" y="3287"/>
                </a:cubicBezTo>
                <a:cubicBezTo>
                  <a:pt x="5478" y="2076"/>
                  <a:pt x="4497" y="1095"/>
                  <a:pt x="3287" y="1095"/>
                </a:cubicBezTo>
                <a:cubicBezTo>
                  <a:pt x="2077" y="1095"/>
                  <a:pt x="1096" y="2076"/>
                  <a:pt x="1096" y="3287"/>
                </a:cubicBezTo>
                <a:cubicBezTo>
                  <a:pt x="1096" y="3892"/>
                  <a:pt x="1341" y="4440"/>
                  <a:pt x="1737" y="4836"/>
                </a:cubicBezTo>
                <a:moveTo>
                  <a:pt x="5418" y="5417"/>
                </a:moveTo>
                <a:cubicBezTo>
                  <a:pt x="5963" y="4872"/>
                  <a:pt x="6300" y="4119"/>
                  <a:pt x="6300" y="3287"/>
                </a:cubicBezTo>
                <a:cubicBezTo>
                  <a:pt x="6300" y="1623"/>
                  <a:pt x="4951" y="274"/>
                  <a:pt x="3287" y="274"/>
                </a:cubicBezTo>
                <a:cubicBezTo>
                  <a:pt x="1623" y="274"/>
                  <a:pt x="274" y="1623"/>
                  <a:pt x="274" y="3287"/>
                </a:cubicBezTo>
                <a:cubicBezTo>
                  <a:pt x="274" y="4119"/>
                  <a:pt x="611" y="4872"/>
                  <a:pt x="1156" y="5417"/>
                </a:cubicBezTo>
                <a:moveTo>
                  <a:pt x="5030" y="5030"/>
                </a:moveTo>
                <a:cubicBezTo>
                  <a:pt x="5476" y="4584"/>
                  <a:pt x="5752" y="3967"/>
                  <a:pt x="5752" y="3287"/>
                </a:cubicBezTo>
                <a:cubicBezTo>
                  <a:pt x="5752" y="1925"/>
                  <a:pt x="4649" y="821"/>
                  <a:pt x="3287" y="821"/>
                </a:cubicBezTo>
                <a:cubicBezTo>
                  <a:pt x="1925" y="821"/>
                  <a:pt x="822" y="1925"/>
                  <a:pt x="822" y="3287"/>
                </a:cubicBezTo>
                <a:cubicBezTo>
                  <a:pt x="822" y="3967"/>
                  <a:pt x="1098" y="4584"/>
                  <a:pt x="1544" y="5030"/>
                </a:cubicBezTo>
                <a:moveTo>
                  <a:pt x="4643" y="4642"/>
                </a:moveTo>
                <a:cubicBezTo>
                  <a:pt x="4990" y="4295"/>
                  <a:pt x="5204" y="3816"/>
                  <a:pt x="5204" y="3287"/>
                </a:cubicBezTo>
                <a:cubicBezTo>
                  <a:pt x="5204" y="2228"/>
                  <a:pt x="4346" y="1369"/>
                  <a:pt x="3287" y="1369"/>
                </a:cubicBezTo>
                <a:cubicBezTo>
                  <a:pt x="2228" y="1369"/>
                  <a:pt x="1369" y="2228"/>
                  <a:pt x="1369" y="3287"/>
                </a:cubicBezTo>
                <a:cubicBezTo>
                  <a:pt x="1369" y="3816"/>
                  <a:pt x="1584" y="4295"/>
                  <a:pt x="1931" y="4642"/>
                </a:cubicBezTo>
                <a:moveTo>
                  <a:pt x="4449" y="4449"/>
                </a:moveTo>
                <a:cubicBezTo>
                  <a:pt x="4747" y="4151"/>
                  <a:pt x="4931" y="3740"/>
                  <a:pt x="4931" y="3287"/>
                </a:cubicBezTo>
                <a:cubicBezTo>
                  <a:pt x="4931" y="2379"/>
                  <a:pt x="4195" y="1643"/>
                  <a:pt x="3287" y="1643"/>
                </a:cubicBezTo>
                <a:cubicBezTo>
                  <a:pt x="2379" y="1643"/>
                  <a:pt x="1643" y="2379"/>
                  <a:pt x="1643" y="3287"/>
                </a:cubicBezTo>
                <a:cubicBezTo>
                  <a:pt x="1643" y="3740"/>
                  <a:pt x="1827" y="4151"/>
                  <a:pt x="2125" y="4449"/>
                </a:cubicBezTo>
                <a:moveTo>
                  <a:pt x="4255" y="4255"/>
                </a:moveTo>
                <a:cubicBezTo>
                  <a:pt x="4503" y="4007"/>
                  <a:pt x="4657" y="3665"/>
                  <a:pt x="4657" y="3287"/>
                </a:cubicBezTo>
                <a:cubicBezTo>
                  <a:pt x="4657" y="2530"/>
                  <a:pt x="4043" y="1917"/>
                  <a:pt x="3287" y="1917"/>
                </a:cubicBezTo>
                <a:cubicBezTo>
                  <a:pt x="2531" y="1917"/>
                  <a:pt x="1917" y="2530"/>
                  <a:pt x="1917" y="3287"/>
                </a:cubicBezTo>
                <a:cubicBezTo>
                  <a:pt x="1917" y="3665"/>
                  <a:pt x="2071" y="4007"/>
                  <a:pt x="2318" y="4255"/>
                </a:cubicBezTo>
                <a:moveTo>
                  <a:pt x="4062" y="4061"/>
                </a:moveTo>
                <a:cubicBezTo>
                  <a:pt x="4260" y="3863"/>
                  <a:pt x="4383" y="3589"/>
                  <a:pt x="4383" y="3287"/>
                </a:cubicBezTo>
                <a:cubicBezTo>
                  <a:pt x="4383" y="2682"/>
                  <a:pt x="3892" y="2191"/>
                  <a:pt x="3287" y="2191"/>
                </a:cubicBezTo>
                <a:cubicBezTo>
                  <a:pt x="2682" y="2191"/>
                  <a:pt x="2191" y="2682"/>
                  <a:pt x="2191" y="3287"/>
                </a:cubicBezTo>
                <a:cubicBezTo>
                  <a:pt x="2191" y="3589"/>
                  <a:pt x="2314" y="3863"/>
                  <a:pt x="2512" y="4061"/>
                </a:cubicBezTo>
                <a:moveTo>
                  <a:pt x="3868" y="3868"/>
                </a:moveTo>
                <a:cubicBezTo>
                  <a:pt x="4017" y="3719"/>
                  <a:pt x="4109" y="3514"/>
                  <a:pt x="4109" y="3287"/>
                </a:cubicBezTo>
                <a:cubicBezTo>
                  <a:pt x="4109" y="2833"/>
                  <a:pt x="3741" y="2465"/>
                  <a:pt x="3287" y="2465"/>
                </a:cubicBezTo>
                <a:cubicBezTo>
                  <a:pt x="2833" y="2465"/>
                  <a:pt x="2465" y="2833"/>
                  <a:pt x="2465" y="3287"/>
                </a:cubicBezTo>
                <a:cubicBezTo>
                  <a:pt x="2465" y="3514"/>
                  <a:pt x="2557" y="3719"/>
                  <a:pt x="2706" y="3868"/>
                </a:cubicBezTo>
                <a:moveTo>
                  <a:pt x="3674" y="3674"/>
                </a:moveTo>
                <a:cubicBezTo>
                  <a:pt x="3773" y="3575"/>
                  <a:pt x="3835" y="3438"/>
                  <a:pt x="3835" y="3287"/>
                </a:cubicBezTo>
                <a:cubicBezTo>
                  <a:pt x="3835" y="2984"/>
                  <a:pt x="3590" y="2739"/>
                  <a:pt x="3287" y="2739"/>
                </a:cubicBezTo>
                <a:cubicBezTo>
                  <a:pt x="2984" y="2739"/>
                  <a:pt x="2739" y="2984"/>
                  <a:pt x="2739" y="3287"/>
                </a:cubicBezTo>
                <a:cubicBezTo>
                  <a:pt x="2739" y="3438"/>
                  <a:pt x="2800" y="3575"/>
                  <a:pt x="2900" y="3674"/>
                </a:cubicBezTo>
                <a:moveTo>
                  <a:pt x="3481" y="3480"/>
                </a:moveTo>
                <a:cubicBezTo>
                  <a:pt x="3530" y="3431"/>
                  <a:pt x="3561" y="3362"/>
                  <a:pt x="3561" y="3287"/>
                </a:cubicBezTo>
                <a:cubicBezTo>
                  <a:pt x="3561" y="3135"/>
                  <a:pt x="3438" y="3013"/>
                  <a:pt x="3287" y="3013"/>
                </a:cubicBezTo>
                <a:cubicBezTo>
                  <a:pt x="3136" y="3013"/>
                  <a:pt x="3013" y="3135"/>
                  <a:pt x="3013" y="3287"/>
                </a:cubicBezTo>
                <a:cubicBezTo>
                  <a:pt x="3013" y="3362"/>
                  <a:pt x="3044" y="3431"/>
                  <a:pt x="3093" y="3480"/>
                </a:cubicBezTo>
                <a:moveTo>
                  <a:pt x="3287" y="3287"/>
                </a:moveTo>
                <a:cubicBezTo>
                  <a:pt x="3287" y="6574"/>
                  <a:pt x="3287" y="6574"/>
                  <a:pt x="3287" y="6574"/>
                </a:cubicBezTo>
              </a:path>
            </a:pathLst>
          </a:custGeom>
          <a:noFill/>
          <a:ln w="15875" cap="flat">
            <a:solidFill>
              <a:srgbClr val="F39C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6" name="TextBox 5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18" name="Group 17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23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533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for background picture">
    <p:bg>
      <p:bgPr>
        <a:solidFill>
          <a:srgbClr val="F3E0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5"/>
          <p:cNvSpPr>
            <a:spLocks noEditPoints="1"/>
          </p:cNvSpPr>
          <p:nvPr/>
        </p:nvSpPr>
        <p:spPr bwMode="auto">
          <a:xfrm>
            <a:off x="4999039" y="-325438"/>
            <a:ext cx="4473575" cy="4468813"/>
          </a:xfrm>
          <a:custGeom>
            <a:avLst/>
            <a:gdLst>
              <a:gd name="T0" fmla="*/ 807 w 6922"/>
              <a:gd name="T1" fmla="*/ 5423 h 6923"/>
              <a:gd name="T2" fmla="*/ 6691 w 6922"/>
              <a:gd name="T3" fmla="*/ 3461 h 6923"/>
              <a:gd name="T4" fmla="*/ 1088 w 6922"/>
              <a:gd name="T5" fmla="*/ 5976 h 6923"/>
              <a:gd name="T6" fmla="*/ 919 w 6922"/>
              <a:gd name="T7" fmla="*/ 5048 h 6923"/>
              <a:gd name="T8" fmla="*/ 3461 w 6922"/>
              <a:gd name="T9" fmla="*/ 6461 h 6923"/>
              <a:gd name="T10" fmla="*/ 6691 w 6922"/>
              <a:gd name="T11" fmla="*/ 3461 h 6923"/>
              <a:gd name="T12" fmla="*/ 1082 w 6922"/>
              <a:gd name="T13" fmla="*/ 4874 h 6923"/>
              <a:gd name="T14" fmla="*/ 3461 w 6922"/>
              <a:gd name="T15" fmla="*/ 6230 h 6923"/>
              <a:gd name="T16" fmla="*/ 6461 w 6922"/>
              <a:gd name="T17" fmla="*/ 3461 h 6923"/>
              <a:gd name="T18" fmla="*/ 1082 w 6922"/>
              <a:gd name="T19" fmla="*/ 4874 h 6923"/>
              <a:gd name="T20" fmla="*/ 3461 w 6922"/>
              <a:gd name="T21" fmla="*/ 692 h 6923"/>
              <a:gd name="T22" fmla="*/ 923 w 6922"/>
              <a:gd name="T23" fmla="*/ 3461 h 6923"/>
              <a:gd name="T24" fmla="*/ 2155 w 6922"/>
              <a:gd name="T25" fmla="*/ 5635 h 6923"/>
              <a:gd name="T26" fmla="*/ 3461 w 6922"/>
              <a:gd name="T27" fmla="*/ 923 h 6923"/>
              <a:gd name="T28" fmla="*/ 1537 w 6922"/>
              <a:gd name="T29" fmla="*/ 4734 h 6923"/>
              <a:gd name="T30" fmla="*/ 2188 w 6922"/>
              <a:gd name="T31" fmla="*/ 5385 h 6923"/>
              <a:gd name="T32" fmla="*/ 5999 w 6922"/>
              <a:gd name="T33" fmla="*/ 3461 h 6923"/>
              <a:gd name="T34" fmla="*/ 4035 w 6922"/>
              <a:gd name="T35" fmla="*/ 1229 h 6923"/>
              <a:gd name="T36" fmla="*/ 1384 w 6922"/>
              <a:gd name="T37" fmla="*/ 3461 h 6923"/>
              <a:gd name="T38" fmla="*/ 1537 w 6922"/>
              <a:gd name="T39" fmla="*/ 4734 h 6923"/>
              <a:gd name="T40" fmla="*/ 2780 w 6922"/>
              <a:gd name="T41" fmla="*/ 1501 h 6923"/>
              <a:gd name="T42" fmla="*/ 4142 w 6922"/>
              <a:gd name="T43" fmla="*/ 1501 h 6923"/>
              <a:gd name="T44" fmla="*/ 1615 w 6922"/>
              <a:gd name="T45" fmla="*/ 3461 h 6923"/>
              <a:gd name="T46" fmla="*/ 1846 w 6922"/>
              <a:gd name="T47" fmla="*/ 3461 h 6923"/>
              <a:gd name="T48" fmla="*/ 3461 w 6922"/>
              <a:gd name="T49" fmla="*/ 5307 h 6923"/>
              <a:gd name="T50" fmla="*/ 5076 w 6922"/>
              <a:gd name="T51" fmla="*/ 3461 h 6923"/>
              <a:gd name="T52" fmla="*/ 5076 w 6922"/>
              <a:gd name="T53" fmla="*/ 3461 h 6923"/>
              <a:gd name="T54" fmla="*/ 3024 w 6922"/>
              <a:gd name="T55" fmla="*/ 2148 h 6923"/>
              <a:gd name="T56" fmla="*/ 4057 w 6922"/>
              <a:gd name="T57" fmla="*/ 1961 h 6923"/>
              <a:gd name="T58" fmla="*/ 4382 w 6922"/>
              <a:gd name="T59" fmla="*/ 2769 h 6923"/>
              <a:gd name="T60" fmla="*/ 3461 w 6922"/>
              <a:gd name="T61" fmla="*/ 4615 h 6923"/>
              <a:gd name="T62" fmla="*/ 2076 w 6922"/>
              <a:gd name="T63" fmla="*/ 3461 h 6923"/>
              <a:gd name="T64" fmla="*/ 3461 w 6922"/>
              <a:gd name="T65" fmla="*/ 4615 h 6923"/>
              <a:gd name="T66" fmla="*/ 2538 w 6922"/>
              <a:gd name="T67" fmla="*/ 3461 h 6923"/>
              <a:gd name="T68" fmla="*/ 3461 w 6922"/>
              <a:gd name="T69" fmla="*/ 2308 h 6923"/>
              <a:gd name="T70" fmla="*/ 3461 w 6922"/>
              <a:gd name="T71" fmla="*/ 2538 h 6923"/>
              <a:gd name="T72" fmla="*/ 3692 w 6922"/>
              <a:gd name="T73" fmla="*/ 3461 h 6923"/>
              <a:gd name="T74" fmla="*/ 3233 w 6922"/>
              <a:gd name="T75" fmla="*/ 1631 h 6923"/>
              <a:gd name="T76" fmla="*/ 2999 w 6922"/>
              <a:gd name="T77" fmla="*/ 1615 h 6923"/>
              <a:gd name="T78" fmla="*/ 3882 w 6922"/>
              <a:gd name="T79" fmla="*/ 1427 h 6923"/>
              <a:gd name="T80" fmla="*/ 3005 w 6922"/>
              <a:gd name="T81" fmla="*/ 1674 h 6923"/>
              <a:gd name="T82" fmla="*/ 3830 w 6922"/>
              <a:gd name="T83" fmla="*/ 1890 h 6923"/>
              <a:gd name="T84" fmla="*/ 3092 w 6922"/>
              <a:gd name="T85" fmla="*/ 1890 h 6923"/>
              <a:gd name="T86" fmla="*/ 5076 w 6922"/>
              <a:gd name="T87" fmla="*/ 3461 h 6923"/>
              <a:gd name="T88" fmla="*/ 4529 w 6922"/>
              <a:gd name="T89" fmla="*/ 3897 h 6923"/>
              <a:gd name="T90" fmla="*/ 4384 w 6922"/>
              <a:gd name="T91" fmla="*/ 3692 h 6923"/>
              <a:gd name="T92" fmla="*/ 4529 w 6922"/>
              <a:gd name="T93" fmla="*/ 3897 h 6923"/>
              <a:gd name="T94" fmla="*/ 4353 w 6922"/>
              <a:gd name="T95" fmla="*/ 3237 h 6923"/>
              <a:gd name="T96" fmla="*/ 4153 w 6922"/>
              <a:gd name="T97" fmla="*/ 3461 h 6923"/>
              <a:gd name="T98" fmla="*/ 4265 w 6922"/>
              <a:gd name="T99" fmla="*/ 3905 h 6923"/>
              <a:gd name="T100" fmla="*/ 1116 w 6922"/>
              <a:gd name="T101" fmla="*/ 5679 h 6923"/>
              <a:gd name="T102" fmla="*/ 1318 w 6922"/>
              <a:gd name="T103" fmla="*/ 5558 h 6923"/>
              <a:gd name="T104" fmla="*/ 1068 w 6922"/>
              <a:gd name="T105" fmla="*/ 5264 h 6923"/>
              <a:gd name="T106" fmla="*/ 1269 w 6922"/>
              <a:gd name="T107" fmla="*/ 5423 h 6923"/>
              <a:gd name="T108" fmla="*/ 1658 w 6922"/>
              <a:gd name="T109" fmla="*/ 5855 h 6923"/>
              <a:gd name="T110" fmla="*/ 1364 w 6922"/>
              <a:gd name="T111" fmla="*/ 5604 h 6923"/>
              <a:gd name="T112" fmla="*/ 1953 w 6922"/>
              <a:gd name="T113" fmla="*/ 5500 h 6923"/>
              <a:gd name="T114" fmla="*/ 1672 w 6922"/>
              <a:gd name="T115" fmla="*/ 5573 h 6923"/>
              <a:gd name="T116" fmla="*/ 1422 w 6922"/>
              <a:gd name="T117" fmla="*/ 4969 h 6923"/>
              <a:gd name="T118" fmla="*/ 1350 w 6922"/>
              <a:gd name="T119" fmla="*/ 5251 h 6923"/>
              <a:gd name="T120" fmla="*/ 1500 w 6922"/>
              <a:gd name="T121" fmla="*/ 5653 h 6923"/>
              <a:gd name="T122" fmla="*/ 1500 w 6922"/>
              <a:gd name="T123" fmla="*/ 5192 h 6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22" h="6923">
                <a:moveTo>
                  <a:pt x="3461" y="0"/>
                </a:moveTo>
                <a:cubicBezTo>
                  <a:pt x="1549" y="0"/>
                  <a:pt x="0" y="1550"/>
                  <a:pt x="0" y="3461"/>
                </a:cubicBezTo>
                <a:cubicBezTo>
                  <a:pt x="0" y="4381"/>
                  <a:pt x="361" y="5215"/>
                  <a:pt x="946" y="5835"/>
                </a:cubicBezTo>
                <a:cubicBezTo>
                  <a:pt x="860" y="5719"/>
                  <a:pt x="807" y="5578"/>
                  <a:pt x="807" y="5423"/>
                </a:cubicBezTo>
                <a:cubicBezTo>
                  <a:pt x="807" y="5386"/>
                  <a:pt x="813" y="5351"/>
                  <a:pt x="818" y="5316"/>
                </a:cubicBezTo>
                <a:cubicBezTo>
                  <a:pt x="449" y="4790"/>
                  <a:pt x="230" y="4152"/>
                  <a:pt x="230" y="3461"/>
                </a:cubicBezTo>
                <a:cubicBezTo>
                  <a:pt x="230" y="1677"/>
                  <a:pt x="1677" y="231"/>
                  <a:pt x="3461" y="231"/>
                </a:cubicBezTo>
                <a:cubicBezTo>
                  <a:pt x="5245" y="231"/>
                  <a:pt x="6691" y="1677"/>
                  <a:pt x="6691" y="3461"/>
                </a:cubicBezTo>
                <a:cubicBezTo>
                  <a:pt x="6691" y="5245"/>
                  <a:pt x="5245" y="6692"/>
                  <a:pt x="3461" y="6692"/>
                </a:cubicBezTo>
                <a:cubicBezTo>
                  <a:pt x="2770" y="6692"/>
                  <a:pt x="2132" y="6473"/>
                  <a:pt x="1607" y="6104"/>
                </a:cubicBezTo>
                <a:cubicBezTo>
                  <a:pt x="1571" y="6110"/>
                  <a:pt x="1536" y="6115"/>
                  <a:pt x="1500" y="6115"/>
                </a:cubicBezTo>
                <a:cubicBezTo>
                  <a:pt x="1345" y="6115"/>
                  <a:pt x="1203" y="6062"/>
                  <a:pt x="1088" y="5976"/>
                </a:cubicBezTo>
                <a:cubicBezTo>
                  <a:pt x="1707" y="6561"/>
                  <a:pt x="2541" y="6923"/>
                  <a:pt x="3461" y="6923"/>
                </a:cubicBezTo>
                <a:cubicBezTo>
                  <a:pt x="5373" y="6923"/>
                  <a:pt x="6922" y="5373"/>
                  <a:pt x="6922" y="3461"/>
                </a:cubicBezTo>
                <a:cubicBezTo>
                  <a:pt x="6922" y="1550"/>
                  <a:pt x="5373" y="0"/>
                  <a:pt x="3461" y="0"/>
                </a:cubicBezTo>
                <a:close/>
                <a:moveTo>
                  <a:pt x="919" y="5048"/>
                </a:moveTo>
                <a:cubicBezTo>
                  <a:pt x="630" y="4588"/>
                  <a:pt x="461" y="4045"/>
                  <a:pt x="461" y="3461"/>
                </a:cubicBezTo>
                <a:cubicBezTo>
                  <a:pt x="461" y="1805"/>
                  <a:pt x="1804" y="462"/>
                  <a:pt x="3461" y="462"/>
                </a:cubicBezTo>
                <a:cubicBezTo>
                  <a:pt x="5118" y="462"/>
                  <a:pt x="6461" y="1805"/>
                  <a:pt x="6461" y="3461"/>
                </a:cubicBezTo>
                <a:cubicBezTo>
                  <a:pt x="6461" y="5118"/>
                  <a:pt x="5118" y="6461"/>
                  <a:pt x="3461" y="6461"/>
                </a:cubicBezTo>
                <a:cubicBezTo>
                  <a:pt x="2877" y="6461"/>
                  <a:pt x="2335" y="6292"/>
                  <a:pt x="1874" y="6004"/>
                </a:cubicBezTo>
                <a:moveTo>
                  <a:pt x="1607" y="6104"/>
                </a:moveTo>
                <a:cubicBezTo>
                  <a:pt x="2132" y="6473"/>
                  <a:pt x="2770" y="6692"/>
                  <a:pt x="3461" y="6692"/>
                </a:cubicBezTo>
                <a:cubicBezTo>
                  <a:pt x="5245" y="6692"/>
                  <a:pt x="6691" y="5245"/>
                  <a:pt x="6691" y="3461"/>
                </a:cubicBezTo>
                <a:cubicBezTo>
                  <a:pt x="6691" y="1677"/>
                  <a:pt x="5245" y="231"/>
                  <a:pt x="3461" y="231"/>
                </a:cubicBezTo>
                <a:cubicBezTo>
                  <a:pt x="1677" y="231"/>
                  <a:pt x="230" y="1677"/>
                  <a:pt x="230" y="3461"/>
                </a:cubicBezTo>
                <a:cubicBezTo>
                  <a:pt x="230" y="4152"/>
                  <a:pt x="449" y="4790"/>
                  <a:pt x="818" y="5316"/>
                </a:cubicBezTo>
                <a:moveTo>
                  <a:pt x="1082" y="4874"/>
                </a:moveTo>
                <a:cubicBezTo>
                  <a:pt x="836" y="4460"/>
                  <a:pt x="692" y="3978"/>
                  <a:pt x="692" y="3461"/>
                </a:cubicBezTo>
                <a:cubicBezTo>
                  <a:pt x="692" y="1932"/>
                  <a:pt x="1932" y="692"/>
                  <a:pt x="3461" y="692"/>
                </a:cubicBezTo>
                <a:cubicBezTo>
                  <a:pt x="4990" y="692"/>
                  <a:pt x="6230" y="1932"/>
                  <a:pt x="6230" y="3461"/>
                </a:cubicBezTo>
                <a:cubicBezTo>
                  <a:pt x="6230" y="4991"/>
                  <a:pt x="4990" y="6230"/>
                  <a:pt x="3461" y="6230"/>
                </a:cubicBezTo>
                <a:cubicBezTo>
                  <a:pt x="2944" y="6230"/>
                  <a:pt x="2462" y="6086"/>
                  <a:pt x="2049" y="5840"/>
                </a:cubicBezTo>
                <a:cubicBezTo>
                  <a:pt x="2000" y="5904"/>
                  <a:pt x="1942" y="5960"/>
                  <a:pt x="1874" y="6004"/>
                </a:cubicBezTo>
                <a:cubicBezTo>
                  <a:pt x="2335" y="6292"/>
                  <a:pt x="2877" y="6461"/>
                  <a:pt x="3461" y="6461"/>
                </a:cubicBezTo>
                <a:cubicBezTo>
                  <a:pt x="5118" y="6461"/>
                  <a:pt x="6461" y="5118"/>
                  <a:pt x="6461" y="3461"/>
                </a:cubicBezTo>
                <a:cubicBezTo>
                  <a:pt x="6461" y="1805"/>
                  <a:pt x="5118" y="462"/>
                  <a:pt x="3461" y="462"/>
                </a:cubicBezTo>
                <a:cubicBezTo>
                  <a:pt x="1804" y="462"/>
                  <a:pt x="461" y="1805"/>
                  <a:pt x="461" y="3461"/>
                </a:cubicBezTo>
                <a:cubicBezTo>
                  <a:pt x="461" y="4045"/>
                  <a:pt x="630" y="4588"/>
                  <a:pt x="919" y="5048"/>
                </a:cubicBezTo>
                <a:cubicBezTo>
                  <a:pt x="962" y="4981"/>
                  <a:pt x="1018" y="4922"/>
                  <a:pt x="1082" y="4874"/>
                </a:cubicBezTo>
                <a:close/>
                <a:moveTo>
                  <a:pt x="2049" y="5840"/>
                </a:moveTo>
                <a:cubicBezTo>
                  <a:pt x="2462" y="6086"/>
                  <a:pt x="2944" y="6230"/>
                  <a:pt x="3461" y="6230"/>
                </a:cubicBezTo>
                <a:cubicBezTo>
                  <a:pt x="4990" y="6230"/>
                  <a:pt x="6230" y="4991"/>
                  <a:pt x="6230" y="3461"/>
                </a:cubicBezTo>
                <a:cubicBezTo>
                  <a:pt x="6230" y="1932"/>
                  <a:pt x="4990" y="692"/>
                  <a:pt x="3461" y="692"/>
                </a:cubicBezTo>
                <a:cubicBezTo>
                  <a:pt x="1932" y="692"/>
                  <a:pt x="692" y="1932"/>
                  <a:pt x="692" y="3461"/>
                </a:cubicBezTo>
                <a:cubicBezTo>
                  <a:pt x="692" y="3978"/>
                  <a:pt x="836" y="4460"/>
                  <a:pt x="1082" y="4874"/>
                </a:cubicBezTo>
                <a:moveTo>
                  <a:pt x="1287" y="4767"/>
                </a:moveTo>
                <a:cubicBezTo>
                  <a:pt x="1057" y="4385"/>
                  <a:pt x="923" y="3939"/>
                  <a:pt x="923" y="3461"/>
                </a:cubicBezTo>
                <a:cubicBezTo>
                  <a:pt x="923" y="2059"/>
                  <a:pt x="2059" y="923"/>
                  <a:pt x="3461" y="923"/>
                </a:cubicBezTo>
                <a:cubicBezTo>
                  <a:pt x="4863" y="923"/>
                  <a:pt x="5999" y="2059"/>
                  <a:pt x="5999" y="3461"/>
                </a:cubicBezTo>
                <a:cubicBezTo>
                  <a:pt x="5999" y="4863"/>
                  <a:pt x="4863" y="6000"/>
                  <a:pt x="3461" y="6000"/>
                </a:cubicBezTo>
                <a:cubicBezTo>
                  <a:pt x="2983" y="6000"/>
                  <a:pt x="2537" y="5865"/>
                  <a:pt x="2155" y="5635"/>
                </a:cubicBezTo>
                <a:moveTo>
                  <a:pt x="1537" y="4734"/>
                </a:moveTo>
                <a:cubicBezTo>
                  <a:pt x="1295" y="4369"/>
                  <a:pt x="1153" y="3932"/>
                  <a:pt x="1153" y="3461"/>
                </a:cubicBezTo>
                <a:cubicBezTo>
                  <a:pt x="1153" y="2386"/>
                  <a:pt x="1891" y="1484"/>
                  <a:pt x="2887" y="1229"/>
                </a:cubicBezTo>
                <a:cubicBezTo>
                  <a:pt x="3011" y="1044"/>
                  <a:pt x="3222" y="923"/>
                  <a:pt x="3461" y="923"/>
                </a:cubicBezTo>
                <a:cubicBezTo>
                  <a:pt x="2059" y="923"/>
                  <a:pt x="923" y="2059"/>
                  <a:pt x="923" y="3461"/>
                </a:cubicBezTo>
                <a:cubicBezTo>
                  <a:pt x="923" y="3939"/>
                  <a:pt x="1057" y="4385"/>
                  <a:pt x="1287" y="4767"/>
                </a:cubicBezTo>
                <a:cubicBezTo>
                  <a:pt x="1355" y="4745"/>
                  <a:pt x="1425" y="4730"/>
                  <a:pt x="1500" y="4730"/>
                </a:cubicBezTo>
                <a:cubicBezTo>
                  <a:pt x="1512" y="4730"/>
                  <a:pt x="1524" y="4733"/>
                  <a:pt x="1537" y="4734"/>
                </a:cubicBezTo>
                <a:close/>
                <a:moveTo>
                  <a:pt x="4035" y="1229"/>
                </a:moveTo>
                <a:cubicBezTo>
                  <a:pt x="5031" y="1484"/>
                  <a:pt x="5768" y="2386"/>
                  <a:pt x="5768" y="3461"/>
                </a:cubicBezTo>
                <a:cubicBezTo>
                  <a:pt x="5768" y="4736"/>
                  <a:pt x="4735" y="5769"/>
                  <a:pt x="3461" y="5769"/>
                </a:cubicBezTo>
                <a:cubicBezTo>
                  <a:pt x="2990" y="5769"/>
                  <a:pt x="2553" y="5627"/>
                  <a:pt x="2188" y="5385"/>
                </a:cubicBezTo>
                <a:cubicBezTo>
                  <a:pt x="2189" y="5398"/>
                  <a:pt x="2192" y="5410"/>
                  <a:pt x="2192" y="5423"/>
                </a:cubicBezTo>
                <a:cubicBezTo>
                  <a:pt x="2192" y="5497"/>
                  <a:pt x="2177" y="5568"/>
                  <a:pt x="2155" y="5635"/>
                </a:cubicBezTo>
                <a:cubicBezTo>
                  <a:pt x="2537" y="5865"/>
                  <a:pt x="2983" y="6000"/>
                  <a:pt x="3461" y="6000"/>
                </a:cubicBezTo>
                <a:cubicBezTo>
                  <a:pt x="4863" y="6000"/>
                  <a:pt x="5999" y="4863"/>
                  <a:pt x="5999" y="3461"/>
                </a:cubicBezTo>
                <a:cubicBezTo>
                  <a:pt x="5999" y="2059"/>
                  <a:pt x="4863" y="923"/>
                  <a:pt x="3461" y="923"/>
                </a:cubicBezTo>
                <a:cubicBezTo>
                  <a:pt x="3700" y="923"/>
                  <a:pt x="3911" y="1044"/>
                  <a:pt x="4035" y="1229"/>
                </a:cubicBezTo>
                <a:close/>
                <a:moveTo>
                  <a:pt x="5768" y="3461"/>
                </a:moveTo>
                <a:cubicBezTo>
                  <a:pt x="5768" y="2386"/>
                  <a:pt x="5031" y="1484"/>
                  <a:pt x="4035" y="1229"/>
                </a:cubicBezTo>
                <a:cubicBezTo>
                  <a:pt x="4089" y="1309"/>
                  <a:pt x="4125" y="1402"/>
                  <a:pt x="4142" y="1501"/>
                </a:cubicBezTo>
                <a:cubicBezTo>
                  <a:pt x="4954" y="1783"/>
                  <a:pt x="5538" y="2553"/>
                  <a:pt x="5538" y="3461"/>
                </a:cubicBezTo>
                <a:cubicBezTo>
                  <a:pt x="5538" y="4608"/>
                  <a:pt x="4608" y="5538"/>
                  <a:pt x="3461" y="5538"/>
                </a:cubicBezTo>
                <a:cubicBezTo>
                  <a:pt x="2314" y="5538"/>
                  <a:pt x="1384" y="4608"/>
                  <a:pt x="1384" y="3461"/>
                </a:cubicBezTo>
                <a:cubicBezTo>
                  <a:pt x="1384" y="2553"/>
                  <a:pt x="1968" y="1783"/>
                  <a:pt x="2780" y="1501"/>
                </a:cubicBezTo>
                <a:cubicBezTo>
                  <a:pt x="2797" y="1402"/>
                  <a:pt x="2833" y="1309"/>
                  <a:pt x="2887" y="1229"/>
                </a:cubicBezTo>
                <a:cubicBezTo>
                  <a:pt x="1891" y="1484"/>
                  <a:pt x="1153" y="2386"/>
                  <a:pt x="1153" y="3461"/>
                </a:cubicBezTo>
                <a:cubicBezTo>
                  <a:pt x="1153" y="3932"/>
                  <a:pt x="1295" y="4369"/>
                  <a:pt x="1537" y="4734"/>
                </a:cubicBezTo>
                <a:cubicBezTo>
                  <a:pt x="1889" y="4753"/>
                  <a:pt x="2169" y="5033"/>
                  <a:pt x="2188" y="5385"/>
                </a:cubicBezTo>
                <a:cubicBezTo>
                  <a:pt x="2553" y="5627"/>
                  <a:pt x="2990" y="5769"/>
                  <a:pt x="3461" y="5769"/>
                </a:cubicBezTo>
                <a:cubicBezTo>
                  <a:pt x="4735" y="5769"/>
                  <a:pt x="5768" y="4736"/>
                  <a:pt x="5768" y="3461"/>
                </a:cubicBezTo>
                <a:close/>
                <a:moveTo>
                  <a:pt x="2780" y="1501"/>
                </a:moveTo>
                <a:cubicBezTo>
                  <a:pt x="1968" y="1783"/>
                  <a:pt x="1384" y="2553"/>
                  <a:pt x="1384" y="3461"/>
                </a:cubicBezTo>
                <a:cubicBezTo>
                  <a:pt x="1384" y="4608"/>
                  <a:pt x="2314" y="5538"/>
                  <a:pt x="3461" y="5538"/>
                </a:cubicBezTo>
                <a:cubicBezTo>
                  <a:pt x="4608" y="5538"/>
                  <a:pt x="5538" y="4608"/>
                  <a:pt x="5538" y="3461"/>
                </a:cubicBezTo>
                <a:cubicBezTo>
                  <a:pt x="5538" y="2553"/>
                  <a:pt x="4954" y="1783"/>
                  <a:pt x="4142" y="1501"/>
                </a:cubicBezTo>
                <a:moveTo>
                  <a:pt x="4140" y="1746"/>
                </a:moveTo>
                <a:cubicBezTo>
                  <a:pt x="4823" y="2017"/>
                  <a:pt x="5307" y="2682"/>
                  <a:pt x="5307" y="3461"/>
                </a:cubicBezTo>
                <a:cubicBezTo>
                  <a:pt x="5307" y="4481"/>
                  <a:pt x="4480" y="5307"/>
                  <a:pt x="3461" y="5307"/>
                </a:cubicBezTo>
                <a:cubicBezTo>
                  <a:pt x="2441" y="5307"/>
                  <a:pt x="1615" y="4481"/>
                  <a:pt x="1615" y="3461"/>
                </a:cubicBezTo>
                <a:cubicBezTo>
                  <a:pt x="1615" y="2682"/>
                  <a:pt x="2099" y="2017"/>
                  <a:pt x="2782" y="1746"/>
                </a:cubicBezTo>
                <a:moveTo>
                  <a:pt x="5076" y="3461"/>
                </a:moveTo>
                <a:cubicBezTo>
                  <a:pt x="5076" y="4353"/>
                  <a:pt x="4353" y="5077"/>
                  <a:pt x="3461" y="5077"/>
                </a:cubicBezTo>
                <a:cubicBezTo>
                  <a:pt x="2569" y="5077"/>
                  <a:pt x="1846" y="4353"/>
                  <a:pt x="1846" y="3461"/>
                </a:cubicBezTo>
                <a:cubicBezTo>
                  <a:pt x="1846" y="2780"/>
                  <a:pt x="2268" y="2199"/>
                  <a:pt x="2865" y="1961"/>
                </a:cubicBezTo>
                <a:cubicBezTo>
                  <a:pt x="2826" y="1895"/>
                  <a:pt x="2797" y="1823"/>
                  <a:pt x="2782" y="1746"/>
                </a:cubicBezTo>
                <a:cubicBezTo>
                  <a:pt x="2099" y="2017"/>
                  <a:pt x="1615" y="2682"/>
                  <a:pt x="1615" y="3461"/>
                </a:cubicBezTo>
                <a:cubicBezTo>
                  <a:pt x="1615" y="4481"/>
                  <a:pt x="2441" y="5307"/>
                  <a:pt x="3461" y="5307"/>
                </a:cubicBezTo>
                <a:cubicBezTo>
                  <a:pt x="4480" y="5307"/>
                  <a:pt x="5307" y="4481"/>
                  <a:pt x="5307" y="3461"/>
                </a:cubicBezTo>
                <a:cubicBezTo>
                  <a:pt x="5307" y="2682"/>
                  <a:pt x="4823" y="2017"/>
                  <a:pt x="4140" y="1746"/>
                </a:cubicBezTo>
                <a:cubicBezTo>
                  <a:pt x="4125" y="1823"/>
                  <a:pt x="4096" y="1895"/>
                  <a:pt x="4057" y="1961"/>
                </a:cubicBezTo>
                <a:cubicBezTo>
                  <a:pt x="4654" y="2199"/>
                  <a:pt x="5076" y="2780"/>
                  <a:pt x="5076" y="3461"/>
                </a:cubicBezTo>
                <a:close/>
                <a:moveTo>
                  <a:pt x="2865" y="1961"/>
                </a:moveTo>
                <a:cubicBezTo>
                  <a:pt x="2268" y="2199"/>
                  <a:pt x="1846" y="2780"/>
                  <a:pt x="1846" y="3461"/>
                </a:cubicBezTo>
                <a:cubicBezTo>
                  <a:pt x="1846" y="4353"/>
                  <a:pt x="2569" y="5077"/>
                  <a:pt x="3461" y="5077"/>
                </a:cubicBezTo>
                <a:cubicBezTo>
                  <a:pt x="4353" y="5077"/>
                  <a:pt x="5076" y="4353"/>
                  <a:pt x="5076" y="3461"/>
                </a:cubicBezTo>
                <a:cubicBezTo>
                  <a:pt x="5076" y="3728"/>
                  <a:pt x="4923" y="3958"/>
                  <a:pt x="4702" y="4073"/>
                </a:cubicBezTo>
                <a:cubicBezTo>
                  <a:pt x="4476" y="4530"/>
                  <a:pt x="4006" y="4846"/>
                  <a:pt x="3461" y="4846"/>
                </a:cubicBezTo>
                <a:cubicBezTo>
                  <a:pt x="2696" y="4846"/>
                  <a:pt x="2076" y="4226"/>
                  <a:pt x="2076" y="3461"/>
                </a:cubicBezTo>
                <a:cubicBezTo>
                  <a:pt x="2076" y="2849"/>
                  <a:pt x="2474" y="2331"/>
                  <a:pt x="3024" y="2148"/>
                </a:cubicBezTo>
                <a:moveTo>
                  <a:pt x="3898" y="2148"/>
                </a:moveTo>
                <a:cubicBezTo>
                  <a:pt x="4250" y="2265"/>
                  <a:pt x="4539" y="2520"/>
                  <a:pt x="4702" y="2850"/>
                </a:cubicBezTo>
                <a:cubicBezTo>
                  <a:pt x="4923" y="2965"/>
                  <a:pt x="5076" y="3194"/>
                  <a:pt x="5076" y="3461"/>
                </a:cubicBezTo>
                <a:cubicBezTo>
                  <a:pt x="5076" y="2780"/>
                  <a:pt x="4654" y="2199"/>
                  <a:pt x="4057" y="1961"/>
                </a:cubicBezTo>
                <a:moveTo>
                  <a:pt x="4702" y="2850"/>
                </a:moveTo>
                <a:cubicBezTo>
                  <a:pt x="4539" y="2520"/>
                  <a:pt x="4250" y="2265"/>
                  <a:pt x="3898" y="2148"/>
                </a:cubicBezTo>
                <a:cubicBezTo>
                  <a:pt x="3778" y="2246"/>
                  <a:pt x="3628" y="2308"/>
                  <a:pt x="3461" y="2308"/>
                </a:cubicBezTo>
                <a:cubicBezTo>
                  <a:pt x="3838" y="2308"/>
                  <a:pt x="4172" y="2489"/>
                  <a:pt x="4382" y="2769"/>
                </a:cubicBezTo>
                <a:cubicBezTo>
                  <a:pt x="4383" y="2769"/>
                  <a:pt x="4383" y="2769"/>
                  <a:pt x="4384" y="2769"/>
                </a:cubicBezTo>
                <a:moveTo>
                  <a:pt x="4384" y="4154"/>
                </a:moveTo>
                <a:cubicBezTo>
                  <a:pt x="4383" y="4154"/>
                  <a:pt x="4383" y="4153"/>
                  <a:pt x="4382" y="4153"/>
                </a:cubicBezTo>
                <a:cubicBezTo>
                  <a:pt x="4172" y="4433"/>
                  <a:pt x="3838" y="4615"/>
                  <a:pt x="3461" y="4615"/>
                </a:cubicBezTo>
                <a:cubicBezTo>
                  <a:pt x="2824" y="4615"/>
                  <a:pt x="2307" y="4098"/>
                  <a:pt x="2307" y="3461"/>
                </a:cubicBezTo>
                <a:cubicBezTo>
                  <a:pt x="2307" y="2824"/>
                  <a:pt x="2824" y="2308"/>
                  <a:pt x="3461" y="2308"/>
                </a:cubicBezTo>
                <a:cubicBezTo>
                  <a:pt x="3294" y="2308"/>
                  <a:pt x="3144" y="2246"/>
                  <a:pt x="3024" y="2148"/>
                </a:cubicBezTo>
                <a:cubicBezTo>
                  <a:pt x="2474" y="2331"/>
                  <a:pt x="2076" y="2849"/>
                  <a:pt x="2076" y="3461"/>
                </a:cubicBezTo>
                <a:cubicBezTo>
                  <a:pt x="2076" y="4226"/>
                  <a:pt x="2696" y="4846"/>
                  <a:pt x="3461" y="4846"/>
                </a:cubicBezTo>
                <a:cubicBezTo>
                  <a:pt x="4006" y="4846"/>
                  <a:pt x="4476" y="4530"/>
                  <a:pt x="4702" y="4073"/>
                </a:cubicBezTo>
                <a:moveTo>
                  <a:pt x="2307" y="3461"/>
                </a:moveTo>
                <a:cubicBezTo>
                  <a:pt x="2307" y="4098"/>
                  <a:pt x="2824" y="4615"/>
                  <a:pt x="3461" y="4615"/>
                </a:cubicBezTo>
                <a:cubicBezTo>
                  <a:pt x="3838" y="4615"/>
                  <a:pt x="4172" y="4433"/>
                  <a:pt x="4382" y="4153"/>
                </a:cubicBezTo>
                <a:cubicBezTo>
                  <a:pt x="4291" y="4153"/>
                  <a:pt x="4204" y="4135"/>
                  <a:pt x="4123" y="4102"/>
                </a:cubicBezTo>
                <a:cubicBezTo>
                  <a:pt x="3956" y="4275"/>
                  <a:pt x="3721" y="4384"/>
                  <a:pt x="3461" y="4384"/>
                </a:cubicBezTo>
                <a:cubicBezTo>
                  <a:pt x="2951" y="4384"/>
                  <a:pt x="2538" y="3971"/>
                  <a:pt x="2538" y="3461"/>
                </a:cubicBezTo>
                <a:cubicBezTo>
                  <a:pt x="2538" y="2952"/>
                  <a:pt x="2951" y="2538"/>
                  <a:pt x="3461" y="2538"/>
                </a:cubicBezTo>
                <a:cubicBezTo>
                  <a:pt x="3721" y="2538"/>
                  <a:pt x="3956" y="2647"/>
                  <a:pt x="4123" y="2821"/>
                </a:cubicBezTo>
                <a:cubicBezTo>
                  <a:pt x="4204" y="2788"/>
                  <a:pt x="4291" y="2769"/>
                  <a:pt x="4382" y="2769"/>
                </a:cubicBezTo>
                <a:cubicBezTo>
                  <a:pt x="4172" y="2489"/>
                  <a:pt x="3838" y="2308"/>
                  <a:pt x="3461" y="2308"/>
                </a:cubicBezTo>
                <a:cubicBezTo>
                  <a:pt x="2824" y="2308"/>
                  <a:pt x="2307" y="2824"/>
                  <a:pt x="2307" y="3461"/>
                </a:cubicBezTo>
                <a:close/>
                <a:moveTo>
                  <a:pt x="3692" y="3461"/>
                </a:moveTo>
                <a:cubicBezTo>
                  <a:pt x="3692" y="3171"/>
                  <a:pt x="3870" y="2924"/>
                  <a:pt x="4123" y="2821"/>
                </a:cubicBezTo>
                <a:cubicBezTo>
                  <a:pt x="3956" y="2647"/>
                  <a:pt x="3721" y="2538"/>
                  <a:pt x="3461" y="2538"/>
                </a:cubicBezTo>
                <a:cubicBezTo>
                  <a:pt x="2951" y="2538"/>
                  <a:pt x="2538" y="2952"/>
                  <a:pt x="2538" y="3461"/>
                </a:cubicBezTo>
                <a:cubicBezTo>
                  <a:pt x="2538" y="3971"/>
                  <a:pt x="2951" y="4384"/>
                  <a:pt x="3461" y="4384"/>
                </a:cubicBezTo>
                <a:cubicBezTo>
                  <a:pt x="3721" y="4384"/>
                  <a:pt x="3956" y="4275"/>
                  <a:pt x="4123" y="4102"/>
                </a:cubicBezTo>
                <a:cubicBezTo>
                  <a:pt x="3870" y="3999"/>
                  <a:pt x="3692" y="3751"/>
                  <a:pt x="3692" y="3461"/>
                </a:cubicBezTo>
                <a:close/>
                <a:moveTo>
                  <a:pt x="3882" y="1427"/>
                </a:moveTo>
                <a:cubicBezTo>
                  <a:pt x="3810" y="1266"/>
                  <a:pt x="3649" y="1154"/>
                  <a:pt x="3461" y="1154"/>
                </a:cubicBezTo>
                <a:cubicBezTo>
                  <a:pt x="3273" y="1154"/>
                  <a:pt x="3112" y="1266"/>
                  <a:pt x="3040" y="1427"/>
                </a:cubicBezTo>
                <a:moveTo>
                  <a:pt x="3233" y="1631"/>
                </a:moveTo>
                <a:cubicBezTo>
                  <a:pt x="3233" y="1625"/>
                  <a:pt x="3230" y="1621"/>
                  <a:pt x="3230" y="1615"/>
                </a:cubicBezTo>
                <a:cubicBezTo>
                  <a:pt x="3230" y="1488"/>
                  <a:pt x="3333" y="1385"/>
                  <a:pt x="3461" y="1385"/>
                </a:cubicBezTo>
                <a:moveTo>
                  <a:pt x="3040" y="1427"/>
                </a:moveTo>
                <a:cubicBezTo>
                  <a:pt x="3014" y="1485"/>
                  <a:pt x="2999" y="1548"/>
                  <a:pt x="2999" y="1615"/>
                </a:cubicBezTo>
                <a:cubicBezTo>
                  <a:pt x="2999" y="1635"/>
                  <a:pt x="3003" y="1655"/>
                  <a:pt x="3005" y="1674"/>
                </a:cubicBezTo>
                <a:moveTo>
                  <a:pt x="3916" y="1674"/>
                </a:moveTo>
                <a:cubicBezTo>
                  <a:pt x="3919" y="1655"/>
                  <a:pt x="3922" y="1635"/>
                  <a:pt x="3922" y="1615"/>
                </a:cubicBezTo>
                <a:cubicBezTo>
                  <a:pt x="3922" y="1548"/>
                  <a:pt x="3907" y="1485"/>
                  <a:pt x="3882" y="1427"/>
                </a:cubicBezTo>
                <a:moveTo>
                  <a:pt x="3461" y="1385"/>
                </a:moveTo>
                <a:cubicBezTo>
                  <a:pt x="3588" y="1385"/>
                  <a:pt x="3692" y="1488"/>
                  <a:pt x="3692" y="1615"/>
                </a:cubicBezTo>
                <a:cubicBezTo>
                  <a:pt x="3692" y="1621"/>
                  <a:pt x="3689" y="1625"/>
                  <a:pt x="3689" y="1631"/>
                </a:cubicBezTo>
                <a:moveTo>
                  <a:pt x="3005" y="1674"/>
                </a:moveTo>
                <a:cubicBezTo>
                  <a:pt x="3016" y="1755"/>
                  <a:pt x="3046" y="1828"/>
                  <a:pt x="3092" y="1890"/>
                </a:cubicBezTo>
                <a:moveTo>
                  <a:pt x="3461" y="1846"/>
                </a:moveTo>
                <a:cubicBezTo>
                  <a:pt x="3339" y="1846"/>
                  <a:pt x="3242" y="1751"/>
                  <a:pt x="3233" y="1631"/>
                </a:cubicBezTo>
                <a:moveTo>
                  <a:pt x="3830" y="1890"/>
                </a:moveTo>
                <a:cubicBezTo>
                  <a:pt x="3876" y="1828"/>
                  <a:pt x="3906" y="1755"/>
                  <a:pt x="3916" y="1674"/>
                </a:cubicBezTo>
                <a:moveTo>
                  <a:pt x="3689" y="1631"/>
                </a:moveTo>
                <a:cubicBezTo>
                  <a:pt x="3680" y="1751"/>
                  <a:pt x="3583" y="1846"/>
                  <a:pt x="3461" y="1846"/>
                </a:cubicBezTo>
                <a:moveTo>
                  <a:pt x="3092" y="1890"/>
                </a:moveTo>
                <a:cubicBezTo>
                  <a:pt x="3176" y="2003"/>
                  <a:pt x="3309" y="2077"/>
                  <a:pt x="3461" y="2077"/>
                </a:cubicBezTo>
                <a:cubicBezTo>
                  <a:pt x="3612" y="2077"/>
                  <a:pt x="3746" y="2003"/>
                  <a:pt x="3830" y="1890"/>
                </a:cubicBezTo>
                <a:moveTo>
                  <a:pt x="4702" y="4073"/>
                </a:moveTo>
                <a:cubicBezTo>
                  <a:pt x="4923" y="3958"/>
                  <a:pt x="5076" y="3728"/>
                  <a:pt x="5076" y="3461"/>
                </a:cubicBezTo>
                <a:cubicBezTo>
                  <a:pt x="5076" y="3194"/>
                  <a:pt x="4923" y="2965"/>
                  <a:pt x="4702" y="2850"/>
                </a:cubicBezTo>
                <a:moveTo>
                  <a:pt x="4529" y="3025"/>
                </a:moveTo>
                <a:cubicBezTo>
                  <a:pt x="4712" y="3086"/>
                  <a:pt x="4845" y="3257"/>
                  <a:pt x="4845" y="3461"/>
                </a:cubicBezTo>
                <a:moveTo>
                  <a:pt x="4529" y="3897"/>
                </a:moveTo>
                <a:cubicBezTo>
                  <a:pt x="4712" y="3836"/>
                  <a:pt x="4845" y="3665"/>
                  <a:pt x="4845" y="3461"/>
                </a:cubicBezTo>
                <a:cubicBezTo>
                  <a:pt x="4845" y="3257"/>
                  <a:pt x="4712" y="3086"/>
                  <a:pt x="4529" y="3025"/>
                </a:cubicBezTo>
                <a:moveTo>
                  <a:pt x="4615" y="3461"/>
                </a:moveTo>
                <a:cubicBezTo>
                  <a:pt x="4615" y="3589"/>
                  <a:pt x="4511" y="3692"/>
                  <a:pt x="4384" y="3692"/>
                </a:cubicBezTo>
                <a:cubicBezTo>
                  <a:pt x="4373" y="3692"/>
                  <a:pt x="4364" y="3687"/>
                  <a:pt x="4353" y="3686"/>
                </a:cubicBezTo>
                <a:moveTo>
                  <a:pt x="4265" y="3905"/>
                </a:moveTo>
                <a:cubicBezTo>
                  <a:pt x="4303" y="3916"/>
                  <a:pt x="4343" y="3923"/>
                  <a:pt x="4384" y="3923"/>
                </a:cubicBezTo>
                <a:cubicBezTo>
                  <a:pt x="4435" y="3923"/>
                  <a:pt x="4483" y="3913"/>
                  <a:pt x="4529" y="3897"/>
                </a:cubicBezTo>
                <a:moveTo>
                  <a:pt x="4529" y="3025"/>
                </a:moveTo>
                <a:cubicBezTo>
                  <a:pt x="4483" y="3010"/>
                  <a:pt x="4435" y="3000"/>
                  <a:pt x="4384" y="3000"/>
                </a:cubicBezTo>
                <a:cubicBezTo>
                  <a:pt x="4343" y="3000"/>
                  <a:pt x="4303" y="3007"/>
                  <a:pt x="4265" y="3017"/>
                </a:cubicBezTo>
                <a:moveTo>
                  <a:pt x="4353" y="3237"/>
                </a:moveTo>
                <a:cubicBezTo>
                  <a:pt x="4364" y="3235"/>
                  <a:pt x="4373" y="3231"/>
                  <a:pt x="4384" y="3231"/>
                </a:cubicBezTo>
                <a:cubicBezTo>
                  <a:pt x="4511" y="3231"/>
                  <a:pt x="4615" y="3334"/>
                  <a:pt x="4615" y="3461"/>
                </a:cubicBezTo>
                <a:moveTo>
                  <a:pt x="4353" y="3686"/>
                </a:moveTo>
                <a:cubicBezTo>
                  <a:pt x="4241" y="3670"/>
                  <a:pt x="4153" y="3578"/>
                  <a:pt x="4153" y="3461"/>
                </a:cubicBezTo>
                <a:cubicBezTo>
                  <a:pt x="4153" y="3345"/>
                  <a:pt x="4241" y="3252"/>
                  <a:pt x="4353" y="3237"/>
                </a:cubicBezTo>
                <a:moveTo>
                  <a:pt x="4265" y="3017"/>
                </a:moveTo>
                <a:cubicBezTo>
                  <a:pt x="4068" y="3070"/>
                  <a:pt x="3922" y="3248"/>
                  <a:pt x="3922" y="3461"/>
                </a:cubicBezTo>
                <a:cubicBezTo>
                  <a:pt x="3922" y="3675"/>
                  <a:pt x="4068" y="3853"/>
                  <a:pt x="4265" y="3905"/>
                </a:cubicBezTo>
                <a:moveTo>
                  <a:pt x="946" y="5835"/>
                </a:moveTo>
                <a:cubicBezTo>
                  <a:pt x="986" y="5888"/>
                  <a:pt x="1034" y="5936"/>
                  <a:pt x="1088" y="5976"/>
                </a:cubicBezTo>
                <a:cubicBezTo>
                  <a:pt x="1039" y="5930"/>
                  <a:pt x="992" y="5883"/>
                  <a:pt x="946" y="5835"/>
                </a:cubicBezTo>
                <a:close/>
                <a:moveTo>
                  <a:pt x="1116" y="5679"/>
                </a:moveTo>
                <a:cubicBezTo>
                  <a:pt x="1138" y="5712"/>
                  <a:pt x="1164" y="5742"/>
                  <a:pt x="1194" y="5768"/>
                </a:cubicBezTo>
                <a:cubicBezTo>
                  <a:pt x="1210" y="5782"/>
                  <a:pt x="1226" y="5795"/>
                  <a:pt x="1244" y="5806"/>
                </a:cubicBezTo>
                <a:moveTo>
                  <a:pt x="1364" y="5604"/>
                </a:moveTo>
                <a:cubicBezTo>
                  <a:pt x="1346" y="5591"/>
                  <a:pt x="1331" y="5576"/>
                  <a:pt x="1318" y="5558"/>
                </a:cubicBezTo>
                <a:moveTo>
                  <a:pt x="1244" y="5806"/>
                </a:moveTo>
                <a:cubicBezTo>
                  <a:pt x="1317" y="5855"/>
                  <a:pt x="1405" y="5884"/>
                  <a:pt x="1500" y="5884"/>
                </a:cubicBezTo>
                <a:cubicBezTo>
                  <a:pt x="1555" y="5884"/>
                  <a:pt x="1608" y="5873"/>
                  <a:pt x="1658" y="5855"/>
                </a:cubicBezTo>
                <a:moveTo>
                  <a:pt x="1068" y="5264"/>
                </a:moveTo>
                <a:cubicBezTo>
                  <a:pt x="1049" y="5314"/>
                  <a:pt x="1038" y="5367"/>
                  <a:pt x="1038" y="5423"/>
                </a:cubicBezTo>
                <a:cubicBezTo>
                  <a:pt x="1038" y="5517"/>
                  <a:pt x="1067" y="5605"/>
                  <a:pt x="1116" y="5679"/>
                </a:cubicBezTo>
                <a:moveTo>
                  <a:pt x="1318" y="5558"/>
                </a:moveTo>
                <a:cubicBezTo>
                  <a:pt x="1289" y="5520"/>
                  <a:pt x="1269" y="5474"/>
                  <a:pt x="1269" y="5423"/>
                </a:cubicBezTo>
                <a:cubicBezTo>
                  <a:pt x="1269" y="5353"/>
                  <a:pt x="1301" y="5293"/>
                  <a:pt x="1350" y="5251"/>
                </a:cubicBezTo>
                <a:moveTo>
                  <a:pt x="1208" y="5067"/>
                </a:moveTo>
                <a:cubicBezTo>
                  <a:pt x="1145" y="5119"/>
                  <a:pt x="1096" y="5186"/>
                  <a:pt x="1068" y="5264"/>
                </a:cubicBezTo>
                <a:moveTo>
                  <a:pt x="1658" y="5855"/>
                </a:moveTo>
                <a:cubicBezTo>
                  <a:pt x="1736" y="5826"/>
                  <a:pt x="1803" y="5777"/>
                  <a:pt x="1855" y="5714"/>
                </a:cubicBezTo>
                <a:moveTo>
                  <a:pt x="1672" y="5573"/>
                </a:moveTo>
                <a:cubicBezTo>
                  <a:pt x="1629" y="5621"/>
                  <a:pt x="1569" y="5653"/>
                  <a:pt x="1500" y="5653"/>
                </a:cubicBezTo>
                <a:cubicBezTo>
                  <a:pt x="1448" y="5653"/>
                  <a:pt x="1402" y="5633"/>
                  <a:pt x="1364" y="5604"/>
                </a:cubicBezTo>
                <a:moveTo>
                  <a:pt x="1422" y="4969"/>
                </a:moveTo>
                <a:cubicBezTo>
                  <a:pt x="1342" y="4983"/>
                  <a:pt x="1269" y="5018"/>
                  <a:pt x="1208" y="5067"/>
                </a:cubicBezTo>
                <a:moveTo>
                  <a:pt x="1855" y="5714"/>
                </a:moveTo>
                <a:cubicBezTo>
                  <a:pt x="1905" y="5653"/>
                  <a:pt x="1940" y="5581"/>
                  <a:pt x="1953" y="5500"/>
                </a:cubicBezTo>
                <a:moveTo>
                  <a:pt x="1350" y="5251"/>
                </a:moveTo>
                <a:cubicBezTo>
                  <a:pt x="1390" y="5215"/>
                  <a:pt x="1442" y="5192"/>
                  <a:pt x="1500" y="5192"/>
                </a:cubicBezTo>
                <a:cubicBezTo>
                  <a:pt x="1627" y="5192"/>
                  <a:pt x="1730" y="5295"/>
                  <a:pt x="1730" y="5423"/>
                </a:cubicBezTo>
                <a:cubicBezTo>
                  <a:pt x="1730" y="5481"/>
                  <a:pt x="1707" y="5532"/>
                  <a:pt x="1672" y="5573"/>
                </a:cubicBezTo>
                <a:moveTo>
                  <a:pt x="1953" y="5500"/>
                </a:moveTo>
                <a:cubicBezTo>
                  <a:pt x="1958" y="5475"/>
                  <a:pt x="1961" y="5449"/>
                  <a:pt x="1961" y="5423"/>
                </a:cubicBezTo>
                <a:cubicBezTo>
                  <a:pt x="1961" y="5168"/>
                  <a:pt x="1754" y="4961"/>
                  <a:pt x="1500" y="4961"/>
                </a:cubicBezTo>
                <a:cubicBezTo>
                  <a:pt x="1473" y="4961"/>
                  <a:pt x="1448" y="4965"/>
                  <a:pt x="1422" y="4969"/>
                </a:cubicBezTo>
                <a:moveTo>
                  <a:pt x="1318" y="5558"/>
                </a:moveTo>
                <a:cubicBezTo>
                  <a:pt x="1331" y="5576"/>
                  <a:pt x="1346" y="5591"/>
                  <a:pt x="1364" y="5604"/>
                </a:cubicBezTo>
                <a:cubicBezTo>
                  <a:pt x="1348" y="5589"/>
                  <a:pt x="1333" y="5574"/>
                  <a:pt x="1318" y="5558"/>
                </a:cubicBezTo>
                <a:close/>
                <a:moveTo>
                  <a:pt x="1350" y="5251"/>
                </a:moveTo>
                <a:cubicBezTo>
                  <a:pt x="1301" y="5293"/>
                  <a:pt x="1269" y="5353"/>
                  <a:pt x="1269" y="5423"/>
                </a:cubicBezTo>
                <a:cubicBezTo>
                  <a:pt x="1269" y="5474"/>
                  <a:pt x="1289" y="5520"/>
                  <a:pt x="1318" y="5558"/>
                </a:cubicBezTo>
                <a:cubicBezTo>
                  <a:pt x="1333" y="5574"/>
                  <a:pt x="1348" y="5589"/>
                  <a:pt x="1364" y="5604"/>
                </a:cubicBezTo>
                <a:cubicBezTo>
                  <a:pt x="1402" y="5633"/>
                  <a:pt x="1448" y="5653"/>
                  <a:pt x="1500" y="5653"/>
                </a:cubicBezTo>
                <a:cubicBezTo>
                  <a:pt x="1569" y="5653"/>
                  <a:pt x="1629" y="5621"/>
                  <a:pt x="1672" y="5573"/>
                </a:cubicBezTo>
                <a:moveTo>
                  <a:pt x="1672" y="5573"/>
                </a:moveTo>
                <a:cubicBezTo>
                  <a:pt x="1707" y="5532"/>
                  <a:pt x="1730" y="5481"/>
                  <a:pt x="1730" y="5423"/>
                </a:cubicBezTo>
                <a:cubicBezTo>
                  <a:pt x="1730" y="5295"/>
                  <a:pt x="1627" y="5192"/>
                  <a:pt x="1500" y="5192"/>
                </a:cubicBezTo>
                <a:cubicBezTo>
                  <a:pt x="1442" y="5192"/>
                  <a:pt x="1390" y="5215"/>
                  <a:pt x="1350" y="5251"/>
                </a:cubicBezTo>
              </a:path>
            </a:pathLst>
          </a:custGeom>
          <a:noFill/>
          <a:ln w="14288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0239" y="1245428"/>
            <a:ext cx="7872484" cy="445241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dirty="0" smtClean="0"/>
              <a:t>Insert subtitle here. Right click on slide background to set picture.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64ACAB0C-C029-4266-A772-7C7E4DC4C8A0}" type="datetime1">
              <a:rPr lang="en-GB" smtClean="0"/>
              <a:t>24/01/2018</a:t>
            </a:fld>
            <a:endParaRPr lang="en-GB"/>
          </a:p>
        </p:txBody>
      </p:sp>
      <p:cxnSp>
        <p:nvCxnSpPr>
          <p:cNvPr id="16" name="Straight Connector 15"/>
          <p:cNvCxnSpPr/>
          <p:nvPr/>
        </p:nvCxnSpPr>
        <p:spPr>
          <a:xfrm>
            <a:off x="646925" y="470735"/>
            <a:ext cx="7855798" cy="0"/>
          </a:xfrm>
          <a:prstGeom prst="line">
            <a:avLst/>
          </a:prstGeom>
          <a:ln w="381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239" y="470734"/>
            <a:ext cx="7872484" cy="698501"/>
          </a:xfrm>
        </p:spPr>
        <p:txBody>
          <a:bodyPr vert="horz" lIns="36000" tIns="0" rIns="36000" bIns="0" rtlCol="0" anchor="ctr">
            <a:normAutofit/>
          </a:bodyPr>
          <a:lstStyle>
            <a:lvl1pPr>
              <a:defRPr lang="en-US" sz="48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>
              <a:spcBef>
                <a:spcPts val="0"/>
              </a:spcBef>
              <a:buFont typeface="Arial" panose="020B0604020202020204" pitchFamily="34" charset="0"/>
            </a:pPr>
            <a:r>
              <a:rPr lang="en-US" dirty="0" smtClean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38674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B54BAEE9-E635-41A7-BAAC-95DB8C29A336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38318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F3E0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 noEditPoints="1"/>
          </p:cNvSpPr>
          <p:nvPr/>
        </p:nvSpPr>
        <p:spPr bwMode="auto">
          <a:xfrm>
            <a:off x="4999039" y="-325438"/>
            <a:ext cx="4473575" cy="4468813"/>
          </a:xfrm>
          <a:custGeom>
            <a:avLst/>
            <a:gdLst>
              <a:gd name="T0" fmla="*/ 807 w 6922"/>
              <a:gd name="T1" fmla="*/ 5423 h 6923"/>
              <a:gd name="T2" fmla="*/ 6691 w 6922"/>
              <a:gd name="T3" fmla="*/ 3461 h 6923"/>
              <a:gd name="T4" fmla="*/ 1088 w 6922"/>
              <a:gd name="T5" fmla="*/ 5976 h 6923"/>
              <a:gd name="T6" fmla="*/ 919 w 6922"/>
              <a:gd name="T7" fmla="*/ 5048 h 6923"/>
              <a:gd name="T8" fmla="*/ 3461 w 6922"/>
              <a:gd name="T9" fmla="*/ 6461 h 6923"/>
              <a:gd name="T10" fmla="*/ 6691 w 6922"/>
              <a:gd name="T11" fmla="*/ 3461 h 6923"/>
              <a:gd name="T12" fmla="*/ 1082 w 6922"/>
              <a:gd name="T13" fmla="*/ 4874 h 6923"/>
              <a:gd name="T14" fmla="*/ 3461 w 6922"/>
              <a:gd name="T15" fmla="*/ 6230 h 6923"/>
              <a:gd name="T16" fmla="*/ 6461 w 6922"/>
              <a:gd name="T17" fmla="*/ 3461 h 6923"/>
              <a:gd name="T18" fmla="*/ 1082 w 6922"/>
              <a:gd name="T19" fmla="*/ 4874 h 6923"/>
              <a:gd name="T20" fmla="*/ 3461 w 6922"/>
              <a:gd name="T21" fmla="*/ 692 h 6923"/>
              <a:gd name="T22" fmla="*/ 923 w 6922"/>
              <a:gd name="T23" fmla="*/ 3461 h 6923"/>
              <a:gd name="T24" fmla="*/ 2155 w 6922"/>
              <a:gd name="T25" fmla="*/ 5635 h 6923"/>
              <a:gd name="T26" fmla="*/ 3461 w 6922"/>
              <a:gd name="T27" fmla="*/ 923 h 6923"/>
              <a:gd name="T28" fmla="*/ 1537 w 6922"/>
              <a:gd name="T29" fmla="*/ 4734 h 6923"/>
              <a:gd name="T30" fmla="*/ 2188 w 6922"/>
              <a:gd name="T31" fmla="*/ 5385 h 6923"/>
              <a:gd name="T32" fmla="*/ 5999 w 6922"/>
              <a:gd name="T33" fmla="*/ 3461 h 6923"/>
              <a:gd name="T34" fmla="*/ 4035 w 6922"/>
              <a:gd name="T35" fmla="*/ 1229 h 6923"/>
              <a:gd name="T36" fmla="*/ 1384 w 6922"/>
              <a:gd name="T37" fmla="*/ 3461 h 6923"/>
              <a:gd name="T38" fmla="*/ 1537 w 6922"/>
              <a:gd name="T39" fmla="*/ 4734 h 6923"/>
              <a:gd name="T40" fmla="*/ 2780 w 6922"/>
              <a:gd name="T41" fmla="*/ 1501 h 6923"/>
              <a:gd name="T42" fmla="*/ 4142 w 6922"/>
              <a:gd name="T43" fmla="*/ 1501 h 6923"/>
              <a:gd name="T44" fmla="*/ 1615 w 6922"/>
              <a:gd name="T45" fmla="*/ 3461 h 6923"/>
              <a:gd name="T46" fmla="*/ 1846 w 6922"/>
              <a:gd name="T47" fmla="*/ 3461 h 6923"/>
              <a:gd name="T48" fmla="*/ 3461 w 6922"/>
              <a:gd name="T49" fmla="*/ 5307 h 6923"/>
              <a:gd name="T50" fmla="*/ 5076 w 6922"/>
              <a:gd name="T51" fmla="*/ 3461 h 6923"/>
              <a:gd name="T52" fmla="*/ 5076 w 6922"/>
              <a:gd name="T53" fmla="*/ 3461 h 6923"/>
              <a:gd name="T54" fmla="*/ 3024 w 6922"/>
              <a:gd name="T55" fmla="*/ 2148 h 6923"/>
              <a:gd name="T56" fmla="*/ 4057 w 6922"/>
              <a:gd name="T57" fmla="*/ 1961 h 6923"/>
              <a:gd name="T58" fmla="*/ 4382 w 6922"/>
              <a:gd name="T59" fmla="*/ 2769 h 6923"/>
              <a:gd name="T60" fmla="*/ 3461 w 6922"/>
              <a:gd name="T61" fmla="*/ 4615 h 6923"/>
              <a:gd name="T62" fmla="*/ 2076 w 6922"/>
              <a:gd name="T63" fmla="*/ 3461 h 6923"/>
              <a:gd name="T64" fmla="*/ 3461 w 6922"/>
              <a:gd name="T65" fmla="*/ 4615 h 6923"/>
              <a:gd name="T66" fmla="*/ 2538 w 6922"/>
              <a:gd name="T67" fmla="*/ 3461 h 6923"/>
              <a:gd name="T68" fmla="*/ 3461 w 6922"/>
              <a:gd name="T69" fmla="*/ 2308 h 6923"/>
              <a:gd name="T70" fmla="*/ 3461 w 6922"/>
              <a:gd name="T71" fmla="*/ 2538 h 6923"/>
              <a:gd name="T72" fmla="*/ 3692 w 6922"/>
              <a:gd name="T73" fmla="*/ 3461 h 6923"/>
              <a:gd name="T74" fmla="*/ 3233 w 6922"/>
              <a:gd name="T75" fmla="*/ 1631 h 6923"/>
              <a:gd name="T76" fmla="*/ 2999 w 6922"/>
              <a:gd name="T77" fmla="*/ 1615 h 6923"/>
              <a:gd name="T78" fmla="*/ 3882 w 6922"/>
              <a:gd name="T79" fmla="*/ 1427 h 6923"/>
              <a:gd name="T80" fmla="*/ 3005 w 6922"/>
              <a:gd name="T81" fmla="*/ 1674 h 6923"/>
              <a:gd name="T82" fmla="*/ 3830 w 6922"/>
              <a:gd name="T83" fmla="*/ 1890 h 6923"/>
              <a:gd name="T84" fmla="*/ 3092 w 6922"/>
              <a:gd name="T85" fmla="*/ 1890 h 6923"/>
              <a:gd name="T86" fmla="*/ 5076 w 6922"/>
              <a:gd name="T87" fmla="*/ 3461 h 6923"/>
              <a:gd name="T88" fmla="*/ 4529 w 6922"/>
              <a:gd name="T89" fmla="*/ 3897 h 6923"/>
              <a:gd name="T90" fmla="*/ 4384 w 6922"/>
              <a:gd name="T91" fmla="*/ 3692 h 6923"/>
              <a:gd name="T92" fmla="*/ 4529 w 6922"/>
              <a:gd name="T93" fmla="*/ 3897 h 6923"/>
              <a:gd name="T94" fmla="*/ 4353 w 6922"/>
              <a:gd name="T95" fmla="*/ 3237 h 6923"/>
              <a:gd name="T96" fmla="*/ 4153 w 6922"/>
              <a:gd name="T97" fmla="*/ 3461 h 6923"/>
              <a:gd name="T98" fmla="*/ 4265 w 6922"/>
              <a:gd name="T99" fmla="*/ 3905 h 6923"/>
              <a:gd name="T100" fmla="*/ 1116 w 6922"/>
              <a:gd name="T101" fmla="*/ 5679 h 6923"/>
              <a:gd name="T102" fmla="*/ 1318 w 6922"/>
              <a:gd name="T103" fmla="*/ 5558 h 6923"/>
              <a:gd name="T104" fmla="*/ 1068 w 6922"/>
              <a:gd name="T105" fmla="*/ 5264 h 6923"/>
              <a:gd name="T106" fmla="*/ 1269 w 6922"/>
              <a:gd name="T107" fmla="*/ 5423 h 6923"/>
              <a:gd name="T108" fmla="*/ 1658 w 6922"/>
              <a:gd name="T109" fmla="*/ 5855 h 6923"/>
              <a:gd name="T110" fmla="*/ 1364 w 6922"/>
              <a:gd name="T111" fmla="*/ 5604 h 6923"/>
              <a:gd name="T112" fmla="*/ 1953 w 6922"/>
              <a:gd name="T113" fmla="*/ 5500 h 6923"/>
              <a:gd name="T114" fmla="*/ 1672 w 6922"/>
              <a:gd name="T115" fmla="*/ 5573 h 6923"/>
              <a:gd name="T116" fmla="*/ 1422 w 6922"/>
              <a:gd name="T117" fmla="*/ 4969 h 6923"/>
              <a:gd name="T118" fmla="*/ 1350 w 6922"/>
              <a:gd name="T119" fmla="*/ 5251 h 6923"/>
              <a:gd name="T120" fmla="*/ 1500 w 6922"/>
              <a:gd name="T121" fmla="*/ 5653 h 6923"/>
              <a:gd name="T122" fmla="*/ 1500 w 6922"/>
              <a:gd name="T123" fmla="*/ 5192 h 6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22" h="6923">
                <a:moveTo>
                  <a:pt x="3461" y="0"/>
                </a:moveTo>
                <a:cubicBezTo>
                  <a:pt x="1549" y="0"/>
                  <a:pt x="0" y="1550"/>
                  <a:pt x="0" y="3461"/>
                </a:cubicBezTo>
                <a:cubicBezTo>
                  <a:pt x="0" y="4381"/>
                  <a:pt x="361" y="5215"/>
                  <a:pt x="946" y="5835"/>
                </a:cubicBezTo>
                <a:cubicBezTo>
                  <a:pt x="860" y="5719"/>
                  <a:pt x="807" y="5578"/>
                  <a:pt x="807" y="5423"/>
                </a:cubicBezTo>
                <a:cubicBezTo>
                  <a:pt x="807" y="5386"/>
                  <a:pt x="813" y="5351"/>
                  <a:pt x="818" y="5316"/>
                </a:cubicBezTo>
                <a:cubicBezTo>
                  <a:pt x="449" y="4790"/>
                  <a:pt x="230" y="4152"/>
                  <a:pt x="230" y="3461"/>
                </a:cubicBezTo>
                <a:cubicBezTo>
                  <a:pt x="230" y="1677"/>
                  <a:pt x="1677" y="231"/>
                  <a:pt x="3461" y="231"/>
                </a:cubicBezTo>
                <a:cubicBezTo>
                  <a:pt x="5245" y="231"/>
                  <a:pt x="6691" y="1677"/>
                  <a:pt x="6691" y="3461"/>
                </a:cubicBezTo>
                <a:cubicBezTo>
                  <a:pt x="6691" y="5245"/>
                  <a:pt x="5245" y="6692"/>
                  <a:pt x="3461" y="6692"/>
                </a:cubicBezTo>
                <a:cubicBezTo>
                  <a:pt x="2770" y="6692"/>
                  <a:pt x="2132" y="6473"/>
                  <a:pt x="1607" y="6104"/>
                </a:cubicBezTo>
                <a:cubicBezTo>
                  <a:pt x="1571" y="6110"/>
                  <a:pt x="1536" y="6115"/>
                  <a:pt x="1500" y="6115"/>
                </a:cubicBezTo>
                <a:cubicBezTo>
                  <a:pt x="1345" y="6115"/>
                  <a:pt x="1203" y="6062"/>
                  <a:pt x="1088" y="5976"/>
                </a:cubicBezTo>
                <a:cubicBezTo>
                  <a:pt x="1707" y="6561"/>
                  <a:pt x="2541" y="6923"/>
                  <a:pt x="3461" y="6923"/>
                </a:cubicBezTo>
                <a:cubicBezTo>
                  <a:pt x="5373" y="6923"/>
                  <a:pt x="6922" y="5373"/>
                  <a:pt x="6922" y="3461"/>
                </a:cubicBezTo>
                <a:cubicBezTo>
                  <a:pt x="6922" y="1550"/>
                  <a:pt x="5373" y="0"/>
                  <a:pt x="3461" y="0"/>
                </a:cubicBezTo>
                <a:close/>
                <a:moveTo>
                  <a:pt x="919" y="5048"/>
                </a:moveTo>
                <a:cubicBezTo>
                  <a:pt x="630" y="4588"/>
                  <a:pt x="461" y="4045"/>
                  <a:pt x="461" y="3461"/>
                </a:cubicBezTo>
                <a:cubicBezTo>
                  <a:pt x="461" y="1805"/>
                  <a:pt x="1804" y="462"/>
                  <a:pt x="3461" y="462"/>
                </a:cubicBezTo>
                <a:cubicBezTo>
                  <a:pt x="5118" y="462"/>
                  <a:pt x="6461" y="1805"/>
                  <a:pt x="6461" y="3461"/>
                </a:cubicBezTo>
                <a:cubicBezTo>
                  <a:pt x="6461" y="5118"/>
                  <a:pt x="5118" y="6461"/>
                  <a:pt x="3461" y="6461"/>
                </a:cubicBezTo>
                <a:cubicBezTo>
                  <a:pt x="2877" y="6461"/>
                  <a:pt x="2335" y="6292"/>
                  <a:pt x="1874" y="6004"/>
                </a:cubicBezTo>
                <a:moveTo>
                  <a:pt x="1607" y="6104"/>
                </a:moveTo>
                <a:cubicBezTo>
                  <a:pt x="2132" y="6473"/>
                  <a:pt x="2770" y="6692"/>
                  <a:pt x="3461" y="6692"/>
                </a:cubicBezTo>
                <a:cubicBezTo>
                  <a:pt x="5245" y="6692"/>
                  <a:pt x="6691" y="5245"/>
                  <a:pt x="6691" y="3461"/>
                </a:cubicBezTo>
                <a:cubicBezTo>
                  <a:pt x="6691" y="1677"/>
                  <a:pt x="5245" y="231"/>
                  <a:pt x="3461" y="231"/>
                </a:cubicBezTo>
                <a:cubicBezTo>
                  <a:pt x="1677" y="231"/>
                  <a:pt x="230" y="1677"/>
                  <a:pt x="230" y="3461"/>
                </a:cubicBezTo>
                <a:cubicBezTo>
                  <a:pt x="230" y="4152"/>
                  <a:pt x="449" y="4790"/>
                  <a:pt x="818" y="5316"/>
                </a:cubicBezTo>
                <a:moveTo>
                  <a:pt x="1082" y="4874"/>
                </a:moveTo>
                <a:cubicBezTo>
                  <a:pt x="836" y="4460"/>
                  <a:pt x="692" y="3978"/>
                  <a:pt x="692" y="3461"/>
                </a:cubicBezTo>
                <a:cubicBezTo>
                  <a:pt x="692" y="1932"/>
                  <a:pt x="1932" y="692"/>
                  <a:pt x="3461" y="692"/>
                </a:cubicBezTo>
                <a:cubicBezTo>
                  <a:pt x="4990" y="692"/>
                  <a:pt x="6230" y="1932"/>
                  <a:pt x="6230" y="3461"/>
                </a:cubicBezTo>
                <a:cubicBezTo>
                  <a:pt x="6230" y="4991"/>
                  <a:pt x="4990" y="6230"/>
                  <a:pt x="3461" y="6230"/>
                </a:cubicBezTo>
                <a:cubicBezTo>
                  <a:pt x="2944" y="6230"/>
                  <a:pt x="2462" y="6086"/>
                  <a:pt x="2049" y="5840"/>
                </a:cubicBezTo>
                <a:cubicBezTo>
                  <a:pt x="2000" y="5904"/>
                  <a:pt x="1942" y="5960"/>
                  <a:pt x="1874" y="6004"/>
                </a:cubicBezTo>
                <a:cubicBezTo>
                  <a:pt x="2335" y="6292"/>
                  <a:pt x="2877" y="6461"/>
                  <a:pt x="3461" y="6461"/>
                </a:cubicBezTo>
                <a:cubicBezTo>
                  <a:pt x="5118" y="6461"/>
                  <a:pt x="6461" y="5118"/>
                  <a:pt x="6461" y="3461"/>
                </a:cubicBezTo>
                <a:cubicBezTo>
                  <a:pt x="6461" y="1805"/>
                  <a:pt x="5118" y="462"/>
                  <a:pt x="3461" y="462"/>
                </a:cubicBezTo>
                <a:cubicBezTo>
                  <a:pt x="1804" y="462"/>
                  <a:pt x="461" y="1805"/>
                  <a:pt x="461" y="3461"/>
                </a:cubicBezTo>
                <a:cubicBezTo>
                  <a:pt x="461" y="4045"/>
                  <a:pt x="630" y="4588"/>
                  <a:pt x="919" y="5048"/>
                </a:cubicBezTo>
                <a:cubicBezTo>
                  <a:pt x="962" y="4981"/>
                  <a:pt x="1018" y="4922"/>
                  <a:pt x="1082" y="4874"/>
                </a:cubicBezTo>
                <a:close/>
                <a:moveTo>
                  <a:pt x="2049" y="5840"/>
                </a:moveTo>
                <a:cubicBezTo>
                  <a:pt x="2462" y="6086"/>
                  <a:pt x="2944" y="6230"/>
                  <a:pt x="3461" y="6230"/>
                </a:cubicBezTo>
                <a:cubicBezTo>
                  <a:pt x="4990" y="6230"/>
                  <a:pt x="6230" y="4991"/>
                  <a:pt x="6230" y="3461"/>
                </a:cubicBezTo>
                <a:cubicBezTo>
                  <a:pt x="6230" y="1932"/>
                  <a:pt x="4990" y="692"/>
                  <a:pt x="3461" y="692"/>
                </a:cubicBezTo>
                <a:cubicBezTo>
                  <a:pt x="1932" y="692"/>
                  <a:pt x="692" y="1932"/>
                  <a:pt x="692" y="3461"/>
                </a:cubicBezTo>
                <a:cubicBezTo>
                  <a:pt x="692" y="3978"/>
                  <a:pt x="836" y="4460"/>
                  <a:pt x="1082" y="4874"/>
                </a:cubicBezTo>
                <a:moveTo>
                  <a:pt x="1287" y="4767"/>
                </a:moveTo>
                <a:cubicBezTo>
                  <a:pt x="1057" y="4385"/>
                  <a:pt x="923" y="3939"/>
                  <a:pt x="923" y="3461"/>
                </a:cubicBezTo>
                <a:cubicBezTo>
                  <a:pt x="923" y="2059"/>
                  <a:pt x="2059" y="923"/>
                  <a:pt x="3461" y="923"/>
                </a:cubicBezTo>
                <a:cubicBezTo>
                  <a:pt x="4863" y="923"/>
                  <a:pt x="5999" y="2059"/>
                  <a:pt x="5999" y="3461"/>
                </a:cubicBezTo>
                <a:cubicBezTo>
                  <a:pt x="5999" y="4863"/>
                  <a:pt x="4863" y="6000"/>
                  <a:pt x="3461" y="6000"/>
                </a:cubicBezTo>
                <a:cubicBezTo>
                  <a:pt x="2983" y="6000"/>
                  <a:pt x="2537" y="5865"/>
                  <a:pt x="2155" y="5635"/>
                </a:cubicBezTo>
                <a:moveTo>
                  <a:pt x="1537" y="4734"/>
                </a:moveTo>
                <a:cubicBezTo>
                  <a:pt x="1295" y="4369"/>
                  <a:pt x="1153" y="3932"/>
                  <a:pt x="1153" y="3461"/>
                </a:cubicBezTo>
                <a:cubicBezTo>
                  <a:pt x="1153" y="2386"/>
                  <a:pt x="1891" y="1484"/>
                  <a:pt x="2887" y="1229"/>
                </a:cubicBezTo>
                <a:cubicBezTo>
                  <a:pt x="3011" y="1044"/>
                  <a:pt x="3222" y="923"/>
                  <a:pt x="3461" y="923"/>
                </a:cubicBezTo>
                <a:cubicBezTo>
                  <a:pt x="2059" y="923"/>
                  <a:pt x="923" y="2059"/>
                  <a:pt x="923" y="3461"/>
                </a:cubicBezTo>
                <a:cubicBezTo>
                  <a:pt x="923" y="3939"/>
                  <a:pt x="1057" y="4385"/>
                  <a:pt x="1287" y="4767"/>
                </a:cubicBezTo>
                <a:cubicBezTo>
                  <a:pt x="1355" y="4745"/>
                  <a:pt x="1425" y="4730"/>
                  <a:pt x="1500" y="4730"/>
                </a:cubicBezTo>
                <a:cubicBezTo>
                  <a:pt x="1512" y="4730"/>
                  <a:pt x="1524" y="4733"/>
                  <a:pt x="1537" y="4734"/>
                </a:cubicBezTo>
                <a:close/>
                <a:moveTo>
                  <a:pt x="4035" y="1229"/>
                </a:moveTo>
                <a:cubicBezTo>
                  <a:pt x="5031" y="1484"/>
                  <a:pt x="5768" y="2386"/>
                  <a:pt x="5768" y="3461"/>
                </a:cubicBezTo>
                <a:cubicBezTo>
                  <a:pt x="5768" y="4736"/>
                  <a:pt x="4735" y="5769"/>
                  <a:pt x="3461" y="5769"/>
                </a:cubicBezTo>
                <a:cubicBezTo>
                  <a:pt x="2990" y="5769"/>
                  <a:pt x="2553" y="5627"/>
                  <a:pt x="2188" y="5385"/>
                </a:cubicBezTo>
                <a:cubicBezTo>
                  <a:pt x="2189" y="5398"/>
                  <a:pt x="2192" y="5410"/>
                  <a:pt x="2192" y="5423"/>
                </a:cubicBezTo>
                <a:cubicBezTo>
                  <a:pt x="2192" y="5497"/>
                  <a:pt x="2177" y="5568"/>
                  <a:pt x="2155" y="5635"/>
                </a:cubicBezTo>
                <a:cubicBezTo>
                  <a:pt x="2537" y="5865"/>
                  <a:pt x="2983" y="6000"/>
                  <a:pt x="3461" y="6000"/>
                </a:cubicBezTo>
                <a:cubicBezTo>
                  <a:pt x="4863" y="6000"/>
                  <a:pt x="5999" y="4863"/>
                  <a:pt x="5999" y="3461"/>
                </a:cubicBezTo>
                <a:cubicBezTo>
                  <a:pt x="5999" y="2059"/>
                  <a:pt x="4863" y="923"/>
                  <a:pt x="3461" y="923"/>
                </a:cubicBezTo>
                <a:cubicBezTo>
                  <a:pt x="3700" y="923"/>
                  <a:pt x="3911" y="1044"/>
                  <a:pt x="4035" y="1229"/>
                </a:cubicBezTo>
                <a:close/>
                <a:moveTo>
                  <a:pt x="5768" y="3461"/>
                </a:moveTo>
                <a:cubicBezTo>
                  <a:pt x="5768" y="2386"/>
                  <a:pt x="5031" y="1484"/>
                  <a:pt x="4035" y="1229"/>
                </a:cubicBezTo>
                <a:cubicBezTo>
                  <a:pt x="4089" y="1309"/>
                  <a:pt x="4125" y="1402"/>
                  <a:pt x="4142" y="1501"/>
                </a:cubicBezTo>
                <a:cubicBezTo>
                  <a:pt x="4954" y="1783"/>
                  <a:pt x="5538" y="2553"/>
                  <a:pt x="5538" y="3461"/>
                </a:cubicBezTo>
                <a:cubicBezTo>
                  <a:pt x="5538" y="4608"/>
                  <a:pt x="4608" y="5538"/>
                  <a:pt x="3461" y="5538"/>
                </a:cubicBezTo>
                <a:cubicBezTo>
                  <a:pt x="2314" y="5538"/>
                  <a:pt x="1384" y="4608"/>
                  <a:pt x="1384" y="3461"/>
                </a:cubicBezTo>
                <a:cubicBezTo>
                  <a:pt x="1384" y="2553"/>
                  <a:pt x="1968" y="1783"/>
                  <a:pt x="2780" y="1501"/>
                </a:cubicBezTo>
                <a:cubicBezTo>
                  <a:pt x="2797" y="1402"/>
                  <a:pt x="2833" y="1309"/>
                  <a:pt x="2887" y="1229"/>
                </a:cubicBezTo>
                <a:cubicBezTo>
                  <a:pt x="1891" y="1484"/>
                  <a:pt x="1153" y="2386"/>
                  <a:pt x="1153" y="3461"/>
                </a:cubicBezTo>
                <a:cubicBezTo>
                  <a:pt x="1153" y="3932"/>
                  <a:pt x="1295" y="4369"/>
                  <a:pt x="1537" y="4734"/>
                </a:cubicBezTo>
                <a:cubicBezTo>
                  <a:pt x="1889" y="4753"/>
                  <a:pt x="2169" y="5033"/>
                  <a:pt x="2188" y="5385"/>
                </a:cubicBezTo>
                <a:cubicBezTo>
                  <a:pt x="2553" y="5627"/>
                  <a:pt x="2990" y="5769"/>
                  <a:pt x="3461" y="5769"/>
                </a:cubicBezTo>
                <a:cubicBezTo>
                  <a:pt x="4735" y="5769"/>
                  <a:pt x="5768" y="4736"/>
                  <a:pt x="5768" y="3461"/>
                </a:cubicBezTo>
                <a:close/>
                <a:moveTo>
                  <a:pt x="2780" y="1501"/>
                </a:moveTo>
                <a:cubicBezTo>
                  <a:pt x="1968" y="1783"/>
                  <a:pt x="1384" y="2553"/>
                  <a:pt x="1384" y="3461"/>
                </a:cubicBezTo>
                <a:cubicBezTo>
                  <a:pt x="1384" y="4608"/>
                  <a:pt x="2314" y="5538"/>
                  <a:pt x="3461" y="5538"/>
                </a:cubicBezTo>
                <a:cubicBezTo>
                  <a:pt x="4608" y="5538"/>
                  <a:pt x="5538" y="4608"/>
                  <a:pt x="5538" y="3461"/>
                </a:cubicBezTo>
                <a:cubicBezTo>
                  <a:pt x="5538" y="2553"/>
                  <a:pt x="4954" y="1783"/>
                  <a:pt x="4142" y="1501"/>
                </a:cubicBezTo>
                <a:moveTo>
                  <a:pt x="4140" y="1746"/>
                </a:moveTo>
                <a:cubicBezTo>
                  <a:pt x="4823" y="2017"/>
                  <a:pt x="5307" y="2682"/>
                  <a:pt x="5307" y="3461"/>
                </a:cubicBezTo>
                <a:cubicBezTo>
                  <a:pt x="5307" y="4481"/>
                  <a:pt x="4480" y="5307"/>
                  <a:pt x="3461" y="5307"/>
                </a:cubicBezTo>
                <a:cubicBezTo>
                  <a:pt x="2441" y="5307"/>
                  <a:pt x="1615" y="4481"/>
                  <a:pt x="1615" y="3461"/>
                </a:cubicBezTo>
                <a:cubicBezTo>
                  <a:pt x="1615" y="2682"/>
                  <a:pt x="2099" y="2017"/>
                  <a:pt x="2782" y="1746"/>
                </a:cubicBezTo>
                <a:moveTo>
                  <a:pt x="5076" y="3461"/>
                </a:moveTo>
                <a:cubicBezTo>
                  <a:pt x="5076" y="4353"/>
                  <a:pt x="4353" y="5077"/>
                  <a:pt x="3461" y="5077"/>
                </a:cubicBezTo>
                <a:cubicBezTo>
                  <a:pt x="2569" y="5077"/>
                  <a:pt x="1846" y="4353"/>
                  <a:pt x="1846" y="3461"/>
                </a:cubicBezTo>
                <a:cubicBezTo>
                  <a:pt x="1846" y="2780"/>
                  <a:pt x="2268" y="2199"/>
                  <a:pt x="2865" y="1961"/>
                </a:cubicBezTo>
                <a:cubicBezTo>
                  <a:pt x="2826" y="1895"/>
                  <a:pt x="2797" y="1823"/>
                  <a:pt x="2782" y="1746"/>
                </a:cubicBezTo>
                <a:cubicBezTo>
                  <a:pt x="2099" y="2017"/>
                  <a:pt x="1615" y="2682"/>
                  <a:pt x="1615" y="3461"/>
                </a:cubicBezTo>
                <a:cubicBezTo>
                  <a:pt x="1615" y="4481"/>
                  <a:pt x="2441" y="5307"/>
                  <a:pt x="3461" y="5307"/>
                </a:cubicBezTo>
                <a:cubicBezTo>
                  <a:pt x="4480" y="5307"/>
                  <a:pt x="5307" y="4481"/>
                  <a:pt x="5307" y="3461"/>
                </a:cubicBezTo>
                <a:cubicBezTo>
                  <a:pt x="5307" y="2682"/>
                  <a:pt x="4823" y="2017"/>
                  <a:pt x="4140" y="1746"/>
                </a:cubicBezTo>
                <a:cubicBezTo>
                  <a:pt x="4125" y="1823"/>
                  <a:pt x="4096" y="1895"/>
                  <a:pt x="4057" y="1961"/>
                </a:cubicBezTo>
                <a:cubicBezTo>
                  <a:pt x="4654" y="2199"/>
                  <a:pt x="5076" y="2780"/>
                  <a:pt x="5076" y="3461"/>
                </a:cubicBezTo>
                <a:close/>
                <a:moveTo>
                  <a:pt x="2865" y="1961"/>
                </a:moveTo>
                <a:cubicBezTo>
                  <a:pt x="2268" y="2199"/>
                  <a:pt x="1846" y="2780"/>
                  <a:pt x="1846" y="3461"/>
                </a:cubicBezTo>
                <a:cubicBezTo>
                  <a:pt x="1846" y="4353"/>
                  <a:pt x="2569" y="5077"/>
                  <a:pt x="3461" y="5077"/>
                </a:cubicBezTo>
                <a:cubicBezTo>
                  <a:pt x="4353" y="5077"/>
                  <a:pt x="5076" y="4353"/>
                  <a:pt x="5076" y="3461"/>
                </a:cubicBezTo>
                <a:cubicBezTo>
                  <a:pt x="5076" y="3728"/>
                  <a:pt x="4923" y="3958"/>
                  <a:pt x="4702" y="4073"/>
                </a:cubicBezTo>
                <a:cubicBezTo>
                  <a:pt x="4476" y="4530"/>
                  <a:pt x="4006" y="4846"/>
                  <a:pt x="3461" y="4846"/>
                </a:cubicBezTo>
                <a:cubicBezTo>
                  <a:pt x="2696" y="4846"/>
                  <a:pt x="2076" y="4226"/>
                  <a:pt x="2076" y="3461"/>
                </a:cubicBezTo>
                <a:cubicBezTo>
                  <a:pt x="2076" y="2849"/>
                  <a:pt x="2474" y="2331"/>
                  <a:pt x="3024" y="2148"/>
                </a:cubicBezTo>
                <a:moveTo>
                  <a:pt x="3898" y="2148"/>
                </a:moveTo>
                <a:cubicBezTo>
                  <a:pt x="4250" y="2265"/>
                  <a:pt x="4539" y="2520"/>
                  <a:pt x="4702" y="2850"/>
                </a:cubicBezTo>
                <a:cubicBezTo>
                  <a:pt x="4923" y="2965"/>
                  <a:pt x="5076" y="3194"/>
                  <a:pt x="5076" y="3461"/>
                </a:cubicBezTo>
                <a:cubicBezTo>
                  <a:pt x="5076" y="2780"/>
                  <a:pt x="4654" y="2199"/>
                  <a:pt x="4057" y="1961"/>
                </a:cubicBezTo>
                <a:moveTo>
                  <a:pt x="4702" y="2850"/>
                </a:moveTo>
                <a:cubicBezTo>
                  <a:pt x="4539" y="2520"/>
                  <a:pt x="4250" y="2265"/>
                  <a:pt x="3898" y="2148"/>
                </a:cubicBezTo>
                <a:cubicBezTo>
                  <a:pt x="3778" y="2246"/>
                  <a:pt x="3628" y="2308"/>
                  <a:pt x="3461" y="2308"/>
                </a:cubicBezTo>
                <a:cubicBezTo>
                  <a:pt x="3838" y="2308"/>
                  <a:pt x="4172" y="2489"/>
                  <a:pt x="4382" y="2769"/>
                </a:cubicBezTo>
                <a:cubicBezTo>
                  <a:pt x="4383" y="2769"/>
                  <a:pt x="4383" y="2769"/>
                  <a:pt x="4384" y="2769"/>
                </a:cubicBezTo>
                <a:moveTo>
                  <a:pt x="4384" y="4154"/>
                </a:moveTo>
                <a:cubicBezTo>
                  <a:pt x="4383" y="4154"/>
                  <a:pt x="4383" y="4153"/>
                  <a:pt x="4382" y="4153"/>
                </a:cubicBezTo>
                <a:cubicBezTo>
                  <a:pt x="4172" y="4433"/>
                  <a:pt x="3838" y="4615"/>
                  <a:pt x="3461" y="4615"/>
                </a:cubicBezTo>
                <a:cubicBezTo>
                  <a:pt x="2824" y="4615"/>
                  <a:pt x="2307" y="4098"/>
                  <a:pt x="2307" y="3461"/>
                </a:cubicBezTo>
                <a:cubicBezTo>
                  <a:pt x="2307" y="2824"/>
                  <a:pt x="2824" y="2308"/>
                  <a:pt x="3461" y="2308"/>
                </a:cubicBezTo>
                <a:cubicBezTo>
                  <a:pt x="3294" y="2308"/>
                  <a:pt x="3144" y="2246"/>
                  <a:pt x="3024" y="2148"/>
                </a:cubicBezTo>
                <a:cubicBezTo>
                  <a:pt x="2474" y="2331"/>
                  <a:pt x="2076" y="2849"/>
                  <a:pt x="2076" y="3461"/>
                </a:cubicBezTo>
                <a:cubicBezTo>
                  <a:pt x="2076" y="4226"/>
                  <a:pt x="2696" y="4846"/>
                  <a:pt x="3461" y="4846"/>
                </a:cubicBezTo>
                <a:cubicBezTo>
                  <a:pt x="4006" y="4846"/>
                  <a:pt x="4476" y="4530"/>
                  <a:pt x="4702" y="4073"/>
                </a:cubicBezTo>
                <a:moveTo>
                  <a:pt x="2307" y="3461"/>
                </a:moveTo>
                <a:cubicBezTo>
                  <a:pt x="2307" y="4098"/>
                  <a:pt x="2824" y="4615"/>
                  <a:pt x="3461" y="4615"/>
                </a:cubicBezTo>
                <a:cubicBezTo>
                  <a:pt x="3838" y="4615"/>
                  <a:pt x="4172" y="4433"/>
                  <a:pt x="4382" y="4153"/>
                </a:cubicBezTo>
                <a:cubicBezTo>
                  <a:pt x="4291" y="4153"/>
                  <a:pt x="4204" y="4135"/>
                  <a:pt x="4123" y="4102"/>
                </a:cubicBezTo>
                <a:cubicBezTo>
                  <a:pt x="3956" y="4275"/>
                  <a:pt x="3721" y="4384"/>
                  <a:pt x="3461" y="4384"/>
                </a:cubicBezTo>
                <a:cubicBezTo>
                  <a:pt x="2951" y="4384"/>
                  <a:pt x="2538" y="3971"/>
                  <a:pt x="2538" y="3461"/>
                </a:cubicBezTo>
                <a:cubicBezTo>
                  <a:pt x="2538" y="2952"/>
                  <a:pt x="2951" y="2538"/>
                  <a:pt x="3461" y="2538"/>
                </a:cubicBezTo>
                <a:cubicBezTo>
                  <a:pt x="3721" y="2538"/>
                  <a:pt x="3956" y="2647"/>
                  <a:pt x="4123" y="2821"/>
                </a:cubicBezTo>
                <a:cubicBezTo>
                  <a:pt x="4204" y="2788"/>
                  <a:pt x="4291" y="2769"/>
                  <a:pt x="4382" y="2769"/>
                </a:cubicBezTo>
                <a:cubicBezTo>
                  <a:pt x="4172" y="2489"/>
                  <a:pt x="3838" y="2308"/>
                  <a:pt x="3461" y="2308"/>
                </a:cubicBezTo>
                <a:cubicBezTo>
                  <a:pt x="2824" y="2308"/>
                  <a:pt x="2307" y="2824"/>
                  <a:pt x="2307" y="3461"/>
                </a:cubicBezTo>
                <a:close/>
                <a:moveTo>
                  <a:pt x="3692" y="3461"/>
                </a:moveTo>
                <a:cubicBezTo>
                  <a:pt x="3692" y="3171"/>
                  <a:pt x="3870" y="2924"/>
                  <a:pt x="4123" y="2821"/>
                </a:cubicBezTo>
                <a:cubicBezTo>
                  <a:pt x="3956" y="2647"/>
                  <a:pt x="3721" y="2538"/>
                  <a:pt x="3461" y="2538"/>
                </a:cubicBezTo>
                <a:cubicBezTo>
                  <a:pt x="2951" y="2538"/>
                  <a:pt x="2538" y="2952"/>
                  <a:pt x="2538" y="3461"/>
                </a:cubicBezTo>
                <a:cubicBezTo>
                  <a:pt x="2538" y="3971"/>
                  <a:pt x="2951" y="4384"/>
                  <a:pt x="3461" y="4384"/>
                </a:cubicBezTo>
                <a:cubicBezTo>
                  <a:pt x="3721" y="4384"/>
                  <a:pt x="3956" y="4275"/>
                  <a:pt x="4123" y="4102"/>
                </a:cubicBezTo>
                <a:cubicBezTo>
                  <a:pt x="3870" y="3999"/>
                  <a:pt x="3692" y="3751"/>
                  <a:pt x="3692" y="3461"/>
                </a:cubicBezTo>
                <a:close/>
                <a:moveTo>
                  <a:pt x="3882" y="1427"/>
                </a:moveTo>
                <a:cubicBezTo>
                  <a:pt x="3810" y="1266"/>
                  <a:pt x="3649" y="1154"/>
                  <a:pt x="3461" y="1154"/>
                </a:cubicBezTo>
                <a:cubicBezTo>
                  <a:pt x="3273" y="1154"/>
                  <a:pt x="3112" y="1266"/>
                  <a:pt x="3040" y="1427"/>
                </a:cubicBezTo>
                <a:moveTo>
                  <a:pt x="3233" y="1631"/>
                </a:moveTo>
                <a:cubicBezTo>
                  <a:pt x="3233" y="1625"/>
                  <a:pt x="3230" y="1621"/>
                  <a:pt x="3230" y="1615"/>
                </a:cubicBezTo>
                <a:cubicBezTo>
                  <a:pt x="3230" y="1488"/>
                  <a:pt x="3333" y="1385"/>
                  <a:pt x="3461" y="1385"/>
                </a:cubicBezTo>
                <a:moveTo>
                  <a:pt x="3040" y="1427"/>
                </a:moveTo>
                <a:cubicBezTo>
                  <a:pt x="3014" y="1485"/>
                  <a:pt x="2999" y="1548"/>
                  <a:pt x="2999" y="1615"/>
                </a:cubicBezTo>
                <a:cubicBezTo>
                  <a:pt x="2999" y="1635"/>
                  <a:pt x="3003" y="1655"/>
                  <a:pt x="3005" y="1674"/>
                </a:cubicBezTo>
                <a:moveTo>
                  <a:pt x="3916" y="1674"/>
                </a:moveTo>
                <a:cubicBezTo>
                  <a:pt x="3919" y="1655"/>
                  <a:pt x="3922" y="1635"/>
                  <a:pt x="3922" y="1615"/>
                </a:cubicBezTo>
                <a:cubicBezTo>
                  <a:pt x="3922" y="1548"/>
                  <a:pt x="3907" y="1485"/>
                  <a:pt x="3882" y="1427"/>
                </a:cubicBezTo>
                <a:moveTo>
                  <a:pt x="3461" y="1385"/>
                </a:moveTo>
                <a:cubicBezTo>
                  <a:pt x="3588" y="1385"/>
                  <a:pt x="3692" y="1488"/>
                  <a:pt x="3692" y="1615"/>
                </a:cubicBezTo>
                <a:cubicBezTo>
                  <a:pt x="3692" y="1621"/>
                  <a:pt x="3689" y="1625"/>
                  <a:pt x="3689" y="1631"/>
                </a:cubicBezTo>
                <a:moveTo>
                  <a:pt x="3005" y="1674"/>
                </a:moveTo>
                <a:cubicBezTo>
                  <a:pt x="3016" y="1755"/>
                  <a:pt x="3046" y="1828"/>
                  <a:pt x="3092" y="1890"/>
                </a:cubicBezTo>
                <a:moveTo>
                  <a:pt x="3461" y="1846"/>
                </a:moveTo>
                <a:cubicBezTo>
                  <a:pt x="3339" y="1846"/>
                  <a:pt x="3242" y="1751"/>
                  <a:pt x="3233" y="1631"/>
                </a:cubicBezTo>
                <a:moveTo>
                  <a:pt x="3830" y="1890"/>
                </a:moveTo>
                <a:cubicBezTo>
                  <a:pt x="3876" y="1828"/>
                  <a:pt x="3906" y="1755"/>
                  <a:pt x="3916" y="1674"/>
                </a:cubicBezTo>
                <a:moveTo>
                  <a:pt x="3689" y="1631"/>
                </a:moveTo>
                <a:cubicBezTo>
                  <a:pt x="3680" y="1751"/>
                  <a:pt x="3583" y="1846"/>
                  <a:pt x="3461" y="1846"/>
                </a:cubicBezTo>
                <a:moveTo>
                  <a:pt x="3092" y="1890"/>
                </a:moveTo>
                <a:cubicBezTo>
                  <a:pt x="3176" y="2003"/>
                  <a:pt x="3309" y="2077"/>
                  <a:pt x="3461" y="2077"/>
                </a:cubicBezTo>
                <a:cubicBezTo>
                  <a:pt x="3612" y="2077"/>
                  <a:pt x="3746" y="2003"/>
                  <a:pt x="3830" y="1890"/>
                </a:cubicBezTo>
                <a:moveTo>
                  <a:pt x="4702" y="4073"/>
                </a:moveTo>
                <a:cubicBezTo>
                  <a:pt x="4923" y="3958"/>
                  <a:pt x="5076" y="3728"/>
                  <a:pt x="5076" y="3461"/>
                </a:cubicBezTo>
                <a:cubicBezTo>
                  <a:pt x="5076" y="3194"/>
                  <a:pt x="4923" y="2965"/>
                  <a:pt x="4702" y="2850"/>
                </a:cubicBezTo>
                <a:moveTo>
                  <a:pt x="4529" y="3025"/>
                </a:moveTo>
                <a:cubicBezTo>
                  <a:pt x="4712" y="3086"/>
                  <a:pt x="4845" y="3257"/>
                  <a:pt x="4845" y="3461"/>
                </a:cubicBezTo>
                <a:moveTo>
                  <a:pt x="4529" y="3897"/>
                </a:moveTo>
                <a:cubicBezTo>
                  <a:pt x="4712" y="3836"/>
                  <a:pt x="4845" y="3665"/>
                  <a:pt x="4845" y="3461"/>
                </a:cubicBezTo>
                <a:cubicBezTo>
                  <a:pt x="4845" y="3257"/>
                  <a:pt x="4712" y="3086"/>
                  <a:pt x="4529" y="3025"/>
                </a:cubicBezTo>
                <a:moveTo>
                  <a:pt x="4615" y="3461"/>
                </a:moveTo>
                <a:cubicBezTo>
                  <a:pt x="4615" y="3589"/>
                  <a:pt x="4511" y="3692"/>
                  <a:pt x="4384" y="3692"/>
                </a:cubicBezTo>
                <a:cubicBezTo>
                  <a:pt x="4373" y="3692"/>
                  <a:pt x="4364" y="3687"/>
                  <a:pt x="4353" y="3686"/>
                </a:cubicBezTo>
                <a:moveTo>
                  <a:pt x="4265" y="3905"/>
                </a:moveTo>
                <a:cubicBezTo>
                  <a:pt x="4303" y="3916"/>
                  <a:pt x="4343" y="3923"/>
                  <a:pt x="4384" y="3923"/>
                </a:cubicBezTo>
                <a:cubicBezTo>
                  <a:pt x="4435" y="3923"/>
                  <a:pt x="4483" y="3913"/>
                  <a:pt x="4529" y="3897"/>
                </a:cubicBezTo>
                <a:moveTo>
                  <a:pt x="4529" y="3025"/>
                </a:moveTo>
                <a:cubicBezTo>
                  <a:pt x="4483" y="3010"/>
                  <a:pt x="4435" y="3000"/>
                  <a:pt x="4384" y="3000"/>
                </a:cubicBezTo>
                <a:cubicBezTo>
                  <a:pt x="4343" y="3000"/>
                  <a:pt x="4303" y="3007"/>
                  <a:pt x="4265" y="3017"/>
                </a:cubicBezTo>
                <a:moveTo>
                  <a:pt x="4353" y="3237"/>
                </a:moveTo>
                <a:cubicBezTo>
                  <a:pt x="4364" y="3235"/>
                  <a:pt x="4373" y="3231"/>
                  <a:pt x="4384" y="3231"/>
                </a:cubicBezTo>
                <a:cubicBezTo>
                  <a:pt x="4511" y="3231"/>
                  <a:pt x="4615" y="3334"/>
                  <a:pt x="4615" y="3461"/>
                </a:cubicBezTo>
                <a:moveTo>
                  <a:pt x="4353" y="3686"/>
                </a:moveTo>
                <a:cubicBezTo>
                  <a:pt x="4241" y="3670"/>
                  <a:pt x="4153" y="3578"/>
                  <a:pt x="4153" y="3461"/>
                </a:cubicBezTo>
                <a:cubicBezTo>
                  <a:pt x="4153" y="3345"/>
                  <a:pt x="4241" y="3252"/>
                  <a:pt x="4353" y="3237"/>
                </a:cubicBezTo>
                <a:moveTo>
                  <a:pt x="4265" y="3017"/>
                </a:moveTo>
                <a:cubicBezTo>
                  <a:pt x="4068" y="3070"/>
                  <a:pt x="3922" y="3248"/>
                  <a:pt x="3922" y="3461"/>
                </a:cubicBezTo>
                <a:cubicBezTo>
                  <a:pt x="3922" y="3675"/>
                  <a:pt x="4068" y="3853"/>
                  <a:pt x="4265" y="3905"/>
                </a:cubicBezTo>
                <a:moveTo>
                  <a:pt x="946" y="5835"/>
                </a:moveTo>
                <a:cubicBezTo>
                  <a:pt x="986" y="5888"/>
                  <a:pt x="1034" y="5936"/>
                  <a:pt x="1088" y="5976"/>
                </a:cubicBezTo>
                <a:cubicBezTo>
                  <a:pt x="1039" y="5930"/>
                  <a:pt x="992" y="5883"/>
                  <a:pt x="946" y="5835"/>
                </a:cubicBezTo>
                <a:close/>
                <a:moveTo>
                  <a:pt x="1116" y="5679"/>
                </a:moveTo>
                <a:cubicBezTo>
                  <a:pt x="1138" y="5712"/>
                  <a:pt x="1164" y="5742"/>
                  <a:pt x="1194" y="5768"/>
                </a:cubicBezTo>
                <a:cubicBezTo>
                  <a:pt x="1210" y="5782"/>
                  <a:pt x="1226" y="5795"/>
                  <a:pt x="1244" y="5806"/>
                </a:cubicBezTo>
                <a:moveTo>
                  <a:pt x="1364" y="5604"/>
                </a:moveTo>
                <a:cubicBezTo>
                  <a:pt x="1346" y="5591"/>
                  <a:pt x="1331" y="5576"/>
                  <a:pt x="1318" y="5558"/>
                </a:cubicBezTo>
                <a:moveTo>
                  <a:pt x="1244" y="5806"/>
                </a:moveTo>
                <a:cubicBezTo>
                  <a:pt x="1317" y="5855"/>
                  <a:pt x="1405" y="5884"/>
                  <a:pt x="1500" y="5884"/>
                </a:cubicBezTo>
                <a:cubicBezTo>
                  <a:pt x="1555" y="5884"/>
                  <a:pt x="1608" y="5873"/>
                  <a:pt x="1658" y="5855"/>
                </a:cubicBezTo>
                <a:moveTo>
                  <a:pt x="1068" y="5264"/>
                </a:moveTo>
                <a:cubicBezTo>
                  <a:pt x="1049" y="5314"/>
                  <a:pt x="1038" y="5367"/>
                  <a:pt x="1038" y="5423"/>
                </a:cubicBezTo>
                <a:cubicBezTo>
                  <a:pt x="1038" y="5517"/>
                  <a:pt x="1067" y="5605"/>
                  <a:pt x="1116" y="5679"/>
                </a:cubicBezTo>
                <a:moveTo>
                  <a:pt x="1318" y="5558"/>
                </a:moveTo>
                <a:cubicBezTo>
                  <a:pt x="1289" y="5520"/>
                  <a:pt x="1269" y="5474"/>
                  <a:pt x="1269" y="5423"/>
                </a:cubicBezTo>
                <a:cubicBezTo>
                  <a:pt x="1269" y="5353"/>
                  <a:pt x="1301" y="5293"/>
                  <a:pt x="1350" y="5251"/>
                </a:cubicBezTo>
                <a:moveTo>
                  <a:pt x="1208" y="5067"/>
                </a:moveTo>
                <a:cubicBezTo>
                  <a:pt x="1145" y="5119"/>
                  <a:pt x="1096" y="5186"/>
                  <a:pt x="1068" y="5264"/>
                </a:cubicBezTo>
                <a:moveTo>
                  <a:pt x="1658" y="5855"/>
                </a:moveTo>
                <a:cubicBezTo>
                  <a:pt x="1736" y="5826"/>
                  <a:pt x="1803" y="5777"/>
                  <a:pt x="1855" y="5714"/>
                </a:cubicBezTo>
                <a:moveTo>
                  <a:pt x="1672" y="5573"/>
                </a:moveTo>
                <a:cubicBezTo>
                  <a:pt x="1629" y="5621"/>
                  <a:pt x="1569" y="5653"/>
                  <a:pt x="1500" y="5653"/>
                </a:cubicBezTo>
                <a:cubicBezTo>
                  <a:pt x="1448" y="5653"/>
                  <a:pt x="1402" y="5633"/>
                  <a:pt x="1364" y="5604"/>
                </a:cubicBezTo>
                <a:moveTo>
                  <a:pt x="1422" y="4969"/>
                </a:moveTo>
                <a:cubicBezTo>
                  <a:pt x="1342" y="4983"/>
                  <a:pt x="1269" y="5018"/>
                  <a:pt x="1208" y="5067"/>
                </a:cubicBezTo>
                <a:moveTo>
                  <a:pt x="1855" y="5714"/>
                </a:moveTo>
                <a:cubicBezTo>
                  <a:pt x="1905" y="5653"/>
                  <a:pt x="1940" y="5581"/>
                  <a:pt x="1953" y="5500"/>
                </a:cubicBezTo>
                <a:moveTo>
                  <a:pt x="1350" y="5251"/>
                </a:moveTo>
                <a:cubicBezTo>
                  <a:pt x="1390" y="5215"/>
                  <a:pt x="1442" y="5192"/>
                  <a:pt x="1500" y="5192"/>
                </a:cubicBezTo>
                <a:cubicBezTo>
                  <a:pt x="1627" y="5192"/>
                  <a:pt x="1730" y="5295"/>
                  <a:pt x="1730" y="5423"/>
                </a:cubicBezTo>
                <a:cubicBezTo>
                  <a:pt x="1730" y="5481"/>
                  <a:pt x="1707" y="5532"/>
                  <a:pt x="1672" y="5573"/>
                </a:cubicBezTo>
                <a:moveTo>
                  <a:pt x="1953" y="5500"/>
                </a:moveTo>
                <a:cubicBezTo>
                  <a:pt x="1958" y="5475"/>
                  <a:pt x="1961" y="5449"/>
                  <a:pt x="1961" y="5423"/>
                </a:cubicBezTo>
                <a:cubicBezTo>
                  <a:pt x="1961" y="5168"/>
                  <a:pt x="1754" y="4961"/>
                  <a:pt x="1500" y="4961"/>
                </a:cubicBezTo>
                <a:cubicBezTo>
                  <a:pt x="1473" y="4961"/>
                  <a:pt x="1448" y="4965"/>
                  <a:pt x="1422" y="4969"/>
                </a:cubicBezTo>
                <a:moveTo>
                  <a:pt x="1318" y="5558"/>
                </a:moveTo>
                <a:cubicBezTo>
                  <a:pt x="1331" y="5576"/>
                  <a:pt x="1346" y="5591"/>
                  <a:pt x="1364" y="5604"/>
                </a:cubicBezTo>
                <a:cubicBezTo>
                  <a:pt x="1348" y="5589"/>
                  <a:pt x="1333" y="5574"/>
                  <a:pt x="1318" y="5558"/>
                </a:cubicBezTo>
                <a:close/>
                <a:moveTo>
                  <a:pt x="1350" y="5251"/>
                </a:moveTo>
                <a:cubicBezTo>
                  <a:pt x="1301" y="5293"/>
                  <a:pt x="1269" y="5353"/>
                  <a:pt x="1269" y="5423"/>
                </a:cubicBezTo>
                <a:cubicBezTo>
                  <a:pt x="1269" y="5474"/>
                  <a:pt x="1289" y="5520"/>
                  <a:pt x="1318" y="5558"/>
                </a:cubicBezTo>
                <a:cubicBezTo>
                  <a:pt x="1333" y="5574"/>
                  <a:pt x="1348" y="5589"/>
                  <a:pt x="1364" y="5604"/>
                </a:cubicBezTo>
                <a:cubicBezTo>
                  <a:pt x="1402" y="5633"/>
                  <a:pt x="1448" y="5653"/>
                  <a:pt x="1500" y="5653"/>
                </a:cubicBezTo>
                <a:cubicBezTo>
                  <a:pt x="1569" y="5653"/>
                  <a:pt x="1629" y="5621"/>
                  <a:pt x="1672" y="5573"/>
                </a:cubicBezTo>
                <a:moveTo>
                  <a:pt x="1672" y="5573"/>
                </a:moveTo>
                <a:cubicBezTo>
                  <a:pt x="1707" y="5532"/>
                  <a:pt x="1730" y="5481"/>
                  <a:pt x="1730" y="5423"/>
                </a:cubicBezTo>
                <a:cubicBezTo>
                  <a:pt x="1730" y="5295"/>
                  <a:pt x="1627" y="5192"/>
                  <a:pt x="1500" y="5192"/>
                </a:cubicBezTo>
                <a:cubicBezTo>
                  <a:pt x="1442" y="5192"/>
                  <a:pt x="1390" y="5215"/>
                  <a:pt x="1350" y="5251"/>
                </a:cubicBezTo>
              </a:path>
            </a:pathLst>
          </a:custGeom>
          <a:noFill/>
          <a:ln w="14288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Connected Object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A8F8E845-1887-442E-8E74-B1003D95BE65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40715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 noEditPoints="1"/>
          </p:cNvSpPr>
          <p:nvPr/>
        </p:nvSpPr>
        <p:spPr bwMode="auto">
          <a:xfrm>
            <a:off x="4999039" y="-325438"/>
            <a:ext cx="4473575" cy="4468813"/>
          </a:xfrm>
          <a:custGeom>
            <a:avLst/>
            <a:gdLst>
              <a:gd name="T0" fmla="*/ 807 w 6922"/>
              <a:gd name="T1" fmla="*/ 5423 h 6923"/>
              <a:gd name="T2" fmla="*/ 6691 w 6922"/>
              <a:gd name="T3" fmla="*/ 3461 h 6923"/>
              <a:gd name="T4" fmla="*/ 1088 w 6922"/>
              <a:gd name="T5" fmla="*/ 5976 h 6923"/>
              <a:gd name="T6" fmla="*/ 919 w 6922"/>
              <a:gd name="T7" fmla="*/ 5048 h 6923"/>
              <a:gd name="T8" fmla="*/ 3461 w 6922"/>
              <a:gd name="T9" fmla="*/ 6461 h 6923"/>
              <a:gd name="T10" fmla="*/ 6691 w 6922"/>
              <a:gd name="T11" fmla="*/ 3461 h 6923"/>
              <a:gd name="T12" fmla="*/ 1082 w 6922"/>
              <a:gd name="T13" fmla="*/ 4874 h 6923"/>
              <a:gd name="T14" fmla="*/ 3461 w 6922"/>
              <a:gd name="T15" fmla="*/ 6230 h 6923"/>
              <a:gd name="T16" fmla="*/ 6461 w 6922"/>
              <a:gd name="T17" fmla="*/ 3461 h 6923"/>
              <a:gd name="T18" fmla="*/ 1082 w 6922"/>
              <a:gd name="T19" fmla="*/ 4874 h 6923"/>
              <a:gd name="T20" fmla="*/ 3461 w 6922"/>
              <a:gd name="T21" fmla="*/ 692 h 6923"/>
              <a:gd name="T22" fmla="*/ 923 w 6922"/>
              <a:gd name="T23" fmla="*/ 3461 h 6923"/>
              <a:gd name="T24" fmla="*/ 2155 w 6922"/>
              <a:gd name="T25" fmla="*/ 5635 h 6923"/>
              <a:gd name="T26" fmla="*/ 3461 w 6922"/>
              <a:gd name="T27" fmla="*/ 923 h 6923"/>
              <a:gd name="T28" fmla="*/ 1537 w 6922"/>
              <a:gd name="T29" fmla="*/ 4734 h 6923"/>
              <a:gd name="T30" fmla="*/ 2188 w 6922"/>
              <a:gd name="T31" fmla="*/ 5385 h 6923"/>
              <a:gd name="T32" fmla="*/ 5999 w 6922"/>
              <a:gd name="T33" fmla="*/ 3461 h 6923"/>
              <a:gd name="T34" fmla="*/ 4035 w 6922"/>
              <a:gd name="T35" fmla="*/ 1229 h 6923"/>
              <a:gd name="T36" fmla="*/ 1384 w 6922"/>
              <a:gd name="T37" fmla="*/ 3461 h 6923"/>
              <a:gd name="T38" fmla="*/ 1537 w 6922"/>
              <a:gd name="T39" fmla="*/ 4734 h 6923"/>
              <a:gd name="T40" fmla="*/ 2780 w 6922"/>
              <a:gd name="T41" fmla="*/ 1501 h 6923"/>
              <a:gd name="T42" fmla="*/ 4142 w 6922"/>
              <a:gd name="T43" fmla="*/ 1501 h 6923"/>
              <a:gd name="T44" fmla="*/ 1615 w 6922"/>
              <a:gd name="T45" fmla="*/ 3461 h 6923"/>
              <a:gd name="T46" fmla="*/ 1846 w 6922"/>
              <a:gd name="T47" fmla="*/ 3461 h 6923"/>
              <a:gd name="T48" fmla="*/ 3461 w 6922"/>
              <a:gd name="T49" fmla="*/ 5307 h 6923"/>
              <a:gd name="T50" fmla="*/ 5076 w 6922"/>
              <a:gd name="T51" fmla="*/ 3461 h 6923"/>
              <a:gd name="T52" fmla="*/ 5076 w 6922"/>
              <a:gd name="T53" fmla="*/ 3461 h 6923"/>
              <a:gd name="T54" fmla="*/ 3024 w 6922"/>
              <a:gd name="T55" fmla="*/ 2148 h 6923"/>
              <a:gd name="T56" fmla="*/ 4057 w 6922"/>
              <a:gd name="T57" fmla="*/ 1961 h 6923"/>
              <a:gd name="T58" fmla="*/ 4382 w 6922"/>
              <a:gd name="T59" fmla="*/ 2769 h 6923"/>
              <a:gd name="T60" fmla="*/ 3461 w 6922"/>
              <a:gd name="T61" fmla="*/ 4615 h 6923"/>
              <a:gd name="T62" fmla="*/ 2076 w 6922"/>
              <a:gd name="T63" fmla="*/ 3461 h 6923"/>
              <a:gd name="T64" fmla="*/ 3461 w 6922"/>
              <a:gd name="T65" fmla="*/ 4615 h 6923"/>
              <a:gd name="T66" fmla="*/ 2538 w 6922"/>
              <a:gd name="T67" fmla="*/ 3461 h 6923"/>
              <a:gd name="T68" fmla="*/ 3461 w 6922"/>
              <a:gd name="T69" fmla="*/ 2308 h 6923"/>
              <a:gd name="T70" fmla="*/ 3461 w 6922"/>
              <a:gd name="T71" fmla="*/ 2538 h 6923"/>
              <a:gd name="T72" fmla="*/ 3692 w 6922"/>
              <a:gd name="T73" fmla="*/ 3461 h 6923"/>
              <a:gd name="T74" fmla="*/ 3233 w 6922"/>
              <a:gd name="T75" fmla="*/ 1631 h 6923"/>
              <a:gd name="T76" fmla="*/ 2999 w 6922"/>
              <a:gd name="T77" fmla="*/ 1615 h 6923"/>
              <a:gd name="T78" fmla="*/ 3882 w 6922"/>
              <a:gd name="T79" fmla="*/ 1427 h 6923"/>
              <a:gd name="T80" fmla="*/ 3005 w 6922"/>
              <a:gd name="T81" fmla="*/ 1674 h 6923"/>
              <a:gd name="T82" fmla="*/ 3830 w 6922"/>
              <a:gd name="T83" fmla="*/ 1890 h 6923"/>
              <a:gd name="T84" fmla="*/ 3092 w 6922"/>
              <a:gd name="T85" fmla="*/ 1890 h 6923"/>
              <a:gd name="T86" fmla="*/ 5076 w 6922"/>
              <a:gd name="T87" fmla="*/ 3461 h 6923"/>
              <a:gd name="T88" fmla="*/ 4529 w 6922"/>
              <a:gd name="T89" fmla="*/ 3897 h 6923"/>
              <a:gd name="T90" fmla="*/ 4384 w 6922"/>
              <a:gd name="T91" fmla="*/ 3692 h 6923"/>
              <a:gd name="T92" fmla="*/ 4529 w 6922"/>
              <a:gd name="T93" fmla="*/ 3897 h 6923"/>
              <a:gd name="T94" fmla="*/ 4353 w 6922"/>
              <a:gd name="T95" fmla="*/ 3237 h 6923"/>
              <a:gd name="T96" fmla="*/ 4153 w 6922"/>
              <a:gd name="T97" fmla="*/ 3461 h 6923"/>
              <a:gd name="T98" fmla="*/ 4265 w 6922"/>
              <a:gd name="T99" fmla="*/ 3905 h 6923"/>
              <a:gd name="T100" fmla="*/ 1116 w 6922"/>
              <a:gd name="T101" fmla="*/ 5679 h 6923"/>
              <a:gd name="T102" fmla="*/ 1318 w 6922"/>
              <a:gd name="T103" fmla="*/ 5558 h 6923"/>
              <a:gd name="T104" fmla="*/ 1068 w 6922"/>
              <a:gd name="T105" fmla="*/ 5264 h 6923"/>
              <a:gd name="T106" fmla="*/ 1269 w 6922"/>
              <a:gd name="T107" fmla="*/ 5423 h 6923"/>
              <a:gd name="T108" fmla="*/ 1658 w 6922"/>
              <a:gd name="T109" fmla="*/ 5855 h 6923"/>
              <a:gd name="T110" fmla="*/ 1364 w 6922"/>
              <a:gd name="T111" fmla="*/ 5604 h 6923"/>
              <a:gd name="T112" fmla="*/ 1953 w 6922"/>
              <a:gd name="T113" fmla="*/ 5500 h 6923"/>
              <a:gd name="T114" fmla="*/ 1672 w 6922"/>
              <a:gd name="T115" fmla="*/ 5573 h 6923"/>
              <a:gd name="T116" fmla="*/ 1422 w 6922"/>
              <a:gd name="T117" fmla="*/ 4969 h 6923"/>
              <a:gd name="T118" fmla="*/ 1350 w 6922"/>
              <a:gd name="T119" fmla="*/ 5251 h 6923"/>
              <a:gd name="T120" fmla="*/ 1500 w 6922"/>
              <a:gd name="T121" fmla="*/ 5653 h 6923"/>
              <a:gd name="T122" fmla="*/ 1500 w 6922"/>
              <a:gd name="T123" fmla="*/ 5192 h 6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22" h="6923">
                <a:moveTo>
                  <a:pt x="3461" y="0"/>
                </a:moveTo>
                <a:cubicBezTo>
                  <a:pt x="1549" y="0"/>
                  <a:pt x="0" y="1550"/>
                  <a:pt x="0" y="3461"/>
                </a:cubicBezTo>
                <a:cubicBezTo>
                  <a:pt x="0" y="4381"/>
                  <a:pt x="361" y="5215"/>
                  <a:pt x="946" y="5835"/>
                </a:cubicBezTo>
                <a:cubicBezTo>
                  <a:pt x="860" y="5719"/>
                  <a:pt x="807" y="5578"/>
                  <a:pt x="807" y="5423"/>
                </a:cubicBezTo>
                <a:cubicBezTo>
                  <a:pt x="807" y="5386"/>
                  <a:pt x="813" y="5351"/>
                  <a:pt x="818" y="5316"/>
                </a:cubicBezTo>
                <a:cubicBezTo>
                  <a:pt x="449" y="4790"/>
                  <a:pt x="230" y="4152"/>
                  <a:pt x="230" y="3461"/>
                </a:cubicBezTo>
                <a:cubicBezTo>
                  <a:pt x="230" y="1677"/>
                  <a:pt x="1677" y="231"/>
                  <a:pt x="3461" y="231"/>
                </a:cubicBezTo>
                <a:cubicBezTo>
                  <a:pt x="5245" y="231"/>
                  <a:pt x="6691" y="1677"/>
                  <a:pt x="6691" y="3461"/>
                </a:cubicBezTo>
                <a:cubicBezTo>
                  <a:pt x="6691" y="5245"/>
                  <a:pt x="5245" y="6692"/>
                  <a:pt x="3461" y="6692"/>
                </a:cubicBezTo>
                <a:cubicBezTo>
                  <a:pt x="2770" y="6692"/>
                  <a:pt x="2132" y="6473"/>
                  <a:pt x="1607" y="6104"/>
                </a:cubicBezTo>
                <a:cubicBezTo>
                  <a:pt x="1571" y="6110"/>
                  <a:pt x="1536" y="6115"/>
                  <a:pt x="1500" y="6115"/>
                </a:cubicBezTo>
                <a:cubicBezTo>
                  <a:pt x="1345" y="6115"/>
                  <a:pt x="1203" y="6062"/>
                  <a:pt x="1088" y="5976"/>
                </a:cubicBezTo>
                <a:cubicBezTo>
                  <a:pt x="1707" y="6561"/>
                  <a:pt x="2541" y="6923"/>
                  <a:pt x="3461" y="6923"/>
                </a:cubicBezTo>
                <a:cubicBezTo>
                  <a:pt x="5373" y="6923"/>
                  <a:pt x="6922" y="5373"/>
                  <a:pt x="6922" y="3461"/>
                </a:cubicBezTo>
                <a:cubicBezTo>
                  <a:pt x="6922" y="1550"/>
                  <a:pt x="5373" y="0"/>
                  <a:pt x="3461" y="0"/>
                </a:cubicBezTo>
                <a:close/>
                <a:moveTo>
                  <a:pt x="919" y="5048"/>
                </a:moveTo>
                <a:cubicBezTo>
                  <a:pt x="630" y="4588"/>
                  <a:pt x="461" y="4045"/>
                  <a:pt x="461" y="3461"/>
                </a:cubicBezTo>
                <a:cubicBezTo>
                  <a:pt x="461" y="1805"/>
                  <a:pt x="1804" y="462"/>
                  <a:pt x="3461" y="462"/>
                </a:cubicBezTo>
                <a:cubicBezTo>
                  <a:pt x="5118" y="462"/>
                  <a:pt x="6461" y="1805"/>
                  <a:pt x="6461" y="3461"/>
                </a:cubicBezTo>
                <a:cubicBezTo>
                  <a:pt x="6461" y="5118"/>
                  <a:pt x="5118" y="6461"/>
                  <a:pt x="3461" y="6461"/>
                </a:cubicBezTo>
                <a:cubicBezTo>
                  <a:pt x="2877" y="6461"/>
                  <a:pt x="2335" y="6292"/>
                  <a:pt x="1874" y="6004"/>
                </a:cubicBezTo>
                <a:moveTo>
                  <a:pt x="1607" y="6104"/>
                </a:moveTo>
                <a:cubicBezTo>
                  <a:pt x="2132" y="6473"/>
                  <a:pt x="2770" y="6692"/>
                  <a:pt x="3461" y="6692"/>
                </a:cubicBezTo>
                <a:cubicBezTo>
                  <a:pt x="5245" y="6692"/>
                  <a:pt x="6691" y="5245"/>
                  <a:pt x="6691" y="3461"/>
                </a:cubicBezTo>
                <a:cubicBezTo>
                  <a:pt x="6691" y="1677"/>
                  <a:pt x="5245" y="231"/>
                  <a:pt x="3461" y="231"/>
                </a:cubicBezTo>
                <a:cubicBezTo>
                  <a:pt x="1677" y="231"/>
                  <a:pt x="230" y="1677"/>
                  <a:pt x="230" y="3461"/>
                </a:cubicBezTo>
                <a:cubicBezTo>
                  <a:pt x="230" y="4152"/>
                  <a:pt x="449" y="4790"/>
                  <a:pt x="818" y="5316"/>
                </a:cubicBezTo>
                <a:moveTo>
                  <a:pt x="1082" y="4874"/>
                </a:moveTo>
                <a:cubicBezTo>
                  <a:pt x="836" y="4460"/>
                  <a:pt x="692" y="3978"/>
                  <a:pt x="692" y="3461"/>
                </a:cubicBezTo>
                <a:cubicBezTo>
                  <a:pt x="692" y="1932"/>
                  <a:pt x="1932" y="692"/>
                  <a:pt x="3461" y="692"/>
                </a:cubicBezTo>
                <a:cubicBezTo>
                  <a:pt x="4990" y="692"/>
                  <a:pt x="6230" y="1932"/>
                  <a:pt x="6230" y="3461"/>
                </a:cubicBezTo>
                <a:cubicBezTo>
                  <a:pt x="6230" y="4991"/>
                  <a:pt x="4990" y="6230"/>
                  <a:pt x="3461" y="6230"/>
                </a:cubicBezTo>
                <a:cubicBezTo>
                  <a:pt x="2944" y="6230"/>
                  <a:pt x="2462" y="6086"/>
                  <a:pt x="2049" y="5840"/>
                </a:cubicBezTo>
                <a:cubicBezTo>
                  <a:pt x="2000" y="5904"/>
                  <a:pt x="1942" y="5960"/>
                  <a:pt x="1874" y="6004"/>
                </a:cubicBezTo>
                <a:cubicBezTo>
                  <a:pt x="2335" y="6292"/>
                  <a:pt x="2877" y="6461"/>
                  <a:pt x="3461" y="6461"/>
                </a:cubicBezTo>
                <a:cubicBezTo>
                  <a:pt x="5118" y="6461"/>
                  <a:pt x="6461" y="5118"/>
                  <a:pt x="6461" y="3461"/>
                </a:cubicBezTo>
                <a:cubicBezTo>
                  <a:pt x="6461" y="1805"/>
                  <a:pt x="5118" y="462"/>
                  <a:pt x="3461" y="462"/>
                </a:cubicBezTo>
                <a:cubicBezTo>
                  <a:pt x="1804" y="462"/>
                  <a:pt x="461" y="1805"/>
                  <a:pt x="461" y="3461"/>
                </a:cubicBezTo>
                <a:cubicBezTo>
                  <a:pt x="461" y="4045"/>
                  <a:pt x="630" y="4588"/>
                  <a:pt x="919" y="5048"/>
                </a:cubicBezTo>
                <a:cubicBezTo>
                  <a:pt x="962" y="4981"/>
                  <a:pt x="1018" y="4922"/>
                  <a:pt x="1082" y="4874"/>
                </a:cubicBezTo>
                <a:close/>
                <a:moveTo>
                  <a:pt x="2049" y="5840"/>
                </a:moveTo>
                <a:cubicBezTo>
                  <a:pt x="2462" y="6086"/>
                  <a:pt x="2944" y="6230"/>
                  <a:pt x="3461" y="6230"/>
                </a:cubicBezTo>
                <a:cubicBezTo>
                  <a:pt x="4990" y="6230"/>
                  <a:pt x="6230" y="4991"/>
                  <a:pt x="6230" y="3461"/>
                </a:cubicBezTo>
                <a:cubicBezTo>
                  <a:pt x="6230" y="1932"/>
                  <a:pt x="4990" y="692"/>
                  <a:pt x="3461" y="692"/>
                </a:cubicBezTo>
                <a:cubicBezTo>
                  <a:pt x="1932" y="692"/>
                  <a:pt x="692" y="1932"/>
                  <a:pt x="692" y="3461"/>
                </a:cubicBezTo>
                <a:cubicBezTo>
                  <a:pt x="692" y="3978"/>
                  <a:pt x="836" y="4460"/>
                  <a:pt x="1082" y="4874"/>
                </a:cubicBezTo>
                <a:moveTo>
                  <a:pt x="1287" y="4767"/>
                </a:moveTo>
                <a:cubicBezTo>
                  <a:pt x="1057" y="4385"/>
                  <a:pt x="923" y="3939"/>
                  <a:pt x="923" y="3461"/>
                </a:cubicBezTo>
                <a:cubicBezTo>
                  <a:pt x="923" y="2059"/>
                  <a:pt x="2059" y="923"/>
                  <a:pt x="3461" y="923"/>
                </a:cubicBezTo>
                <a:cubicBezTo>
                  <a:pt x="4863" y="923"/>
                  <a:pt x="5999" y="2059"/>
                  <a:pt x="5999" y="3461"/>
                </a:cubicBezTo>
                <a:cubicBezTo>
                  <a:pt x="5999" y="4863"/>
                  <a:pt x="4863" y="6000"/>
                  <a:pt x="3461" y="6000"/>
                </a:cubicBezTo>
                <a:cubicBezTo>
                  <a:pt x="2983" y="6000"/>
                  <a:pt x="2537" y="5865"/>
                  <a:pt x="2155" y="5635"/>
                </a:cubicBezTo>
                <a:moveTo>
                  <a:pt x="1537" y="4734"/>
                </a:moveTo>
                <a:cubicBezTo>
                  <a:pt x="1295" y="4369"/>
                  <a:pt x="1153" y="3932"/>
                  <a:pt x="1153" y="3461"/>
                </a:cubicBezTo>
                <a:cubicBezTo>
                  <a:pt x="1153" y="2386"/>
                  <a:pt x="1891" y="1484"/>
                  <a:pt x="2887" y="1229"/>
                </a:cubicBezTo>
                <a:cubicBezTo>
                  <a:pt x="3011" y="1044"/>
                  <a:pt x="3222" y="923"/>
                  <a:pt x="3461" y="923"/>
                </a:cubicBezTo>
                <a:cubicBezTo>
                  <a:pt x="2059" y="923"/>
                  <a:pt x="923" y="2059"/>
                  <a:pt x="923" y="3461"/>
                </a:cubicBezTo>
                <a:cubicBezTo>
                  <a:pt x="923" y="3939"/>
                  <a:pt x="1057" y="4385"/>
                  <a:pt x="1287" y="4767"/>
                </a:cubicBezTo>
                <a:cubicBezTo>
                  <a:pt x="1355" y="4745"/>
                  <a:pt x="1425" y="4730"/>
                  <a:pt x="1500" y="4730"/>
                </a:cubicBezTo>
                <a:cubicBezTo>
                  <a:pt x="1512" y="4730"/>
                  <a:pt x="1524" y="4733"/>
                  <a:pt x="1537" y="4734"/>
                </a:cubicBezTo>
                <a:close/>
                <a:moveTo>
                  <a:pt x="4035" y="1229"/>
                </a:moveTo>
                <a:cubicBezTo>
                  <a:pt x="5031" y="1484"/>
                  <a:pt x="5768" y="2386"/>
                  <a:pt x="5768" y="3461"/>
                </a:cubicBezTo>
                <a:cubicBezTo>
                  <a:pt x="5768" y="4736"/>
                  <a:pt x="4735" y="5769"/>
                  <a:pt x="3461" y="5769"/>
                </a:cubicBezTo>
                <a:cubicBezTo>
                  <a:pt x="2990" y="5769"/>
                  <a:pt x="2553" y="5627"/>
                  <a:pt x="2188" y="5385"/>
                </a:cubicBezTo>
                <a:cubicBezTo>
                  <a:pt x="2189" y="5398"/>
                  <a:pt x="2192" y="5410"/>
                  <a:pt x="2192" y="5423"/>
                </a:cubicBezTo>
                <a:cubicBezTo>
                  <a:pt x="2192" y="5497"/>
                  <a:pt x="2177" y="5568"/>
                  <a:pt x="2155" y="5635"/>
                </a:cubicBezTo>
                <a:cubicBezTo>
                  <a:pt x="2537" y="5865"/>
                  <a:pt x="2983" y="6000"/>
                  <a:pt x="3461" y="6000"/>
                </a:cubicBezTo>
                <a:cubicBezTo>
                  <a:pt x="4863" y="6000"/>
                  <a:pt x="5999" y="4863"/>
                  <a:pt x="5999" y="3461"/>
                </a:cubicBezTo>
                <a:cubicBezTo>
                  <a:pt x="5999" y="2059"/>
                  <a:pt x="4863" y="923"/>
                  <a:pt x="3461" y="923"/>
                </a:cubicBezTo>
                <a:cubicBezTo>
                  <a:pt x="3700" y="923"/>
                  <a:pt x="3911" y="1044"/>
                  <a:pt x="4035" y="1229"/>
                </a:cubicBezTo>
                <a:close/>
                <a:moveTo>
                  <a:pt x="5768" y="3461"/>
                </a:moveTo>
                <a:cubicBezTo>
                  <a:pt x="5768" y="2386"/>
                  <a:pt x="5031" y="1484"/>
                  <a:pt x="4035" y="1229"/>
                </a:cubicBezTo>
                <a:cubicBezTo>
                  <a:pt x="4089" y="1309"/>
                  <a:pt x="4125" y="1402"/>
                  <a:pt x="4142" y="1501"/>
                </a:cubicBezTo>
                <a:cubicBezTo>
                  <a:pt x="4954" y="1783"/>
                  <a:pt x="5538" y="2553"/>
                  <a:pt x="5538" y="3461"/>
                </a:cubicBezTo>
                <a:cubicBezTo>
                  <a:pt x="5538" y="4608"/>
                  <a:pt x="4608" y="5538"/>
                  <a:pt x="3461" y="5538"/>
                </a:cubicBezTo>
                <a:cubicBezTo>
                  <a:pt x="2314" y="5538"/>
                  <a:pt x="1384" y="4608"/>
                  <a:pt x="1384" y="3461"/>
                </a:cubicBezTo>
                <a:cubicBezTo>
                  <a:pt x="1384" y="2553"/>
                  <a:pt x="1968" y="1783"/>
                  <a:pt x="2780" y="1501"/>
                </a:cubicBezTo>
                <a:cubicBezTo>
                  <a:pt x="2797" y="1402"/>
                  <a:pt x="2833" y="1309"/>
                  <a:pt x="2887" y="1229"/>
                </a:cubicBezTo>
                <a:cubicBezTo>
                  <a:pt x="1891" y="1484"/>
                  <a:pt x="1153" y="2386"/>
                  <a:pt x="1153" y="3461"/>
                </a:cubicBezTo>
                <a:cubicBezTo>
                  <a:pt x="1153" y="3932"/>
                  <a:pt x="1295" y="4369"/>
                  <a:pt x="1537" y="4734"/>
                </a:cubicBezTo>
                <a:cubicBezTo>
                  <a:pt x="1889" y="4753"/>
                  <a:pt x="2169" y="5033"/>
                  <a:pt x="2188" y="5385"/>
                </a:cubicBezTo>
                <a:cubicBezTo>
                  <a:pt x="2553" y="5627"/>
                  <a:pt x="2990" y="5769"/>
                  <a:pt x="3461" y="5769"/>
                </a:cubicBezTo>
                <a:cubicBezTo>
                  <a:pt x="4735" y="5769"/>
                  <a:pt x="5768" y="4736"/>
                  <a:pt x="5768" y="3461"/>
                </a:cubicBezTo>
                <a:close/>
                <a:moveTo>
                  <a:pt x="2780" y="1501"/>
                </a:moveTo>
                <a:cubicBezTo>
                  <a:pt x="1968" y="1783"/>
                  <a:pt x="1384" y="2553"/>
                  <a:pt x="1384" y="3461"/>
                </a:cubicBezTo>
                <a:cubicBezTo>
                  <a:pt x="1384" y="4608"/>
                  <a:pt x="2314" y="5538"/>
                  <a:pt x="3461" y="5538"/>
                </a:cubicBezTo>
                <a:cubicBezTo>
                  <a:pt x="4608" y="5538"/>
                  <a:pt x="5538" y="4608"/>
                  <a:pt x="5538" y="3461"/>
                </a:cubicBezTo>
                <a:cubicBezTo>
                  <a:pt x="5538" y="2553"/>
                  <a:pt x="4954" y="1783"/>
                  <a:pt x="4142" y="1501"/>
                </a:cubicBezTo>
                <a:moveTo>
                  <a:pt x="4140" y="1746"/>
                </a:moveTo>
                <a:cubicBezTo>
                  <a:pt x="4823" y="2017"/>
                  <a:pt x="5307" y="2682"/>
                  <a:pt x="5307" y="3461"/>
                </a:cubicBezTo>
                <a:cubicBezTo>
                  <a:pt x="5307" y="4481"/>
                  <a:pt x="4480" y="5307"/>
                  <a:pt x="3461" y="5307"/>
                </a:cubicBezTo>
                <a:cubicBezTo>
                  <a:pt x="2441" y="5307"/>
                  <a:pt x="1615" y="4481"/>
                  <a:pt x="1615" y="3461"/>
                </a:cubicBezTo>
                <a:cubicBezTo>
                  <a:pt x="1615" y="2682"/>
                  <a:pt x="2099" y="2017"/>
                  <a:pt x="2782" y="1746"/>
                </a:cubicBezTo>
                <a:moveTo>
                  <a:pt x="5076" y="3461"/>
                </a:moveTo>
                <a:cubicBezTo>
                  <a:pt x="5076" y="4353"/>
                  <a:pt x="4353" y="5077"/>
                  <a:pt x="3461" y="5077"/>
                </a:cubicBezTo>
                <a:cubicBezTo>
                  <a:pt x="2569" y="5077"/>
                  <a:pt x="1846" y="4353"/>
                  <a:pt x="1846" y="3461"/>
                </a:cubicBezTo>
                <a:cubicBezTo>
                  <a:pt x="1846" y="2780"/>
                  <a:pt x="2268" y="2199"/>
                  <a:pt x="2865" y="1961"/>
                </a:cubicBezTo>
                <a:cubicBezTo>
                  <a:pt x="2826" y="1895"/>
                  <a:pt x="2797" y="1823"/>
                  <a:pt x="2782" y="1746"/>
                </a:cubicBezTo>
                <a:cubicBezTo>
                  <a:pt x="2099" y="2017"/>
                  <a:pt x="1615" y="2682"/>
                  <a:pt x="1615" y="3461"/>
                </a:cubicBezTo>
                <a:cubicBezTo>
                  <a:pt x="1615" y="4481"/>
                  <a:pt x="2441" y="5307"/>
                  <a:pt x="3461" y="5307"/>
                </a:cubicBezTo>
                <a:cubicBezTo>
                  <a:pt x="4480" y="5307"/>
                  <a:pt x="5307" y="4481"/>
                  <a:pt x="5307" y="3461"/>
                </a:cubicBezTo>
                <a:cubicBezTo>
                  <a:pt x="5307" y="2682"/>
                  <a:pt x="4823" y="2017"/>
                  <a:pt x="4140" y="1746"/>
                </a:cubicBezTo>
                <a:cubicBezTo>
                  <a:pt x="4125" y="1823"/>
                  <a:pt x="4096" y="1895"/>
                  <a:pt x="4057" y="1961"/>
                </a:cubicBezTo>
                <a:cubicBezTo>
                  <a:pt x="4654" y="2199"/>
                  <a:pt x="5076" y="2780"/>
                  <a:pt x="5076" y="3461"/>
                </a:cubicBezTo>
                <a:close/>
                <a:moveTo>
                  <a:pt x="2865" y="1961"/>
                </a:moveTo>
                <a:cubicBezTo>
                  <a:pt x="2268" y="2199"/>
                  <a:pt x="1846" y="2780"/>
                  <a:pt x="1846" y="3461"/>
                </a:cubicBezTo>
                <a:cubicBezTo>
                  <a:pt x="1846" y="4353"/>
                  <a:pt x="2569" y="5077"/>
                  <a:pt x="3461" y="5077"/>
                </a:cubicBezTo>
                <a:cubicBezTo>
                  <a:pt x="4353" y="5077"/>
                  <a:pt x="5076" y="4353"/>
                  <a:pt x="5076" y="3461"/>
                </a:cubicBezTo>
                <a:cubicBezTo>
                  <a:pt x="5076" y="3728"/>
                  <a:pt x="4923" y="3958"/>
                  <a:pt x="4702" y="4073"/>
                </a:cubicBezTo>
                <a:cubicBezTo>
                  <a:pt x="4476" y="4530"/>
                  <a:pt x="4006" y="4846"/>
                  <a:pt x="3461" y="4846"/>
                </a:cubicBezTo>
                <a:cubicBezTo>
                  <a:pt x="2696" y="4846"/>
                  <a:pt x="2076" y="4226"/>
                  <a:pt x="2076" y="3461"/>
                </a:cubicBezTo>
                <a:cubicBezTo>
                  <a:pt x="2076" y="2849"/>
                  <a:pt x="2474" y="2331"/>
                  <a:pt x="3024" y="2148"/>
                </a:cubicBezTo>
                <a:moveTo>
                  <a:pt x="3898" y="2148"/>
                </a:moveTo>
                <a:cubicBezTo>
                  <a:pt x="4250" y="2265"/>
                  <a:pt x="4539" y="2520"/>
                  <a:pt x="4702" y="2850"/>
                </a:cubicBezTo>
                <a:cubicBezTo>
                  <a:pt x="4923" y="2965"/>
                  <a:pt x="5076" y="3194"/>
                  <a:pt x="5076" y="3461"/>
                </a:cubicBezTo>
                <a:cubicBezTo>
                  <a:pt x="5076" y="2780"/>
                  <a:pt x="4654" y="2199"/>
                  <a:pt x="4057" y="1961"/>
                </a:cubicBezTo>
                <a:moveTo>
                  <a:pt x="4702" y="2850"/>
                </a:moveTo>
                <a:cubicBezTo>
                  <a:pt x="4539" y="2520"/>
                  <a:pt x="4250" y="2265"/>
                  <a:pt x="3898" y="2148"/>
                </a:cubicBezTo>
                <a:cubicBezTo>
                  <a:pt x="3778" y="2246"/>
                  <a:pt x="3628" y="2308"/>
                  <a:pt x="3461" y="2308"/>
                </a:cubicBezTo>
                <a:cubicBezTo>
                  <a:pt x="3838" y="2308"/>
                  <a:pt x="4172" y="2489"/>
                  <a:pt x="4382" y="2769"/>
                </a:cubicBezTo>
                <a:cubicBezTo>
                  <a:pt x="4383" y="2769"/>
                  <a:pt x="4383" y="2769"/>
                  <a:pt x="4384" y="2769"/>
                </a:cubicBezTo>
                <a:moveTo>
                  <a:pt x="4384" y="4154"/>
                </a:moveTo>
                <a:cubicBezTo>
                  <a:pt x="4383" y="4154"/>
                  <a:pt x="4383" y="4153"/>
                  <a:pt x="4382" y="4153"/>
                </a:cubicBezTo>
                <a:cubicBezTo>
                  <a:pt x="4172" y="4433"/>
                  <a:pt x="3838" y="4615"/>
                  <a:pt x="3461" y="4615"/>
                </a:cubicBezTo>
                <a:cubicBezTo>
                  <a:pt x="2824" y="4615"/>
                  <a:pt x="2307" y="4098"/>
                  <a:pt x="2307" y="3461"/>
                </a:cubicBezTo>
                <a:cubicBezTo>
                  <a:pt x="2307" y="2824"/>
                  <a:pt x="2824" y="2308"/>
                  <a:pt x="3461" y="2308"/>
                </a:cubicBezTo>
                <a:cubicBezTo>
                  <a:pt x="3294" y="2308"/>
                  <a:pt x="3144" y="2246"/>
                  <a:pt x="3024" y="2148"/>
                </a:cubicBezTo>
                <a:cubicBezTo>
                  <a:pt x="2474" y="2331"/>
                  <a:pt x="2076" y="2849"/>
                  <a:pt x="2076" y="3461"/>
                </a:cubicBezTo>
                <a:cubicBezTo>
                  <a:pt x="2076" y="4226"/>
                  <a:pt x="2696" y="4846"/>
                  <a:pt x="3461" y="4846"/>
                </a:cubicBezTo>
                <a:cubicBezTo>
                  <a:pt x="4006" y="4846"/>
                  <a:pt x="4476" y="4530"/>
                  <a:pt x="4702" y="4073"/>
                </a:cubicBezTo>
                <a:moveTo>
                  <a:pt x="2307" y="3461"/>
                </a:moveTo>
                <a:cubicBezTo>
                  <a:pt x="2307" y="4098"/>
                  <a:pt x="2824" y="4615"/>
                  <a:pt x="3461" y="4615"/>
                </a:cubicBezTo>
                <a:cubicBezTo>
                  <a:pt x="3838" y="4615"/>
                  <a:pt x="4172" y="4433"/>
                  <a:pt x="4382" y="4153"/>
                </a:cubicBezTo>
                <a:cubicBezTo>
                  <a:pt x="4291" y="4153"/>
                  <a:pt x="4204" y="4135"/>
                  <a:pt x="4123" y="4102"/>
                </a:cubicBezTo>
                <a:cubicBezTo>
                  <a:pt x="3956" y="4275"/>
                  <a:pt x="3721" y="4384"/>
                  <a:pt x="3461" y="4384"/>
                </a:cubicBezTo>
                <a:cubicBezTo>
                  <a:pt x="2951" y="4384"/>
                  <a:pt x="2538" y="3971"/>
                  <a:pt x="2538" y="3461"/>
                </a:cubicBezTo>
                <a:cubicBezTo>
                  <a:pt x="2538" y="2952"/>
                  <a:pt x="2951" y="2538"/>
                  <a:pt x="3461" y="2538"/>
                </a:cubicBezTo>
                <a:cubicBezTo>
                  <a:pt x="3721" y="2538"/>
                  <a:pt x="3956" y="2647"/>
                  <a:pt x="4123" y="2821"/>
                </a:cubicBezTo>
                <a:cubicBezTo>
                  <a:pt x="4204" y="2788"/>
                  <a:pt x="4291" y="2769"/>
                  <a:pt x="4382" y="2769"/>
                </a:cubicBezTo>
                <a:cubicBezTo>
                  <a:pt x="4172" y="2489"/>
                  <a:pt x="3838" y="2308"/>
                  <a:pt x="3461" y="2308"/>
                </a:cubicBezTo>
                <a:cubicBezTo>
                  <a:pt x="2824" y="2308"/>
                  <a:pt x="2307" y="2824"/>
                  <a:pt x="2307" y="3461"/>
                </a:cubicBezTo>
                <a:close/>
                <a:moveTo>
                  <a:pt x="3692" y="3461"/>
                </a:moveTo>
                <a:cubicBezTo>
                  <a:pt x="3692" y="3171"/>
                  <a:pt x="3870" y="2924"/>
                  <a:pt x="4123" y="2821"/>
                </a:cubicBezTo>
                <a:cubicBezTo>
                  <a:pt x="3956" y="2647"/>
                  <a:pt x="3721" y="2538"/>
                  <a:pt x="3461" y="2538"/>
                </a:cubicBezTo>
                <a:cubicBezTo>
                  <a:pt x="2951" y="2538"/>
                  <a:pt x="2538" y="2952"/>
                  <a:pt x="2538" y="3461"/>
                </a:cubicBezTo>
                <a:cubicBezTo>
                  <a:pt x="2538" y="3971"/>
                  <a:pt x="2951" y="4384"/>
                  <a:pt x="3461" y="4384"/>
                </a:cubicBezTo>
                <a:cubicBezTo>
                  <a:pt x="3721" y="4384"/>
                  <a:pt x="3956" y="4275"/>
                  <a:pt x="4123" y="4102"/>
                </a:cubicBezTo>
                <a:cubicBezTo>
                  <a:pt x="3870" y="3999"/>
                  <a:pt x="3692" y="3751"/>
                  <a:pt x="3692" y="3461"/>
                </a:cubicBezTo>
                <a:close/>
                <a:moveTo>
                  <a:pt x="3882" y="1427"/>
                </a:moveTo>
                <a:cubicBezTo>
                  <a:pt x="3810" y="1266"/>
                  <a:pt x="3649" y="1154"/>
                  <a:pt x="3461" y="1154"/>
                </a:cubicBezTo>
                <a:cubicBezTo>
                  <a:pt x="3273" y="1154"/>
                  <a:pt x="3112" y="1266"/>
                  <a:pt x="3040" y="1427"/>
                </a:cubicBezTo>
                <a:moveTo>
                  <a:pt x="3233" y="1631"/>
                </a:moveTo>
                <a:cubicBezTo>
                  <a:pt x="3233" y="1625"/>
                  <a:pt x="3230" y="1621"/>
                  <a:pt x="3230" y="1615"/>
                </a:cubicBezTo>
                <a:cubicBezTo>
                  <a:pt x="3230" y="1488"/>
                  <a:pt x="3333" y="1385"/>
                  <a:pt x="3461" y="1385"/>
                </a:cubicBezTo>
                <a:moveTo>
                  <a:pt x="3040" y="1427"/>
                </a:moveTo>
                <a:cubicBezTo>
                  <a:pt x="3014" y="1485"/>
                  <a:pt x="2999" y="1548"/>
                  <a:pt x="2999" y="1615"/>
                </a:cubicBezTo>
                <a:cubicBezTo>
                  <a:pt x="2999" y="1635"/>
                  <a:pt x="3003" y="1655"/>
                  <a:pt x="3005" y="1674"/>
                </a:cubicBezTo>
                <a:moveTo>
                  <a:pt x="3916" y="1674"/>
                </a:moveTo>
                <a:cubicBezTo>
                  <a:pt x="3919" y="1655"/>
                  <a:pt x="3922" y="1635"/>
                  <a:pt x="3922" y="1615"/>
                </a:cubicBezTo>
                <a:cubicBezTo>
                  <a:pt x="3922" y="1548"/>
                  <a:pt x="3907" y="1485"/>
                  <a:pt x="3882" y="1427"/>
                </a:cubicBezTo>
                <a:moveTo>
                  <a:pt x="3461" y="1385"/>
                </a:moveTo>
                <a:cubicBezTo>
                  <a:pt x="3588" y="1385"/>
                  <a:pt x="3692" y="1488"/>
                  <a:pt x="3692" y="1615"/>
                </a:cubicBezTo>
                <a:cubicBezTo>
                  <a:pt x="3692" y="1621"/>
                  <a:pt x="3689" y="1625"/>
                  <a:pt x="3689" y="1631"/>
                </a:cubicBezTo>
                <a:moveTo>
                  <a:pt x="3005" y="1674"/>
                </a:moveTo>
                <a:cubicBezTo>
                  <a:pt x="3016" y="1755"/>
                  <a:pt x="3046" y="1828"/>
                  <a:pt x="3092" y="1890"/>
                </a:cubicBezTo>
                <a:moveTo>
                  <a:pt x="3461" y="1846"/>
                </a:moveTo>
                <a:cubicBezTo>
                  <a:pt x="3339" y="1846"/>
                  <a:pt x="3242" y="1751"/>
                  <a:pt x="3233" y="1631"/>
                </a:cubicBezTo>
                <a:moveTo>
                  <a:pt x="3830" y="1890"/>
                </a:moveTo>
                <a:cubicBezTo>
                  <a:pt x="3876" y="1828"/>
                  <a:pt x="3906" y="1755"/>
                  <a:pt x="3916" y="1674"/>
                </a:cubicBezTo>
                <a:moveTo>
                  <a:pt x="3689" y="1631"/>
                </a:moveTo>
                <a:cubicBezTo>
                  <a:pt x="3680" y="1751"/>
                  <a:pt x="3583" y="1846"/>
                  <a:pt x="3461" y="1846"/>
                </a:cubicBezTo>
                <a:moveTo>
                  <a:pt x="3092" y="1890"/>
                </a:moveTo>
                <a:cubicBezTo>
                  <a:pt x="3176" y="2003"/>
                  <a:pt x="3309" y="2077"/>
                  <a:pt x="3461" y="2077"/>
                </a:cubicBezTo>
                <a:cubicBezTo>
                  <a:pt x="3612" y="2077"/>
                  <a:pt x="3746" y="2003"/>
                  <a:pt x="3830" y="1890"/>
                </a:cubicBezTo>
                <a:moveTo>
                  <a:pt x="4702" y="4073"/>
                </a:moveTo>
                <a:cubicBezTo>
                  <a:pt x="4923" y="3958"/>
                  <a:pt x="5076" y="3728"/>
                  <a:pt x="5076" y="3461"/>
                </a:cubicBezTo>
                <a:cubicBezTo>
                  <a:pt x="5076" y="3194"/>
                  <a:pt x="4923" y="2965"/>
                  <a:pt x="4702" y="2850"/>
                </a:cubicBezTo>
                <a:moveTo>
                  <a:pt x="4529" y="3025"/>
                </a:moveTo>
                <a:cubicBezTo>
                  <a:pt x="4712" y="3086"/>
                  <a:pt x="4845" y="3257"/>
                  <a:pt x="4845" y="3461"/>
                </a:cubicBezTo>
                <a:moveTo>
                  <a:pt x="4529" y="3897"/>
                </a:moveTo>
                <a:cubicBezTo>
                  <a:pt x="4712" y="3836"/>
                  <a:pt x="4845" y="3665"/>
                  <a:pt x="4845" y="3461"/>
                </a:cubicBezTo>
                <a:cubicBezTo>
                  <a:pt x="4845" y="3257"/>
                  <a:pt x="4712" y="3086"/>
                  <a:pt x="4529" y="3025"/>
                </a:cubicBezTo>
                <a:moveTo>
                  <a:pt x="4615" y="3461"/>
                </a:moveTo>
                <a:cubicBezTo>
                  <a:pt x="4615" y="3589"/>
                  <a:pt x="4511" y="3692"/>
                  <a:pt x="4384" y="3692"/>
                </a:cubicBezTo>
                <a:cubicBezTo>
                  <a:pt x="4373" y="3692"/>
                  <a:pt x="4364" y="3687"/>
                  <a:pt x="4353" y="3686"/>
                </a:cubicBezTo>
                <a:moveTo>
                  <a:pt x="4265" y="3905"/>
                </a:moveTo>
                <a:cubicBezTo>
                  <a:pt x="4303" y="3916"/>
                  <a:pt x="4343" y="3923"/>
                  <a:pt x="4384" y="3923"/>
                </a:cubicBezTo>
                <a:cubicBezTo>
                  <a:pt x="4435" y="3923"/>
                  <a:pt x="4483" y="3913"/>
                  <a:pt x="4529" y="3897"/>
                </a:cubicBezTo>
                <a:moveTo>
                  <a:pt x="4529" y="3025"/>
                </a:moveTo>
                <a:cubicBezTo>
                  <a:pt x="4483" y="3010"/>
                  <a:pt x="4435" y="3000"/>
                  <a:pt x="4384" y="3000"/>
                </a:cubicBezTo>
                <a:cubicBezTo>
                  <a:pt x="4343" y="3000"/>
                  <a:pt x="4303" y="3007"/>
                  <a:pt x="4265" y="3017"/>
                </a:cubicBezTo>
                <a:moveTo>
                  <a:pt x="4353" y="3237"/>
                </a:moveTo>
                <a:cubicBezTo>
                  <a:pt x="4364" y="3235"/>
                  <a:pt x="4373" y="3231"/>
                  <a:pt x="4384" y="3231"/>
                </a:cubicBezTo>
                <a:cubicBezTo>
                  <a:pt x="4511" y="3231"/>
                  <a:pt x="4615" y="3334"/>
                  <a:pt x="4615" y="3461"/>
                </a:cubicBezTo>
                <a:moveTo>
                  <a:pt x="4353" y="3686"/>
                </a:moveTo>
                <a:cubicBezTo>
                  <a:pt x="4241" y="3670"/>
                  <a:pt x="4153" y="3578"/>
                  <a:pt x="4153" y="3461"/>
                </a:cubicBezTo>
                <a:cubicBezTo>
                  <a:pt x="4153" y="3345"/>
                  <a:pt x="4241" y="3252"/>
                  <a:pt x="4353" y="3237"/>
                </a:cubicBezTo>
                <a:moveTo>
                  <a:pt x="4265" y="3017"/>
                </a:moveTo>
                <a:cubicBezTo>
                  <a:pt x="4068" y="3070"/>
                  <a:pt x="3922" y="3248"/>
                  <a:pt x="3922" y="3461"/>
                </a:cubicBezTo>
                <a:cubicBezTo>
                  <a:pt x="3922" y="3675"/>
                  <a:pt x="4068" y="3853"/>
                  <a:pt x="4265" y="3905"/>
                </a:cubicBezTo>
                <a:moveTo>
                  <a:pt x="946" y="5835"/>
                </a:moveTo>
                <a:cubicBezTo>
                  <a:pt x="986" y="5888"/>
                  <a:pt x="1034" y="5936"/>
                  <a:pt x="1088" y="5976"/>
                </a:cubicBezTo>
                <a:cubicBezTo>
                  <a:pt x="1039" y="5930"/>
                  <a:pt x="992" y="5883"/>
                  <a:pt x="946" y="5835"/>
                </a:cubicBezTo>
                <a:close/>
                <a:moveTo>
                  <a:pt x="1116" y="5679"/>
                </a:moveTo>
                <a:cubicBezTo>
                  <a:pt x="1138" y="5712"/>
                  <a:pt x="1164" y="5742"/>
                  <a:pt x="1194" y="5768"/>
                </a:cubicBezTo>
                <a:cubicBezTo>
                  <a:pt x="1210" y="5782"/>
                  <a:pt x="1226" y="5795"/>
                  <a:pt x="1244" y="5806"/>
                </a:cubicBezTo>
                <a:moveTo>
                  <a:pt x="1364" y="5604"/>
                </a:moveTo>
                <a:cubicBezTo>
                  <a:pt x="1346" y="5591"/>
                  <a:pt x="1331" y="5576"/>
                  <a:pt x="1318" y="5558"/>
                </a:cubicBezTo>
                <a:moveTo>
                  <a:pt x="1244" y="5806"/>
                </a:moveTo>
                <a:cubicBezTo>
                  <a:pt x="1317" y="5855"/>
                  <a:pt x="1405" y="5884"/>
                  <a:pt x="1500" y="5884"/>
                </a:cubicBezTo>
                <a:cubicBezTo>
                  <a:pt x="1555" y="5884"/>
                  <a:pt x="1608" y="5873"/>
                  <a:pt x="1658" y="5855"/>
                </a:cubicBezTo>
                <a:moveTo>
                  <a:pt x="1068" y="5264"/>
                </a:moveTo>
                <a:cubicBezTo>
                  <a:pt x="1049" y="5314"/>
                  <a:pt x="1038" y="5367"/>
                  <a:pt x="1038" y="5423"/>
                </a:cubicBezTo>
                <a:cubicBezTo>
                  <a:pt x="1038" y="5517"/>
                  <a:pt x="1067" y="5605"/>
                  <a:pt x="1116" y="5679"/>
                </a:cubicBezTo>
                <a:moveTo>
                  <a:pt x="1318" y="5558"/>
                </a:moveTo>
                <a:cubicBezTo>
                  <a:pt x="1289" y="5520"/>
                  <a:pt x="1269" y="5474"/>
                  <a:pt x="1269" y="5423"/>
                </a:cubicBezTo>
                <a:cubicBezTo>
                  <a:pt x="1269" y="5353"/>
                  <a:pt x="1301" y="5293"/>
                  <a:pt x="1350" y="5251"/>
                </a:cubicBezTo>
                <a:moveTo>
                  <a:pt x="1208" y="5067"/>
                </a:moveTo>
                <a:cubicBezTo>
                  <a:pt x="1145" y="5119"/>
                  <a:pt x="1096" y="5186"/>
                  <a:pt x="1068" y="5264"/>
                </a:cubicBezTo>
                <a:moveTo>
                  <a:pt x="1658" y="5855"/>
                </a:moveTo>
                <a:cubicBezTo>
                  <a:pt x="1736" y="5826"/>
                  <a:pt x="1803" y="5777"/>
                  <a:pt x="1855" y="5714"/>
                </a:cubicBezTo>
                <a:moveTo>
                  <a:pt x="1672" y="5573"/>
                </a:moveTo>
                <a:cubicBezTo>
                  <a:pt x="1629" y="5621"/>
                  <a:pt x="1569" y="5653"/>
                  <a:pt x="1500" y="5653"/>
                </a:cubicBezTo>
                <a:cubicBezTo>
                  <a:pt x="1448" y="5653"/>
                  <a:pt x="1402" y="5633"/>
                  <a:pt x="1364" y="5604"/>
                </a:cubicBezTo>
                <a:moveTo>
                  <a:pt x="1422" y="4969"/>
                </a:moveTo>
                <a:cubicBezTo>
                  <a:pt x="1342" y="4983"/>
                  <a:pt x="1269" y="5018"/>
                  <a:pt x="1208" y="5067"/>
                </a:cubicBezTo>
                <a:moveTo>
                  <a:pt x="1855" y="5714"/>
                </a:moveTo>
                <a:cubicBezTo>
                  <a:pt x="1905" y="5653"/>
                  <a:pt x="1940" y="5581"/>
                  <a:pt x="1953" y="5500"/>
                </a:cubicBezTo>
                <a:moveTo>
                  <a:pt x="1350" y="5251"/>
                </a:moveTo>
                <a:cubicBezTo>
                  <a:pt x="1390" y="5215"/>
                  <a:pt x="1442" y="5192"/>
                  <a:pt x="1500" y="5192"/>
                </a:cubicBezTo>
                <a:cubicBezTo>
                  <a:pt x="1627" y="5192"/>
                  <a:pt x="1730" y="5295"/>
                  <a:pt x="1730" y="5423"/>
                </a:cubicBezTo>
                <a:cubicBezTo>
                  <a:pt x="1730" y="5481"/>
                  <a:pt x="1707" y="5532"/>
                  <a:pt x="1672" y="5573"/>
                </a:cubicBezTo>
                <a:moveTo>
                  <a:pt x="1953" y="5500"/>
                </a:moveTo>
                <a:cubicBezTo>
                  <a:pt x="1958" y="5475"/>
                  <a:pt x="1961" y="5449"/>
                  <a:pt x="1961" y="5423"/>
                </a:cubicBezTo>
                <a:cubicBezTo>
                  <a:pt x="1961" y="5168"/>
                  <a:pt x="1754" y="4961"/>
                  <a:pt x="1500" y="4961"/>
                </a:cubicBezTo>
                <a:cubicBezTo>
                  <a:pt x="1473" y="4961"/>
                  <a:pt x="1448" y="4965"/>
                  <a:pt x="1422" y="4969"/>
                </a:cubicBezTo>
                <a:moveTo>
                  <a:pt x="1318" y="5558"/>
                </a:moveTo>
                <a:cubicBezTo>
                  <a:pt x="1331" y="5576"/>
                  <a:pt x="1346" y="5591"/>
                  <a:pt x="1364" y="5604"/>
                </a:cubicBezTo>
                <a:cubicBezTo>
                  <a:pt x="1348" y="5589"/>
                  <a:pt x="1333" y="5574"/>
                  <a:pt x="1318" y="5558"/>
                </a:cubicBezTo>
                <a:close/>
                <a:moveTo>
                  <a:pt x="1350" y="5251"/>
                </a:moveTo>
                <a:cubicBezTo>
                  <a:pt x="1301" y="5293"/>
                  <a:pt x="1269" y="5353"/>
                  <a:pt x="1269" y="5423"/>
                </a:cubicBezTo>
                <a:cubicBezTo>
                  <a:pt x="1269" y="5474"/>
                  <a:pt x="1289" y="5520"/>
                  <a:pt x="1318" y="5558"/>
                </a:cubicBezTo>
                <a:cubicBezTo>
                  <a:pt x="1333" y="5574"/>
                  <a:pt x="1348" y="5589"/>
                  <a:pt x="1364" y="5604"/>
                </a:cubicBezTo>
                <a:cubicBezTo>
                  <a:pt x="1402" y="5633"/>
                  <a:pt x="1448" y="5653"/>
                  <a:pt x="1500" y="5653"/>
                </a:cubicBezTo>
                <a:cubicBezTo>
                  <a:pt x="1569" y="5653"/>
                  <a:pt x="1629" y="5621"/>
                  <a:pt x="1672" y="5573"/>
                </a:cubicBezTo>
                <a:moveTo>
                  <a:pt x="1672" y="5573"/>
                </a:moveTo>
                <a:cubicBezTo>
                  <a:pt x="1707" y="5532"/>
                  <a:pt x="1730" y="5481"/>
                  <a:pt x="1730" y="5423"/>
                </a:cubicBezTo>
                <a:cubicBezTo>
                  <a:pt x="1730" y="5295"/>
                  <a:pt x="1627" y="5192"/>
                  <a:pt x="1500" y="5192"/>
                </a:cubicBezTo>
                <a:cubicBezTo>
                  <a:pt x="1442" y="5192"/>
                  <a:pt x="1390" y="5215"/>
                  <a:pt x="1350" y="5251"/>
                </a:cubicBezTo>
              </a:path>
            </a:pathLst>
          </a:custGeom>
          <a:noFill/>
          <a:ln w="14288" cap="flat">
            <a:solidFill>
              <a:srgbClr val="F3E03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Connected Object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chemeClr val="accent1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chemeClr val="accent1"/>
                </a:solidFill>
              </a:defRPr>
            </a:lvl1pPr>
          </a:lstStyle>
          <a:p>
            <a:pPr algn="r"/>
            <a:fld id="{AB16708E-10F9-4E00-86C8-D8508467258A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795542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solidFill>
          <a:srgbClr val="F3E0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20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21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8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7" name="Freeform 5"/>
          <p:cNvSpPr>
            <a:spLocks noEditPoints="1"/>
          </p:cNvSpPr>
          <p:nvPr/>
        </p:nvSpPr>
        <p:spPr bwMode="auto">
          <a:xfrm>
            <a:off x="4359253" y="310137"/>
            <a:ext cx="4473575" cy="4468813"/>
          </a:xfrm>
          <a:custGeom>
            <a:avLst/>
            <a:gdLst>
              <a:gd name="T0" fmla="*/ 807 w 6922"/>
              <a:gd name="T1" fmla="*/ 5423 h 6923"/>
              <a:gd name="T2" fmla="*/ 6691 w 6922"/>
              <a:gd name="T3" fmla="*/ 3461 h 6923"/>
              <a:gd name="T4" fmla="*/ 1088 w 6922"/>
              <a:gd name="T5" fmla="*/ 5976 h 6923"/>
              <a:gd name="T6" fmla="*/ 919 w 6922"/>
              <a:gd name="T7" fmla="*/ 5048 h 6923"/>
              <a:gd name="T8" fmla="*/ 3461 w 6922"/>
              <a:gd name="T9" fmla="*/ 6461 h 6923"/>
              <a:gd name="T10" fmla="*/ 6691 w 6922"/>
              <a:gd name="T11" fmla="*/ 3461 h 6923"/>
              <a:gd name="T12" fmla="*/ 1082 w 6922"/>
              <a:gd name="T13" fmla="*/ 4874 h 6923"/>
              <a:gd name="T14" fmla="*/ 3461 w 6922"/>
              <a:gd name="T15" fmla="*/ 6230 h 6923"/>
              <a:gd name="T16" fmla="*/ 6461 w 6922"/>
              <a:gd name="T17" fmla="*/ 3461 h 6923"/>
              <a:gd name="T18" fmla="*/ 1082 w 6922"/>
              <a:gd name="T19" fmla="*/ 4874 h 6923"/>
              <a:gd name="T20" fmla="*/ 3461 w 6922"/>
              <a:gd name="T21" fmla="*/ 692 h 6923"/>
              <a:gd name="T22" fmla="*/ 923 w 6922"/>
              <a:gd name="T23" fmla="*/ 3461 h 6923"/>
              <a:gd name="T24" fmla="*/ 2155 w 6922"/>
              <a:gd name="T25" fmla="*/ 5635 h 6923"/>
              <a:gd name="T26" fmla="*/ 3461 w 6922"/>
              <a:gd name="T27" fmla="*/ 923 h 6923"/>
              <a:gd name="T28" fmla="*/ 1537 w 6922"/>
              <a:gd name="T29" fmla="*/ 4734 h 6923"/>
              <a:gd name="T30" fmla="*/ 2188 w 6922"/>
              <a:gd name="T31" fmla="*/ 5385 h 6923"/>
              <a:gd name="T32" fmla="*/ 5999 w 6922"/>
              <a:gd name="T33" fmla="*/ 3461 h 6923"/>
              <a:gd name="T34" fmla="*/ 4035 w 6922"/>
              <a:gd name="T35" fmla="*/ 1229 h 6923"/>
              <a:gd name="T36" fmla="*/ 1384 w 6922"/>
              <a:gd name="T37" fmla="*/ 3461 h 6923"/>
              <a:gd name="T38" fmla="*/ 1537 w 6922"/>
              <a:gd name="T39" fmla="*/ 4734 h 6923"/>
              <a:gd name="T40" fmla="*/ 2780 w 6922"/>
              <a:gd name="T41" fmla="*/ 1501 h 6923"/>
              <a:gd name="T42" fmla="*/ 4142 w 6922"/>
              <a:gd name="T43" fmla="*/ 1501 h 6923"/>
              <a:gd name="T44" fmla="*/ 1615 w 6922"/>
              <a:gd name="T45" fmla="*/ 3461 h 6923"/>
              <a:gd name="T46" fmla="*/ 1846 w 6922"/>
              <a:gd name="T47" fmla="*/ 3461 h 6923"/>
              <a:gd name="T48" fmla="*/ 3461 w 6922"/>
              <a:gd name="T49" fmla="*/ 5307 h 6923"/>
              <a:gd name="T50" fmla="*/ 5076 w 6922"/>
              <a:gd name="T51" fmla="*/ 3461 h 6923"/>
              <a:gd name="T52" fmla="*/ 5076 w 6922"/>
              <a:gd name="T53" fmla="*/ 3461 h 6923"/>
              <a:gd name="T54" fmla="*/ 3024 w 6922"/>
              <a:gd name="T55" fmla="*/ 2148 h 6923"/>
              <a:gd name="T56" fmla="*/ 4057 w 6922"/>
              <a:gd name="T57" fmla="*/ 1961 h 6923"/>
              <a:gd name="T58" fmla="*/ 4382 w 6922"/>
              <a:gd name="T59" fmla="*/ 2769 h 6923"/>
              <a:gd name="T60" fmla="*/ 3461 w 6922"/>
              <a:gd name="T61" fmla="*/ 4615 h 6923"/>
              <a:gd name="T62" fmla="*/ 2076 w 6922"/>
              <a:gd name="T63" fmla="*/ 3461 h 6923"/>
              <a:gd name="T64" fmla="*/ 3461 w 6922"/>
              <a:gd name="T65" fmla="*/ 4615 h 6923"/>
              <a:gd name="T66" fmla="*/ 2538 w 6922"/>
              <a:gd name="T67" fmla="*/ 3461 h 6923"/>
              <a:gd name="T68" fmla="*/ 3461 w 6922"/>
              <a:gd name="T69" fmla="*/ 2308 h 6923"/>
              <a:gd name="T70" fmla="*/ 3461 w 6922"/>
              <a:gd name="T71" fmla="*/ 2538 h 6923"/>
              <a:gd name="T72" fmla="*/ 3692 w 6922"/>
              <a:gd name="T73" fmla="*/ 3461 h 6923"/>
              <a:gd name="T74" fmla="*/ 3233 w 6922"/>
              <a:gd name="T75" fmla="*/ 1631 h 6923"/>
              <a:gd name="T76" fmla="*/ 2999 w 6922"/>
              <a:gd name="T77" fmla="*/ 1615 h 6923"/>
              <a:gd name="T78" fmla="*/ 3882 w 6922"/>
              <a:gd name="T79" fmla="*/ 1427 h 6923"/>
              <a:gd name="T80" fmla="*/ 3005 w 6922"/>
              <a:gd name="T81" fmla="*/ 1674 h 6923"/>
              <a:gd name="T82" fmla="*/ 3830 w 6922"/>
              <a:gd name="T83" fmla="*/ 1890 h 6923"/>
              <a:gd name="T84" fmla="*/ 3092 w 6922"/>
              <a:gd name="T85" fmla="*/ 1890 h 6923"/>
              <a:gd name="T86" fmla="*/ 5076 w 6922"/>
              <a:gd name="T87" fmla="*/ 3461 h 6923"/>
              <a:gd name="T88" fmla="*/ 4529 w 6922"/>
              <a:gd name="T89" fmla="*/ 3897 h 6923"/>
              <a:gd name="T90" fmla="*/ 4384 w 6922"/>
              <a:gd name="T91" fmla="*/ 3692 h 6923"/>
              <a:gd name="T92" fmla="*/ 4529 w 6922"/>
              <a:gd name="T93" fmla="*/ 3897 h 6923"/>
              <a:gd name="T94" fmla="*/ 4353 w 6922"/>
              <a:gd name="T95" fmla="*/ 3237 h 6923"/>
              <a:gd name="T96" fmla="*/ 4153 w 6922"/>
              <a:gd name="T97" fmla="*/ 3461 h 6923"/>
              <a:gd name="T98" fmla="*/ 4265 w 6922"/>
              <a:gd name="T99" fmla="*/ 3905 h 6923"/>
              <a:gd name="T100" fmla="*/ 1116 w 6922"/>
              <a:gd name="T101" fmla="*/ 5679 h 6923"/>
              <a:gd name="T102" fmla="*/ 1318 w 6922"/>
              <a:gd name="T103" fmla="*/ 5558 h 6923"/>
              <a:gd name="T104" fmla="*/ 1068 w 6922"/>
              <a:gd name="T105" fmla="*/ 5264 h 6923"/>
              <a:gd name="T106" fmla="*/ 1269 w 6922"/>
              <a:gd name="T107" fmla="*/ 5423 h 6923"/>
              <a:gd name="T108" fmla="*/ 1658 w 6922"/>
              <a:gd name="T109" fmla="*/ 5855 h 6923"/>
              <a:gd name="T110" fmla="*/ 1364 w 6922"/>
              <a:gd name="T111" fmla="*/ 5604 h 6923"/>
              <a:gd name="T112" fmla="*/ 1953 w 6922"/>
              <a:gd name="T113" fmla="*/ 5500 h 6923"/>
              <a:gd name="T114" fmla="*/ 1672 w 6922"/>
              <a:gd name="T115" fmla="*/ 5573 h 6923"/>
              <a:gd name="T116" fmla="*/ 1422 w 6922"/>
              <a:gd name="T117" fmla="*/ 4969 h 6923"/>
              <a:gd name="T118" fmla="*/ 1350 w 6922"/>
              <a:gd name="T119" fmla="*/ 5251 h 6923"/>
              <a:gd name="T120" fmla="*/ 1500 w 6922"/>
              <a:gd name="T121" fmla="*/ 5653 h 6923"/>
              <a:gd name="T122" fmla="*/ 1500 w 6922"/>
              <a:gd name="T123" fmla="*/ 5192 h 6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22" h="6923">
                <a:moveTo>
                  <a:pt x="3461" y="0"/>
                </a:moveTo>
                <a:cubicBezTo>
                  <a:pt x="1549" y="0"/>
                  <a:pt x="0" y="1550"/>
                  <a:pt x="0" y="3461"/>
                </a:cubicBezTo>
                <a:cubicBezTo>
                  <a:pt x="0" y="4381"/>
                  <a:pt x="361" y="5215"/>
                  <a:pt x="946" y="5835"/>
                </a:cubicBezTo>
                <a:cubicBezTo>
                  <a:pt x="860" y="5719"/>
                  <a:pt x="807" y="5578"/>
                  <a:pt x="807" y="5423"/>
                </a:cubicBezTo>
                <a:cubicBezTo>
                  <a:pt x="807" y="5386"/>
                  <a:pt x="813" y="5351"/>
                  <a:pt x="818" y="5316"/>
                </a:cubicBezTo>
                <a:cubicBezTo>
                  <a:pt x="449" y="4790"/>
                  <a:pt x="230" y="4152"/>
                  <a:pt x="230" y="3461"/>
                </a:cubicBezTo>
                <a:cubicBezTo>
                  <a:pt x="230" y="1677"/>
                  <a:pt x="1677" y="231"/>
                  <a:pt x="3461" y="231"/>
                </a:cubicBezTo>
                <a:cubicBezTo>
                  <a:pt x="5245" y="231"/>
                  <a:pt x="6691" y="1677"/>
                  <a:pt x="6691" y="3461"/>
                </a:cubicBezTo>
                <a:cubicBezTo>
                  <a:pt x="6691" y="5245"/>
                  <a:pt x="5245" y="6692"/>
                  <a:pt x="3461" y="6692"/>
                </a:cubicBezTo>
                <a:cubicBezTo>
                  <a:pt x="2770" y="6692"/>
                  <a:pt x="2132" y="6473"/>
                  <a:pt x="1607" y="6104"/>
                </a:cubicBezTo>
                <a:cubicBezTo>
                  <a:pt x="1571" y="6110"/>
                  <a:pt x="1536" y="6115"/>
                  <a:pt x="1500" y="6115"/>
                </a:cubicBezTo>
                <a:cubicBezTo>
                  <a:pt x="1345" y="6115"/>
                  <a:pt x="1203" y="6062"/>
                  <a:pt x="1088" y="5976"/>
                </a:cubicBezTo>
                <a:cubicBezTo>
                  <a:pt x="1707" y="6561"/>
                  <a:pt x="2541" y="6923"/>
                  <a:pt x="3461" y="6923"/>
                </a:cubicBezTo>
                <a:cubicBezTo>
                  <a:pt x="5373" y="6923"/>
                  <a:pt x="6922" y="5373"/>
                  <a:pt x="6922" y="3461"/>
                </a:cubicBezTo>
                <a:cubicBezTo>
                  <a:pt x="6922" y="1550"/>
                  <a:pt x="5373" y="0"/>
                  <a:pt x="3461" y="0"/>
                </a:cubicBezTo>
                <a:close/>
                <a:moveTo>
                  <a:pt x="919" y="5048"/>
                </a:moveTo>
                <a:cubicBezTo>
                  <a:pt x="630" y="4588"/>
                  <a:pt x="461" y="4045"/>
                  <a:pt x="461" y="3461"/>
                </a:cubicBezTo>
                <a:cubicBezTo>
                  <a:pt x="461" y="1805"/>
                  <a:pt x="1804" y="462"/>
                  <a:pt x="3461" y="462"/>
                </a:cubicBezTo>
                <a:cubicBezTo>
                  <a:pt x="5118" y="462"/>
                  <a:pt x="6461" y="1805"/>
                  <a:pt x="6461" y="3461"/>
                </a:cubicBezTo>
                <a:cubicBezTo>
                  <a:pt x="6461" y="5118"/>
                  <a:pt x="5118" y="6461"/>
                  <a:pt x="3461" y="6461"/>
                </a:cubicBezTo>
                <a:cubicBezTo>
                  <a:pt x="2877" y="6461"/>
                  <a:pt x="2335" y="6292"/>
                  <a:pt x="1874" y="6004"/>
                </a:cubicBezTo>
                <a:moveTo>
                  <a:pt x="1607" y="6104"/>
                </a:moveTo>
                <a:cubicBezTo>
                  <a:pt x="2132" y="6473"/>
                  <a:pt x="2770" y="6692"/>
                  <a:pt x="3461" y="6692"/>
                </a:cubicBezTo>
                <a:cubicBezTo>
                  <a:pt x="5245" y="6692"/>
                  <a:pt x="6691" y="5245"/>
                  <a:pt x="6691" y="3461"/>
                </a:cubicBezTo>
                <a:cubicBezTo>
                  <a:pt x="6691" y="1677"/>
                  <a:pt x="5245" y="231"/>
                  <a:pt x="3461" y="231"/>
                </a:cubicBezTo>
                <a:cubicBezTo>
                  <a:pt x="1677" y="231"/>
                  <a:pt x="230" y="1677"/>
                  <a:pt x="230" y="3461"/>
                </a:cubicBezTo>
                <a:cubicBezTo>
                  <a:pt x="230" y="4152"/>
                  <a:pt x="449" y="4790"/>
                  <a:pt x="818" y="5316"/>
                </a:cubicBezTo>
                <a:moveTo>
                  <a:pt x="1082" y="4874"/>
                </a:moveTo>
                <a:cubicBezTo>
                  <a:pt x="836" y="4460"/>
                  <a:pt x="692" y="3978"/>
                  <a:pt x="692" y="3461"/>
                </a:cubicBezTo>
                <a:cubicBezTo>
                  <a:pt x="692" y="1932"/>
                  <a:pt x="1932" y="692"/>
                  <a:pt x="3461" y="692"/>
                </a:cubicBezTo>
                <a:cubicBezTo>
                  <a:pt x="4990" y="692"/>
                  <a:pt x="6230" y="1932"/>
                  <a:pt x="6230" y="3461"/>
                </a:cubicBezTo>
                <a:cubicBezTo>
                  <a:pt x="6230" y="4991"/>
                  <a:pt x="4990" y="6230"/>
                  <a:pt x="3461" y="6230"/>
                </a:cubicBezTo>
                <a:cubicBezTo>
                  <a:pt x="2944" y="6230"/>
                  <a:pt x="2462" y="6086"/>
                  <a:pt x="2049" y="5840"/>
                </a:cubicBezTo>
                <a:cubicBezTo>
                  <a:pt x="2000" y="5904"/>
                  <a:pt x="1942" y="5960"/>
                  <a:pt x="1874" y="6004"/>
                </a:cubicBezTo>
                <a:cubicBezTo>
                  <a:pt x="2335" y="6292"/>
                  <a:pt x="2877" y="6461"/>
                  <a:pt x="3461" y="6461"/>
                </a:cubicBezTo>
                <a:cubicBezTo>
                  <a:pt x="5118" y="6461"/>
                  <a:pt x="6461" y="5118"/>
                  <a:pt x="6461" y="3461"/>
                </a:cubicBezTo>
                <a:cubicBezTo>
                  <a:pt x="6461" y="1805"/>
                  <a:pt x="5118" y="462"/>
                  <a:pt x="3461" y="462"/>
                </a:cubicBezTo>
                <a:cubicBezTo>
                  <a:pt x="1804" y="462"/>
                  <a:pt x="461" y="1805"/>
                  <a:pt x="461" y="3461"/>
                </a:cubicBezTo>
                <a:cubicBezTo>
                  <a:pt x="461" y="4045"/>
                  <a:pt x="630" y="4588"/>
                  <a:pt x="919" y="5048"/>
                </a:cubicBezTo>
                <a:cubicBezTo>
                  <a:pt x="962" y="4981"/>
                  <a:pt x="1018" y="4922"/>
                  <a:pt x="1082" y="4874"/>
                </a:cubicBezTo>
                <a:close/>
                <a:moveTo>
                  <a:pt x="2049" y="5840"/>
                </a:moveTo>
                <a:cubicBezTo>
                  <a:pt x="2462" y="6086"/>
                  <a:pt x="2944" y="6230"/>
                  <a:pt x="3461" y="6230"/>
                </a:cubicBezTo>
                <a:cubicBezTo>
                  <a:pt x="4990" y="6230"/>
                  <a:pt x="6230" y="4991"/>
                  <a:pt x="6230" y="3461"/>
                </a:cubicBezTo>
                <a:cubicBezTo>
                  <a:pt x="6230" y="1932"/>
                  <a:pt x="4990" y="692"/>
                  <a:pt x="3461" y="692"/>
                </a:cubicBezTo>
                <a:cubicBezTo>
                  <a:pt x="1932" y="692"/>
                  <a:pt x="692" y="1932"/>
                  <a:pt x="692" y="3461"/>
                </a:cubicBezTo>
                <a:cubicBezTo>
                  <a:pt x="692" y="3978"/>
                  <a:pt x="836" y="4460"/>
                  <a:pt x="1082" y="4874"/>
                </a:cubicBezTo>
                <a:moveTo>
                  <a:pt x="1287" y="4767"/>
                </a:moveTo>
                <a:cubicBezTo>
                  <a:pt x="1057" y="4385"/>
                  <a:pt x="923" y="3939"/>
                  <a:pt x="923" y="3461"/>
                </a:cubicBezTo>
                <a:cubicBezTo>
                  <a:pt x="923" y="2059"/>
                  <a:pt x="2059" y="923"/>
                  <a:pt x="3461" y="923"/>
                </a:cubicBezTo>
                <a:cubicBezTo>
                  <a:pt x="4863" y="923"/>
                  <a:pt x="5999" y="2059"/>
                  <a:pt x="5999" y="3461"/>
                </a:cubicBezTo>
                <a:cubicBezTo>
                  <a:pt x="5999" y="4863"/>
                  <a:pt x="4863" y="6000"/>
                  <a:pt x="3461" y="6000"/>
                </a:cubicBezTo>
                <a:cubicBezTo>
                  <a:pt x="2983" y="6000"/>
                  <a:pt x="2537" y="5865"/>
                  <a:pt x="2155" y="5635"/>
                </a:cubicBezTo>
                <a:moveTo>
                  <a:pt x="1537" y="4734"/>
                </a:moveTo>
                <a:cubicBezTo>
                  <a:pt x="1295" y="4369"/>
                  <a:pt x="1153" y="3932"/>
                  <a:pt x="1153" y="3461"/>
                </a:cubicBezTo>
                <a:cubicBezTo>
                  <a:pt x="1153" y="2386"/>
                  <a:pt x="1891" y="1484"/>
                  <a:pt x="2887" y="1229"/>
                </a:cubicBezTo>
                <a:cubicBezTo>
                  <a:pt x="3011" y="1044"/>
                  <a:pt x="3222" y="923"/>
                  <a:pt x="3461" y="923"/>
                </a:cubicBezTo>
                <a:cubicBezTo>
                  <a:pt x="2059" y="923"/>
                  <a:pt x="923" y="2059"/>
                  <a:pt x="923" y="3461"/>
                </a:cubicBezTo>
                <a:cubicBezTo>
                  <a:pt x="923" y="3939"/>
                  <a:pt x="1057" y="4385"/>
                  <a:pt x="1287" y="4767"/>
                </a:cubicBezTo>
                <a:cubicBezTo>
                  <a:pt x="1355" y="4745"/>
                  <a:pt x="1425" y="4730"/>
                  <a:pt x="1500" y="4730"/>
                </a:cubicBezTo>
                <a:cubicBezTo>
                  <a:pt x="1512" y="4730"/>
                  <a:pt x="1524" y="4733"/>
                  <a:pt x="1537" y="4734"/>
                </a:cubicBezTo>
                <a:close/>
                <a:moveTo>
                  <a:pt x="4035" y="1229"/>
                </a:moveTo>
                <a:cubicBezTo>
                  <a:pt x="5031" y="1484"/>
                  <a:pt x="5768" y="2386"/>
                  <a:pt x="5768" y="3461"/>
                </a:cubicBezTo>
                <a:cubicBezTo>
                  <a:pt x="5768" y="4736"/>
                  <a:pt x="4735" y="5769"/>
                  <a:pt x="3461" y="5769"/>
                </a:cubicBezTo>
                <a:cubicBezTo>
                  <a:pt x="2990" y="5769"/>
                  <a:pt x="2553" y="5627"/>
                  <a:pt x="2188" y="5385"/>
                </a:cubicBezTo>
                <a:cubicBezTo>
                  <a:pt x="2189" y="5398"/>
                  <a:pt x="2192" y="5410"/>
                  <a:pt x="2192" y="5423"/>
                </a:cubicBezTo>
                <a:cubicBezTo>
                  <a:pt x="2192" y="5497"/>
                  <a:pt x="2177" y="5568"/>
                  <a:pt x="2155" y="5635"/>
                </a:cubicBezTo>
                <a:cubicBezTo>
                  <a:pt x="2537" y="5865"/>
                  <a:pt x="2983" y="6000"/>
                  <a:pt x="3461" y="6000"/>
                </a:cubicBezTo>
                <a:cubicBezTo>
                  <a:pt x="4863" y="6000"/>
                  <a:pt x="5999" y="4863"/>
                  <a:pt x="5999" y="3461"/>
                </a:cubicBezTo>
                <a:cubicBezTo>
                  <a:pt x="5999" y="2059"/>
                  <a:pt x="4863" y="923"/>
                  <a:pt x="3461" y="923"/>
                </a:cubicBezTo>
                <a:cubicBezTo>
                  <a:pt x="3700" y="923"/>
                  <a:pt x="3911" y="1044"/>
                  <a:pt x="4035" y="1229"/>
                </a:cubicBezTo>
                <a:close/>
                <a:moveTo>
                  <a:pt x="5768" y="3461"/>
                </a:moveTo>
                <a:cubicBezTo>
                  <a:pt x="5768" y="2386"/>
                  <a:pt x="5031" y="1484"/>
                  <a:pt x="4035" y="1229"/>
                </a:cubicBezTo>
                <a:cubicBezTo>
                  <a:pt x="4089" y="1309"/>
                  <a:pt x="4125" y="1402"/>
                  <a:pt x="4142" y="1501"/>
                </a:cubicBezTo>
                <a:cubicBezTo>
                  <a:pt x="4954" y="1783"/>
                  <a:pt x="5538" y="2553"/>
                  <a:pt x="5538" y="3461"/>
                </a:cubicBezTo>
                <a:cubicBezTo>
                  <a:pt x="5538" y="4608"/>
                  <a:pt x="4608" y="5538"/>
                  <a:pt x="3461" y="5538"/>
                </a:cubicBezTo>
                <a:cubicBezTo>
                  <a:pt x="2314" y="5538"/>
                  <a:pt x="1384" y="4608"/>
                  <a:pt x="1384" y="3461"/>
                </a:cubicBezTo>
                <a:cubicBezTo>
                  <a:pt x="1384" y="2553"/>
                  <a:pt x="1968" y="1783"/>
                  <a:pt x="2780" y="1501"/>
                </a:cubicBezTo>
                <a:cubicBezTo>
                  <a:pt x="2797" y="1402"/>
                  <a:pt x="2833" y="1309"/>
                  <a:pt x="2887" y="1229"/>
                </a:cubicBezTo>
                <a:cubicBezTo>
                  <a:pt x="1891" y="1484"/>
                  <a:pt x="1153" y="2386"/>
                  <a:pt x="1153" y="3461"/>
                </a:cubicBezTo>
                <a:cubicBezTo>
                  <a:pt x="1153" y="3932"/>
                  <a:pt x="1295" y="4369"/>
                  <a:pt x="1537" y="4734"/>
                </a:cubicBezTo>
                <a:cubicBezTo>
                  <a:pt x="1889" y="4753"/>
                  <a:pt x="2169" y="5033"/>
                  <a:pt x="2188" y="5385"/>
                </a:cubicBezTo>
                <a:cubicBezTo>
                  <a:pt x="2553" y="5627"/>
                  <a:pt x="2990" y="5769"/>
                  <a:pt x="3461" y="5769"/>
                </a:cubicBezTo>
                <a:cubicBezTo>
                  <a:pt x="4735" y="5769"/>
                  <a:pt x="5768" y="4736"/>
                  <a:pt x="5768" y="3461"/>
                </a:cubicBezTo>
                <a:close/>
                <a:moveTo>
                  <a:pt x="2780" y="1501"/>
                </a:moveTo>
                <a:cubicBezTo>
                  <a:pt x="1968" y="1783"/>
                  <a:pt x="1384" y="2553"/>
                  <a:pt x="1384" y="3461"/>
                </a:cubicBezTo>
                <a:cubicBezTo>
                  <a:pt x="1384" y="4608"/>
                  <a:pt x="2314" y="5538"/>
                  <a:pt x="3461" y="5538"/>
                </a:cubicBezTo>
                <a:cubicBezTo>
                  <a:pt x="4608" y="5538"/>
                  <a:pt x="5538" y="4608"/>
                  <a:pt x="5538" y="3461"/>
                </a:cubicBezTo>
                <a:cubicBezTo>
                  <a:pt x="5538" y="2553"/>
                  <a:pt x="4954" y="1783"/>
                  <a:pt x="4142" y="1501"/>
                </a:cubicBezTo>
                <a:moveTo>
                  <a:pt x="4140" y="1746"/>
                </a:moveTo>
                <a:cubicBezTo>
                  <a:pt x="4823" y="2017"/>
                  <a:pt x="5307" y="2682"/>
                  <a:pt x="5307" y="3461"/>
                </a:cubicBezTo>
                <a:cubicBezTo>
                  <a:pt x="5307" y="4481"/>
                  <a:pt x="4480" y="5307"/>
                  <a:pt x="3461" y="5307"/>
                </a:cubicBezTo>
                <a:cubicBezTo>
                  <a:pt x="2441" y="5307"/>
                  <a:pt x="1615" y="4481"/>
                  <a:pt x="1615" y="3461"/>
                </a:cubicBezTo>
                <a:cubicBezTo>
                  <a:pt x="1615" y="2682"/>
                  <a:pt x="2099" y="2017"/>
                  <a:pt x="2782" y="1746"/>
                </a:cubicBezTo>
                <a:moveTo>
                  <a:pt x="5076" y="3461"/>
                </a:moveTo>
                <a:cubicBezTo>
                  <a:pt x="5076" y="4353"/>
                  <a:pt x="4353" y="5077"/>
                  <a:pt x="3461" y="5077"/>
                </a:cubicBezTo>
                <a:cubicBezTo>
                  <a:pt x="2569" y="5077"/>
                  <a:pt x="1846" y="4353"/>
                  <a:pt x="1846" y="3461"/>
                </a:cubicBezTo>
                <a:cubicBezTo>
                  <a:pt x="1846" y="2780"/>
                  <a:pt x="2268" y="2199"/>
                  <a:pt x="2865" y="1961"/>
                </a:cubicBezTo>
                <a:cubicBezTo>
                  <a:pt x="2826" y="1895"/>
                  <a:pt x="2797" y="1823"/>
                  <a:pt x="2782" y="1746"/>
                </a:cubicBezTo>
                <a:cubicBezTo>
                  <a:pt x="2099" y="2017"/>
                  <a:pt x="1615" y="2682"/>
                  <a:pt x="1615" y="3461"/>
                </a:cubicBezTo>
                <a:cubicBezTo>
                  <a:pt x="1615" y="4481"/>
                  <a:pt x="2441" y="5307"/>
                  <a:pt x="3461" y="5307"/>
                </a:cubicBezTo>
                <a:cubicBezTo>
                  <a:pt x="4480" y="5307"/>
                  <a:pt x="5307" y="4481"/>
                  <a:pt x="5307" y="3461"/>
                </a:cubicBezTo>
                <a:cubicBezTo>
                  <a:pt x="5307" y="2682"/>
                  <a:pt x="4823" y="2017"/>
                  <a:pt x="4140" y="1746"/>
                </a:cubicBezTo>
                <a:cubicBezTo>
                  <a:pt x="4125" y="1823"/>
                  <a:pt x="4096" y="1895"/>
                  <a:pt x="4057" y="1961"/>
                </a:cubicBezTo>
                <a:cubicBezTo>
                  <a:pt x="4654" y="2199"/>
                  <a:pt x="5076" y="2780"/>
                  <a:pt x="5076" y="3461"/>
                </a:cubicBezTo>
                <a:close/>
                <a:moveTo>
                  <a:pt x="2865" y="1961"/>
                </a:moveTo>
                <a:cubicBezTo>
                  <a:pt x="2268" y="2199"/>
                  <a:pt x="1846" y="2780"/>
                  <a:pt x="1846" y="3461"/>
                </a:cubicBezTo>
                <a:cubicBezTo>
                  <a:pt x="1846" y="4353"/>
                  <a:pt x="2569" y="5077"/>
                  <a:pt x="3461" y="5077"/>
                </a:cubicBezTo>
                <a:cubicBezTo>
                  <a:pt x="4353" y="5077"/>
                  <a:pt x="5076" y="4353"/>
                  <a:pt x="5076" y="3461"/>
                </a:cubicBezTo>
                <a:cubicBezTo>
                  <a:pt x="5076" y="3728"/>
                  <a:pt x="4923" y="3958"/>
                  <a:pt x="4702" y="4073"/>
                </a:cubicBezTo>
                <a:cubicBezTo>
                  <a:pt x="4476" y="4530"/>
                  <a:pt x="4006" y="4846"/>
                  <a:pt x="3461" y="4846"/>
                </a:cubicBezTo>
                <a:cubicBezTo>
                  <a:pt x="2696" y="4846"/>
                  <a:pt x="2076" y="4226"/>
                  <a:pt x="2076" y="3461"/>
                </a:cubicBezTo>
                <a:cubicBezTo>
                  <a:pt x="2076" y="2849"/>
                  <a:pt x="2474" y="2331"/>
                  <a:pt x="3024" y="2148"/>
                </a:cubicBezTo>
                <a:moveTo>
                  <a:pt x="3898" y="2148"/>
                </a:moveTo>
                <a:cubicBezTo>
                  <a:pt x="4250" y="2265"/>
                  <a:pt x="4539" y="2520"/>
                  <a:pt x="4702" y="2850"/>
                </a:cubicBezTo>
                <a:cubicBezTo>
                  <a:pt x="4923" y="2965"/>
                  <a:pt x="5076" y="3194"/>
                  <a:pt x="5076" y="3461"/>
                </a:cubicBezTo>
                <a:cubicBezTo>
                  <a:pt x="5076" y="2780"/>
                  <a:pt x="4654" y="2199"/>
                  <a:pt x="4057" y="1961"/>
                </a:cubicBezTo>
                <a:moveTo>
                  <a:pt x="4702" y="2850"/>
                </a:moveTo>
                <a:cubicBezTo>
                  <a:pt x="4539" y="2520"/>
                  <a:pt x="4250" y="2265"/>
                  <a:pt x="3898" y="2148"/>
                </a:cubicBezTo>
                <a:cubicBezTo>
                  <a:pt x="3778" y="2246"/>
                  <a:pt x="3628" y="2308"/>
                  <a:pt x="3461" y="2308"/>
                </a:cubicBezTo>
                <a:cubicBezTo>
                  <a:pt x="3838" y="2308"/>
                  <a:pt x="4172" y="2489"/>
                  <a:pt x="4382" y="2769"/>
                </a:cubicBezTo>
                <a:cubicBezTo>
                  <a:pt x="4383" y="2769"/>
                  <a:pt x="4383" y="2769"/>
                  <a:pt x="4384" y="2769"/>
                </a:cubicBezTo>
                <a:moveTo>
                  <a:pt x="4384" y="4154"/>
                </a:moveTo>
                <a:cubicBezTo>
                  <a:pt x="4383" y="4154"/>
                  <a:pt x="4383" y="4153"/>
                  <a:pt x="4382" y="4153"/>
                </a:cubicBezTo>
                <a:cubicBezTo>
                  <a:pt x="4172" y="4433"/>
                  <a:pt x="3838" y="4615"/>
                  <a:pt x="3461" y="4615"/>
                </a:cubicBezTo>
                <a:cubicBezTo>
                  <a:pt x="2824" y="4615"/>
                  <a:pt x="2307" y="4098"/>
                  <a:pt x="2307" y="3461"/>
                </a:cubicBezTo>
                <a:cubicBezTo>
                  <a:pt x="2307" y="2824"/>
                  <a:pt x="2824" y="2308"/>
                  <a:pt x="3461" y="2308"/>
                </a:cubicBezTo>
                <a:cubicBezTo>
                  <a:pt x="3294" y="2308"/>
                  <a:pt x="3144" y="2246"/>
                  <a:pt x="3024" y="2148"/>
                </a:cubicBezTo>
                <a:cubicBezTo>
                  <a:pt x="2474" y="2331"/>
                  <a:pt x="2076" y="2849"/>
                  <a:pt x="2076" y="3461"/>
                </a:cubicBezTo>
                <a:cubicBezTo>
                  <a:pt x="2076" y="4226"/>
                  <a:pt x="2696" y="4846"/>
                  <a:pt x="3461" y="4846"/>
                </a:cubicBezTo>
                <a:cubicBezTo>
                  <a:pt x="4006" y="4846"/>
                  <a:pt x="4476" y="4530"/>
                  <a:pt x="4702" y="4073"/>
                </a:cubicBezTo>
                <a:moveTo>
                  <a:pt x="2307" y="3461"/>
                </a:moveTo>
                <a:cubicBezTo>
                  <a:pt x="2307" y="4098"/>
                  <a:pt x="2824" y="4615"/>
                  <a:pt x="3461" y="4615"/>
                </a:cubicBezTo>
                <a:cubicBezTo>
                  <a:pt x="3838" y="4615"/>
                  <a:pt x="4172" y="4433"/>
                  <a:pt x="4382" y="4153"/>
                </a:cubicBezTo>
                <a:cubicBezTo>
                  <a:pt x="4291" y="4153"/>
                  <a:pt x="4204" y="4135"/>
                  <a:pt x="4123" y="4102"/>
                </a:cubicBezTo>
                <a:cubicBezTo>
                  <a:pt x="3956" y="4275"/>
                  <a:pt x="3721" y="4384"/>
                  <a:pt x="3461" y="4384"/>
                </a:cubicBezTo>
                <a:cubicBezTo>
                  <a:pt x="2951" y="4384"/>
                  <a:pt x="2538" y="3971"/>
                  <a:pt x="2538" y="3461"/>
                </a:cubicBezTo>
                <a:cubicBezTo>
                  <a:pt x="2538" y="2952"/>
                  <a:pt x="2951" y="2538"/>
                  <a:pt x="3461" y="2538"/>
                </a:cubicBezTo>
                <a:cubicBezTo>
                  <a:pt x="3721" y="2538"/>
                  <a:pt x="3956" y="2647"/>
                  <a:pt x="4123" y="2821"/>
                </a:cubicBezTo>
                <a:cubicBezTo>
                  <a:pt x="4204" y="2788"/>
                  <a:pt x="4291" y="2769"/>
                  <a:pt x="4382" y="2769"/>
                </a:cubicBezTo>
                <a:cubicBezTo>
                  <a:pt x="4172" y="2489"/>
                  <a:pt x="3838" y="2308"/>
                  <a:pt x="3461" y="2308"/>
                </a:cubicBezTo>
                <a:cubicBezTo>
                  <a:pt x="2824" y="2308"/>
                  <a:pt x="2307" y="2824"/>
                  <a:pt x="2307" y="3461"/>
                </a:cubicBezTo>
                <a:close/>
                <a:moveTo>
                  <a:pt x="3692" y="3461"/>
                </a:moveTo>
                <a:cubicBezTo>
                  <a:pt x="3692" y="3171"/>
                  <a:pt x="3870" y="2924"/>
                  <a:pt x="4123" y="2821"/>
                </a:cubicBezTo>
                <a:cubicBezTo>
                  <a:pt x="3956" y="2647"/>
                  <a:pt x="3721" y="2538"/>
                  <a:pt x="3461" y="2538"/>
                </a:cubicBezTo>
                <a:cubicBezTo>
                  <a:pt x="2951" y="2538"/>
                  <a:pt x="2538" y="2952"/>
                  <a:pt x="2538" y="3461"/>
                </a:cubicBezTo>
                <a:cubicBezTo>
                  <a:pt x="2538" y="3971"/>
                  <a:pt x="2951" y="4384"/>
                  <a:pt x="3461" y="4384"/>
                </a:cubicBezTo>
                <a:cubicBezTo>
                  <a:pt x="3721" y="4384"/>
                  <a:pt x="3956" y="4275"/>
                  <a:pt x="4123" y="4102"/>
                </a:cubicBezTo>
                <a:cubicBezTo>
                  <a:pt x="3870" y="3999"/>
                  <a:pt x="3692" y="3751"/>
                  <a:pt x="3692" y="3461"/>
                </a:cubicBezTo>
                <a:close/>
                <a:moveTo>
                  <a:pt x="3882" y="1427"/>
                </a:moveTo>
                <a:cubicBezTo>
                  <a:pt x="3810" y="1266"/>
                  <a:pt x="3649" y="1154"/>
                  <a:pt x="3461" y="1154"/>
                </a:cubicBezTo>
                <a:cubicBezTo>
                  <a:pt x="3273" y="1154"/>
                  <a:pt x="3112" y="1266"/>
                  <a:pt x="3040" y="1427"/>
                </a:cubicBezTo>
                <a:moveTo>
                  <a:pt x="3233" y="1631"/>
                </a:moveTo>
                <a:cubicBezTo>
                  <a:pt x="3233" y="1625"/>
                  <a:pt x="3230" y="1621"/>
                  <a:pt x="3230" y="1615"/>
                </a:cubicBezTo>
                <a:cubicBezTo>
                  <a:pt x="3230" y="1488"/>
                  <a:pt x="3333" y="1385"/>
                  <a:pt x="3461" y="1385"/>
                </a:cubicBezTo>
                <a:moveTo>
                  <a:pt x="3040" y="1427"/>
                </a:moveTo>
                <a:cubicBezTo>
                  <a:pt x="3014" y="1485"/>
                  <a:pt x="2999" y="1548"/>
                  <a:pt x="2999" y="1615"/>
                </a:cubicBezTo>
                <a:cubicBezTo>
                  <a:pt x="2999" y="1635"/>
                  <a:pt x="3003" y="1655"/>
                  <a:pt x="3005" y="1674"/>
                </a:cubicBezTo>
                <a:moveTo>
                  <a:pt x="3916" y="1674"/>
                </a:moveTo>
                <a:cubicBezTo>
                  <a:pt x="3919" y="1655"/>
                  <a:pt x="3922" y="1635"/>
                  <a:pt x="3922" y="1615"/>
                </a:cubicBezTo>
                <a:cubicBezTo>
                  <a:pt x="3922" y="1548"/>
                  <a:pt x="3907" y="1485"/>
                  <a:pt x="3882" y="1427"/>
                </a:cubicBezTo>
                <a:moveTo>
                  <a:pt x="3461" y="1385"/>
                </a:moveTo>
                <a:cubicBezTo>
                  <a:pt x="3588" y="1385"/>
                  <a:pt x="3692" y="1488"/>
                  <a:pt x="3692" y="1615"/>
                </a:cubicBezTo>
                <a:cubicBezTo>
                  <a:pt x="3692" y="1621"/>
                  <a:pt x="3689" y="1625"/>
                  <a:pt x="3689" y="1631"/>
                </a:cubicBezTo>
                <a:moveTo>
                  <a:pt x="3005" y="1674"/>
                </a:moveTo>
                <a:cubicBezTo>
                  <a:pt x="3016" y="1755"/>
                  <a:pt x="3046" y="1828"/>
                  <a:pt x="3092" y="1890"/>
                </a:cubicBezTo>
                <a:moveTo>
                  <a:pt x="3461" y="1846"/>
                </a:moveTo>
                <a:cubicBezTo>
                  <a:pt x="3339" y="1846"/>
                  <a:pt x="3242" y="1751"/>
                  <a:pt x="3233" y="1631"/>
                </a:cubicBezTo>
                <a:moveTo>
                  <a:pt x="3830" y="1890"/>
                </a:moveTo>
                <a:cubicBezTo>
                  <a:pt x="3876" y="1828"/>
                  <a:pt x="3906" y="1755"/>
                  <a:pt x="3916" y="1674"/>
                </a:cubicBezTo>
                <a:moveTo>
                  <a:pt x="3689" y="1631"/>
                </a:moveTo>
                <a:cubicBezTo>
                  <a:pt x="3680" y="1751"/>
                  <a:pt x="3583" y="1846"/>
                  <a:pt x="3461" y="1846"/>
                </a:cubicBezTo>
                <a:moveTo>
                  <a:pt x="3092" y="1890"/>
                </a:moveTo>
                <a:cubicBezTo>
                  <a:pt x="3176" y="2003"/>
                  <a:pt x="3309" y="2077"/>
                  <a:pt x="3461" y="2077"/>
                </a:cubicBezTo>
                <a:cubicBezTo>
                  <a:pt x="3612" y="2077"/>
                  <a:pt x="3746" y="2003"/>
                  <a:pt x="3830" y="1890"/>
                </a:cubicBezTo>
                <a:moveTo>
                  <a:pt x="4702" y="4073"/>
                </a:moveTo>
                <a:cubicBezTo>
                  <a:pt x="4923" y="3958"/>
                  <a:pt x="5076" y="3728"/>
                  <a:pt x="5076" y="3461"/>
                </a:cubicBezTo>
                <a:cubicBezTo>
                  <a:pt x="5076" y="3194"/>
                  <a:pt x="4923" y="2965"/>
                  <a:pt x="4702" y="2850"/>
                </a:cubicBezTo>
                <a:moveTo>
                  <a:pt x="4529" y="3025"/>
                </a:moveTo>
                <a:cubicBezTo>
                  <a:pt x="4712" y="3086"/>
                  <a:pt x="4845" y="3257"/>
                  <a:pt x="4845" y="3461"/>
                </a:cubicBezTo>
                <a:moveTo>
                  <a:pt x="4529" y="3897"/>
                </a:moveTo>
                <a:cubicBezTo>
                  <a:pt x="4712" y="3836"/>
                  <a:pt x="4845" y="3665"/>
                  <a:pt x="4845" y="3461"/>
                </a:cubicBezTo>
                <a:cubicBezTo>
                  <a:pt x="4845" y="3257"/>
                  <a:pt x="4712" y="3086"/>
                  <a:pt x="4529" y="3025"/>
                </a:cubicBezTo>
                <a:moveTo>
                  <a:pt x="4615" y="3461"/>
                </a:moveTo>
                <a:cubicBezTo>
                  <a:pt x="4615" y="3589"/>
                  <a:pt x="4511" y="3692"/>
                  <a:pt x="4384" y="3692"/>
                </a:cubicBezTo>
                <a:cubicBezTo>
                  <a:pt x="4373" y="3692"/>
                  <a:pt x="4364" y="3687"/>
                  <a:pt x="4353" y="3686"/>
                </a:cubicBezTo>
                <a:moveTo>
                  <a:pt x="4265" y="3905"/>
                </a:moveTo>
                <a:cubicBezTo>
                  <a:pt x="4303" y="3916"/>
                  <a:pt x="4343" y="3923"/>
                  <a:pt x="4384" y="3923"/>
                </a:cubicBezTo>
                <a:cubicBezTo>
                  <a:pt x="4435" y="3923"/>
                  <a:pt x="4483" y="3913"/>
                  <a:pt x="4529" y="3897"/>
                </a:cubicBezTo>
                <a:moveTo>
                  <a:pt x="4529" y="3025"/>
                </a:moveTo>
                <a:cubicBezTo>
                  <a:pt x="4483" y="3010"/>
                  <a:pt x="4435" y="3000"/>
                  <a:pt x="4384" y="3000"/>
                </a:cubicBezTo>
                <a:cubicBezTo>
                  <a:pt x="4343" y="3000"/>
                  <a:pt x="4303" y="3007"/>
                  <a:pt x="4265" y="3017"/>
                </a:cubicBezTo>
                <a:moveTo>
                  <a:pt x="4353" y="3237"/>
                </a:moveTo>
                <a:cubicBezTo>
                  <a:pt x="4364" y="3235"/>
                  <a:pt x="4373" y="3231"/>
                  <a:pt x="4384" y="3231"/>
                </a:cubicBezTo>
                <a:cubicBezTo>
                  <a:pt x="4511" y="3231"/>
                  <a:pt x="4615" y="3334"/>
                  <a:pt x="4615" y="3461"/>
                </a:cubicBezTo>
                <a:moveTo>
                  <a:pt x="4353" y="3686"/>
                </a:moveTo>
                <a:cubicBezTo>
                  <a:pt x="4241" y="3670"/>
                  <a:pt x="4153" y="3578"/>
                  <a:pt x="4153" y="3461"/>
                </a:cubicBezTo>
                <a:cubicBezTo>
                  <a:pt x="4153" y="3345"/>
                  <a:pt x="4241" y="3252"/>
                  <a:pt x="4353" y="3237"/>
                </a:cubicBezTo>
                <a:moveTo>
                  <a:pt x="4265" y="3017"/>
                </a:moveTo>
                <a:cubicBezTo>
                  <a:pt x="4068" y="3070"/>
                  <a:pt x="3922" y="3248"/>
                  <a:pt x="3922" y="3461"/>
                </a:cubicBezTo>
                <a:cubicBezTo>
                  <a:pt x="3922" y="3675"/>
                  <a:pt x="4068" y="3853"/>
                  <a:pt x="4265" y="3905"/>
                </a:cubicBezTo>
                <a:moveTo>
                  <a:pt x="946" y="5835"/>
                </a:moveTo>
                <a:cubicBezTo>
                  <a:pt x="986" y="5888"/>
                  <a:pt x="1034" y="5936"/>
                  <a:pt x="1088" y="5976"/>
                </a:cubicBezTo>
                <a:cubicBezTo>
                  <a:pt x="1039" y="5930"/>
                  <a:pt x="992" y="5883"/>
                  <a:pt x="946" y="5835"/>
                </a:cubicBezTo>
                <a:close/>
                <a:moveTo>
                  <a:pt x="1116" y="5679"/>
                </a:moveTo>
                <a:cubicBezTo>
                  <a:pt x="1138" y="5712"/>
                  <a:pt x="1164" y="5742"/>
                  <a:pt x="1194" y="5768"/>
                </a:cubicBezTo>
                <a:cubicBezTo>
                  <a:pt x="1210" y="5782"/>
                  <a:pt x="1226" y="5795"/>
                  <a:pt x="1244" y="5806"/>
                </a:cubicBezTo>
                <a:moveTo>
                  <a:pt x="1364" y="5604"/>
                </a:moveTo>
                <a:cubicBezTo>
                  <a:pt x="1346" y="5591"/>
                  <a:pt x="1331" y="5576"/>
                  <a:pt x="1318" y="5558"/>
                </a:cubicBezTo>
                <a:moveTo>
                  <a:pt x="1244" y="5806"/>
                </a:moveTo>
                <a:cubicBezTo>
                  <a:pt x="1317" y="5855"/>
                  <a:pt x="1405" y="5884"/>
                  <a:pt x="1500" y="5884"/>
                </a:cubicBezTo>
                <a:cubicBezTo>
                  <a:pt x="1555" y="5884"/>
                  <a:pt x="1608" y="5873"/>
                  <a:pt x="1658" y="5855"/>
                </a:cubicBezTo>
                <a:moveTo>
                  <a:pt x="1068" y="5264"/>
                </a:moveTo>
                <a:cubicBezTo>
                  <a:pt x="1049" y="5314"/>
                  <a:pt x="1038" y="5367"/>
                  <a:pt x="1038" y="5423"/>
                </a:cubicBezTo>
                <a:cubicBezTo>
                  <a:pt x="1038" y="5517"/>
                  <a:pt x="1067" y="5605"/>
                  <a:pt x="1116" y="5679"/>
                </a:cubicBezTo>
                <a:moveTo>
                  <a:pt x="1318" y="5558"/>
                </a:moveTo>
                <a:cubicBezTo>
                  <a:pt x="1289" y="5520"/>
                  <a:pt x="1269" y="5474"/>
                  <a:pt x="1269" y="5423"/>
                </a:cubicBezTo>
                <a:cubicBezTo>
                  <a:pt x="1269" y="5353"/>
                  <a:pt x="1301" y="5293"/>
                  <a:pt x="1350" y="5251"/>
                </a:cubicBezTo>
                <a:moveTo>
                  <a:pt x="1208" y="5067"/>
                </a:moveTo>
                <a:cubicBezTo>
                  <a:pt x="1145" y="5119"/>
                  <a:pt x="1096" y="5186"/>
                  <a:pt x="1068" y="5264"/>
                </a:cubicBezTo>
                <a:moveTo>
                  <a:pt x="1658" y="5855"/>
                </a:moveTo>
                <a:cubicBezTo>
                  <a:pt x="1736" y="5826"/>
                  <a:pt x="1803" y="5777"/>
                  <a:pt x="1855" y="5714"/>
                </a:cubicBezTo>
                <a:moveTo>
                  <a:pt x="1672" y="5573"/>
                </a:moveTo>
                <a:cubicBezTo>
                  <a:pt x="1629" y="5621"/>
                  <a:pt x="1569" y="5653"/>
                  <a:pt x="1500" y="5653"/>
                </a:cubicBezTo>
                <a:cubicBezTo>
                  <a:pt x="1448" y="5653"/>
                  <a:pt x="1402" y="5633"/>
                  <a:pt x="1364" y="5604"/>
                </a:cubicBezTo>
                <a:moveTo>
                  <a:pt x="1422" y="4969"/>
                </a:moveTo>
                <a:cubicBezTo>
                  <a:pt x="1342" y="4983"/>
                  <a:pt x="1269" y="5018"/>
                  <a:pt x="1208" y="5067"/>
                </a:cubicBezTo>
                <a:moveTo>
                  <a:pt x="1855" y="5714"/>
                </a:moveTo>
                <a:cubicBezTo>
                  <a:pt x="1905" y="5653"/>
                  <a:pt x="1940" y="5581"/>
                  <a:pt x="1953" y="5500"/>
                </a:cubicBezTo>
                <a:moveTo>
                  <a:pt x="1350" y="5251"/>
                </a:moveTo>
                <a:cubicBezTo>
                  <a:pt x="1390" y="5215"/>
                  <a:pt x="1442" y="5192"/>
                  <a:pt x="1500" y="5192"/>
                </a:cubicBezTo>
                <a:cubicBezTo>
                  <a:pt x="1627" y="5192"/>
                  <a:pt x="1730" y="5295"/>
                  <a:pt x="1730" y="5423"/>
                </a:cubicBezTo>
                <a:cubicBezTo>
                  <a:pt x="1730" y="5481"/>
                  <a:pt x="1707" y="5532"/>
                  <a:pt x="1672" y="5573"/>
                </a:cubicBezTo>
                <a:moveTo>
                  <a:pt x="1953" y="5500"/>
                </a:moveTo>
                <a:cubicBezTo>
                  <a:pt x="1958" y="5475"/>
                  <a:pt x="1961" y="5449"/>
                  <a:pt x="1961" y="5423"/>
                </a:cubicBezTo>
                <a:cubicBezTo>
                  <a:pt x="1961" y="5168"/>
                  <a:pt x="1754" y="4961"/>
                  <a:pt x="1500" y="4961"/>
                </a:cubicBezTo>
                <a:cubicBezTo>
                  <a:pt x="1473" y="4961"/>
                  <a:pt x="1448" y="4965"/>
                  <a:pt x="1422" y="4969"/>
                </a:cubicBezTo>
                <a:moveTo>
                  <a:pt x="1318" y="5558"/>
                </a:moveTo>
                <a:cubicBezTo>
                  <a:pt x="1331" y="5576"/>
                  <a:pt x="1346" y="5591"/>
                  <a:pt x="1364" y="5604"/>
                </a:cubicBezTo>
                <a:cubicBezTo>
                  <a:pt x="1348" y="5589"/>
                  <a:pt x="1333" y="5574"/>
                  <a:pt x="1318" y="5558"/>
                </a:cubicBezTo>
                <a:close/>
                <a:moveTo>
                  <a:pt x="1350" y="5251"/>
                </a:moveTo>
                <a:cubicBezTo>
                  <a:pt x="1301" y="5293"/>
                  <a:pt x="1269" y="5353"/>
                  <a:pt x="1269" y="5423"/>
                </a:cubicBezTo>
                <a:cubicBezTo>
                  <a:pt x="1269" y="5474"/>
                  <a:pt x="1289" y="5520"/>
                  <a:pt x="1318" y="5558"/>
                </a:cubicBezTo>
                <a:cubicBezTo>
                  <a:pt x="1333" y="5574"/>
                  <a:pt x="1348" y="5589"/>
                  <a:pt x="1364" y="5604"/>
                </a:cubicBezTo>
                <a:cubicBezTo>
                  <a:pt x="1402" y="5633"/>
                  <a:pt x="1448" y="5653"/>
                  <a:pt x="1500" y="5653"/>
                </a:cubicBezTo>
                <a:cubicBezTo>
                  <a:pt x="1569" y="5653"/>
                  <a:pt x="1629" y="5621"/>
                  <a:pt x="1672" y="5573"/>
                </a:cubicBezTo>
                <a:moveTo>
                  <a:pt x="1672" y="5573"/>
                </a:moveTo>
                <a:cubicBezTo>
                  <a:pt x="1707" y="5532"/>
                  <a:pt x="1730" y="5481"/>
                  <a:pt x="1730" y="5423"/>
                </a:cubicBezTo>
                <a:cubicBezTo>
                  <a:pt x="1730" y="5295"/>
                  <a:pt x="1627" y="5192"/>
                  <a:pt x="1500" y="5192"/>
                </a:cubicBezTo>
                <a:cubicBezTo>
                  <a:pt x="1442" y="5192"/>
                  <a:pt x="1390" y="5215"/>
                  <a:pt x="1350" y="5251"/>
                </a:cubicBezTo>
              </a:path>
            </a:pathLst>
          </a:custGeom>
          <a:noFill/>
          <a:ln w="14288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E8D8D685-6EE1-41D1-B537-AE28AD0C7BA9}" type="datetime1">
              <a:rPr lang="en-GB" smtClean="0"/>
              <a:t>24/01/2018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30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5"/>
          <p:cNvSpPr>
            <a:spLocks noEditPoints="1"/>
          </p:cNvSpPr>
          <p:nvPr/>
        </p:nvSpPr>
        <p:spPr bwMode="auto">
          <a:xfrm>
            <a:off x="4359253" y="310137"/>
            <a:ext cx="4473575" cy="4468813"/>
          </a:xfrm>
          <a:custGeom>
            <a:avLst/>
            <a:gdLst>
              <a:gd name="T0" fmla="*/ 807 w 6922"/>
              <a:gd name="T1" fmla="*/ 5423 h 6923"/>
              <a:gd name="T2" fmla="*/ 6691 w 6922"/>
              <a:gd name="T3" fmla="*/ 3461 h 6923"/>
              <a:gd name="T4" fmla="*/ 1088 w 6922"/>
              <a:gd name="T5" fmla="*/ 5976 h 6923"/>
              <a:gd name="T6" fmla="*/ 919 w 6922"/>
              <a:gd name="T7" fmla="*/ 5048 h 6923"/>
              <a:gd name="T8" fmla="*/ 3461 w 6922"/>
              <a:gd name="T9" fmla="*/ 6461 h 6923"/>
              <a:gd name="T10" fmla="*/ 6691 w 6922"/>
              <a:gd name="T11" fmla="*/ 3461 h 6923"/>
              <a:gd name="T12" fmla="*/ 1082 w 6922"/>
              <a:gd name="T13" fmla="*/ 4874 h 6923"/>
              <a:gd name="T14" fmla="*/ 3461 w 6922"/>
              <a:gd name="T15" fmla="*/ 6230 h 6923"/>
              <a:gd name="T16" fmla="*/ 6461 w 6922"/>
              <a:gd name="T17" fmla="*/ 3461 h 6923"/>
              <a:gd name="T18" fmla="*/ 1082 w 6922"/>
              <a:gd name="T19" fmla="*/ 4874 h 6923"/>
              <a:gd name="T20" fmla="*/ 3461 w 6922"/>
              <a:gd name="T21" fmla="*/ 692 h 6923"/>
              <a:gd name="T22" fmla="*/ 923 w 6922"/>
              <a:gd name="T23" fmla="*/ 3461 h 6923"/>
              <a:gd name="T24" fmla="*/ 2155 w 6922"/>
              <a:gd name="T25" fmla="*/ 5635 h 6923"/>
              <a:gd name="T26" fmla="*/ 3461 w 6922"/>
              <a:gd name="T27" fmla="*/ 923 h 6923"/>
              <a:gd name="T28" fmla="*/ 1537 w 6922"/>
              <a:gd name="T29" fmla="*/ 4734 h 6923"/>
              <a:gd name="T30" fmla="*/ 2188 w 6922"/>
              <a:gd name="T31" fmla="*/ 5385 h 6923"/>
              <a:gd name="T32" fmla="*/ 5999 w 6922"/>
              <a:gd name="T33" fmla="*/ 3461 h 6923"/>
              <a:gd name="T34" fmla="*/ 4035 w 6922"/>
              <a:gd name="T35" fmla="*/ 1229 h 6923"/>
              <a:gd name="T36" fmla="*/ 1384 w 6922"/>
              <a:gd name="T37" fmla="*/ 3461 h 6923"/>
              <a:gd name="T38" fmla="*/ 1537 w 6922"/>
              <a:gd name="T39" fmla="*/ 4734 h 6923"/>
              <a:gd name="T40" fmla="*/ 2780 w 6922"/>
              <a:gd name="T41" fmla="*/ 1501 h 6923"/>
              <a:gd name="T42" fmla="*/ 4142 w 6922"/>
              <a:gd name="T43" fmla="*/ 1501 h 6923"/>
              <a:gd name="T44" fmla="*/ 1615 w 6922"/>
              <a:gd name="T45" fmla="*/ 3461 h 6923"/>
              <a:gd name="T46" fmla="*/ 1846 w 6922"/>
              <a:gd name="T47" fmla="*/ 3461 h 6923"/>
              <a:gd name="T48" fmla="*/ 3461 w 6922"/>
              <a:gd name="T49" fmla="*/ 5307 h 6923"/>
              <a:gd name="T50" fmla="*/ 5076 w 6922"/>
              <a:gd name="T51" fmla="*/ 3461 h 6923"/>
              <a:gd name="T52" fmla="*/ 5076 w 6922"/>
              <a:gd name="T53" fmla="*/ 3461 h 6923"/>
              <a:gd name="T54" fmla="*/ 3024 w 6922"/>
              <a:gd name="T55" fmla="*/ 2148 h 6923"/>
              <a:gd name="T56" fmla="*/ 4057 w 6922"/>
              <a:gd name="T57" fmla="*/ 1961 h 6923"/>
              <a:gd name="T58" fmla="*/ 4382 w 6922"/>
              <a:gd name="T59" fmla="*/ 2769 h 6923"/>
              <a:gd name="T60" fmla="*/ 3461 w 6922"/>
              <a:gd name="T61" fmla="*/ 4615 h 6923"/>
              <a:gd name="T62" fmla="*/ 2076 w 6922"/>
              <a:gd name="T63" fmla="*/ 3461 h 6923"/>
              <a:gd name="T64" fmla="*/ 3461 w 6922"/>
              <a:gd name="T65" fmla="*/ 4615 h 6923"/>
              <a:gd name="T66" fmla="*/ 2538 w 6922"/>
              <a:gd name="T67" fmla="*/ 3461 h 6923"/>
              <a:gd name="T68" fmla="*/ 3461 w 6922"/>
              <a:gd name="T69" fmla="*/ 2308 h 6923"/>
              <a:gd name="T70" fmla="*/ 3461 w 6922"/>
              <a:gd name="T71" fmla="*/ 2538 h 6923"/>
              <a:gd name="T72" fmla="*/ 3692 w 6922"/>
              <a:gd name="T73" fmla="*/ 3461 h 6923"/>
              <a:gd name="T74" fmla="*/ 3233 w 6922"/>
              <a:gd name="T75" fmla="*/ 1631 h 6923"/>
              <a:gd name="T76" fmla="*/ 2999 w 6922"/>
              <a:gd name="T77" fmla="*/ 1615 h 6923"/>
              <a:gd name="T78" fmla="*/ 3882 w 6922"/>
              <a:gd name="T79" fmla="*/ 1427 h 6923"/>
              <a:gd name="T80" fmla="*/ 3005 w 6922"/>
              <a:gd name="T81" fmla="*/ 1674 h 6923"/>
              <a:gd name="T82" fmla="*/ 3830 w 6922"/>
              <a:gd name="T83" fmla="*/ 1890 h 6923"/>
              <a:gd name="T84" fmla="*/ 3092 w 6922"/>
              <a:gd name="T85" fmla="*/ 1890 h 6923"/>
              <a:gd name="T86" fmla="*/ 5076 w 6922"/>
              <a:gd name="T87" fmla="*/ 3461 h 6923"/>
              <a:gd name="T88" fmla="*/ 4529 w 6922"/>
              <a:gd name="T89" fmla="*/ 3897 h 6923"/>
              <a:gd name="T90" fmla="*/ 4384 w 6922"/>
              <a:gd name="T91" fmla="*/ 3692 h 6923"/>
              <a:gd name="T92" fmla="*/ 4529 w 6922"/>
              <a:gd name="T93" fmla="*/ 3897 h 6923"/>
              <a:gd name="T94" fmla="*/ 4353 w 6922"/>
              <a:gd name="T95" fmla="*/ 3237 h 6923"/>
              <a:gd name="T96" fmla="*/ 4153 w 6922"/>
              <a:gd name="T97" fmla="*/ 3461 h 6923"/>
              <a:gd name="T98" fmla="*/ 4265 w 6922"/>
              <a:gd name="T99" fmla="*/ 3905 h 6923"/>
              <a:gd name="T100" fmla="*/ 1116 w 6922"/>
              <a:gd name="T101" fmla="*/ 5679 h 6923"/>
              <a:gd name="T102" fmla="*/ 1318 w 6922"/>
              <a:gd name="T103" fmla="*/ 5558 h 6923"/>
              <a:gd name="T104" fmla="*/ 1068 w 6922"/>
              <a:gd name="T105" fmla="*/ 5264 h 6923"/>
              <a:gd name="T106" fmla="*/ 1269 w 6922"/>
              <a:gd name="T107" fmla="*/ 5423 h 6923"/>
              <a:gd name="T108" fmla="*/ 1658 w 6922"/>
              <a:gd name="T109" fmla="*/ 5855 h 6923"/>
              <a:gd name="T110" fmla="*/ 1364 w 6922"/>
              <a:gd name="T111" fmla="*/ 5604 h 6923"/>
              <a:gd name="T112" fmla="*/ 1953 w 6922"/>
              <a:gd name="T113" fmla="*/ 5500 h 6923"/>
              <a:gd name="T114" fmla="*/ 1672 w 6922"/>
              <a:gd name="T115" fmla="*/ 5573 h 6923"/>
              <a:gd name="T116" fmla="*/ 1422 w 6922"/>
              <a:gd name="T117" fmla="*/ 4969 h 6923"/>
              <a:gd name="T118" fmla="*/ 1350 w 6922"/>
              <a:gd name="T119" fmla="*/ 5251 h 6923"/>
              <a:gd name="T120" fmla="*/ 1500 w 6922"/>
              <a:gd name="T121" fmla="*/ 5653 h 6923"/>
              <a:gd name="T122" fmla="*/ 1500 w 6922"/>
              <a:gd name="T123" fmla="*/ 5192 h 6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22" h="6923">
                <a:moveTo>
                  <a:pt x="3461" y="0"/>
                </a:moveTo>
                <a:cubicBezTo>
                  <a:pt x="1549" y="0"/>
                  <a:pt x="0" y="1550"/>
                  <a:pt x="0" y="3461"/>
                </a:cubicBezTo>
                <a:cubicBezTo>
                  <a:pt x="0" y="4381"/>
                  <a:pt x="361" y="5215"/>
                  <a:pt x="946" y="5835"/>
                </a:cubicBezTo>
                <a:cubicBezTo>
                  <a:pt x="860" y="5719"/>
                  <a:pt x="807" y="5578"/>
                  <a:pt x="807" y="5423"/>
                </a:cubicBezTo>
                <a:cubicBezTo>
                  <a:pt x="807" y="5386"/>
                  <a:pt x="813" y="5351"/>
                  <a:pt x="818" y="5316"/>
                </a:cubicBezTo>
                <a:cubicBezTo>
                  <a:pt x="449" y="4790"/>
                  <a:pt x="230" y="4152"/>
                  <a:pt x="230" y="3461"/>
                </a:cubicBezTo>
                <a:cubicBezTo>
                  <a:pt x="230" y="1677"/>
                  <a:pt x="1677" y="231"/>
                  <a:pt x="3461" y="231"/>
                </a:cubicBezTo>
                <a:cubicBezTo>
                  <a:pt x="5245" y="231"/>
                  <a:pt x="6691" y="1677"/>
                  <a:pt x="6691" y="3461"/>
                </a:cubicBezTo>
                <a:cubicBezTo>
                  <a:pt x="6691" y="5245"/>
                  <a:pt x="5245" y="6692"/>
                  <a:pt x="3461" y="6692"/>
                </a:cubicBezTo>
                <a:cubicBezTo>
                  <a:pt x="2770" y="6692"/>
                  <a:pt x="2132" y="6473"/>
                  <a:pt x="1607" y="6104"/>
                </a:cubicBezTo>
                <a:cubicBezTo>
                  <a:pt x="1571" y="6110"/>
                  <a:pt x="1536" y="6115"/>
                  <a:pt x="1500" y="6115"/>
                </a:cubicBezTo>
                <a:cubicBezTo>
                  <a:pt x="1345" y="6115"/>
                  <a:pt x="1203" y="6062"/>
                  <a:pt x="1088" y="5976"/>
                </a:cubicBezTo>
                <a:cubicBezTo>
                  <a:pt x="1707" y="6561"/>
                  <a:pt x="2541" y="6923"/>
                  <a:pt x="3461" y="6923"/>
                </a:cubicBezTo>
                <a:cubicBezTo>
                  <a:pt x="5373" y="6923"/>
                  <a:pt x="6922" y="5373"/>
                  <a:pt x="6922" y="3461"/>
                </a:cubicBezTo>
                <a:cubicBezTo>
                  <a:pt x="6922" y="1550"/>
                  <a:pt x="5373" y="0"/>
                  <a:pt x="3461" y="0"/>
                </a:cubicBezTo>
                <a:close/>
                <a:moveTo>
                  <a:pt x="919" y="5048"/>
                </a:moveTo>
                <a:cubicBezTo>
                  <a:pt x="630" y="4588"/>
                  <a:pt x="461" y="4045"/>
                  <a:pt x="461" y="3461"/>
                </a:cubicBezTo>
                <a:cubicBezTo>
                  <a:pt x="461" y="1805"/>
                  <a:pt x="1804" y="462"/>
                  <a:pt x="3461" y="462"/>
                </a:cubicBezTo>
                <a:cubicBezTo>
                  <a:pt x="5118" y="462"/>
                  <a:pt x="6461" y="1805"/>
                  <a:pt x="6461" y="3461"/>
                </a:cubicBezTo>
                <a:cubicBezTo>
                  <a:pt x="6461" y="5118"/>
                  <a:pt x="5118" y="6461"/>
                  <a:pt x="3461" y="6461"/>
                </a:cubicBezTo>
                <a:cubicBezTo>
                  <a:pt x="2877" y="6461"/>
                  <a:pt x="2335" y="6292"/>
                  <a:pt x="1874" y="6004"/>
                </a:cubicBezTo>
                <a:moveTo>
                  <a:pt x="1607" y="6104"/>
                </a:moveTo>
                <a:cubicBezTo>
                  <a:pt x="2132" y="6473"/>
                  <a:pt x="2770" y="6692"/>
                  <a:pt x="3461" y="6692"/>
                </a:cubicBezTo>
                <a:cubicBezTo>
                  <a:pt x="5245" y="6692"/>
                  <a:pt x="6691" y="5245"/>
                  <a:pt x="6691" y="3461"/>
                </a:cubicBezTo>
                <a:cubicBezTo>
                  <a:pt x="6691" y="1677"/>
                  <a:pt x="5245" y="231"/>
                  <a:pt x="3461" y="231"/>
                </a:cubicBezTo>
                <a:cubicBezTo>
                  <a:pt x="1677" y="231"/>
                  <a:pt x="230" y="1677"/>
                  <a:pt x="230" y="3461"/>
                </a:cubicBezTo>
                <a:cubicBezTo>
                  <a:pt x="230" y="4152"/>
                  <a:pt x="449" y="4790"/>
                  <a:pt x="818" y="5316"/>
                </a:cubicBezTo>
                <a:moveTo>
                  <a:pt x="1082" y="4874"/>
                </a:moveTo>
                <a:cubicBezTo>
                  <a:pt x="836" y="4460"/>
                  <a:pt x="692" y="3978"/>
                  <a:pt x="692" y="3461"/>
                </a:cubicBezTo>
                <a:cubicBezTo>
                  <a:pt x="692" y="1932"/>
                  <a:pt x="1932" y="692"/>
                  <a:pt x="3461" y="692"/>
                </a:cubicBezTo>
                <a:cubicBezTo>
                  <a:pt x="4990" y="692"/>
                  <a:pt x="6230" y="1932"/>
                  <a:pt x="6230" y="3461"/>
                </a:cubicBezTo>
                <a:cubicBezTo>
                  <a:pt x="6230" y="4991"/>
                  <a:pt x="4990" y="6230"/>
                  <a:pt x="3461" y="6230"/>
                </a:cubicBezTo>
                <a:cubicBezTo>
                  <a:pt x="2944" y="6230"/>
                  <a:pt x="2462" y="6086"/>
                  <a:pt x="2049" y="5840"/>
                </a:cubicBezTo>
                <a:cubicBezTo>
                  <a:pt x="2000" y="5904"/>
                  <a:pt x="1942" y="5960"/>
                  <a:pt x="1874" y="6004"/>
                </a:cubicBezTo>
                <a:cubicBezTo>
                  <a:pt x="2335" y="6292"/>
                  <a:pt x="2877" y="6461"/>
                  <a:pt x="3461" y="6461"/>
                </a:cubicBezTo>
                <a:cubicBezTo>
                  <a:pt x="5118" y="6461"/>
                  <a:pt x="6461" y="5118"/>
                  <a:pt x="6461" y="3461"/>
                </a:cubicBezTo>
                <a:cubicBezTo>
                  <a:pt x="6461" y="1805"/>
                  <a:pt x="5118" y="462"/>
                  <a:pt x="3461" y="462"/>
                </a:cubicBezTo>
                <a:cubicBezTo>
                  <a:pt x="1804" y="462"/>
                  <a:pt x="461" y="1805"/>
                  <a:pt x="461" y="3461"/>
                </a:cubicBezTo>
                <a:cubicBezTo>
                  <a:pt x="461" y="4045"/>
                  <a:pt x="630" y="4588"/>
                  <a:pt x="919" y="5048"/>
                </a:cubicBezTo>
                <a:cubicBezTo>
                  <a:pt x="962" y="4981"/>
                  <a:pt x="1018" y="4922"/>
                  <a:pt x="1082" y="4874"/>
                </a:cubicBezTo>
                <a:close/>
                <a:moveTo>
                  <a:pt x="2049" y="5840"/>
                </a:moveTo>
                <a:cubicBezTo>
                  <a:pt x="2462" y="6086"/>
                  <a:pt x="2944" y="6230"/>
                  <a:pt x="3461" y="6230"/>
                </a:cubicBezTo>
                <a:cubicBezTo>
                  <a:pt x="4990" y="6230"/>
                  <a:pt x="6230" y="4991"/>
                  <a:pt x="6230" y="3461"/>
                </a:cubicBezTo>
                <a:cubicBezTo>
                  <a:pt x="6230" y="1932"/>
                  <a:pt x="4990" y="692"/>
                  <a:pt x="3461" y="692"/>
                </a:cubicBezTo>
                <a:cubicBezTo>
                  <a:pt x="1932" y="692"/>
                  <a:pt x="692" y="1932"/>
                  <a:pt x="692" y="3461"/>
                </a:cubicBezTo>
                <a:cubicBezTo>
                  <a:pt x="692" y="3978"/>
                  <a:pt x="836" y="4460"/>
                  <a:pt x="1082" y="4874"/>
                </a:cubicBezTo>
                <a:moveTo>
                  <a:pt x="1287" y="4767"/>
                </a:moveTo>
                <a:cubicBezTo>
                  <a:pt x="1057" y="4385"/>
                  <a:pt x="923" y="3939"/>
                  <a:pt x="923" y="3461"/>
                </a:cubicBezTo>
                <a:cubicBezTo>
                  <a:pt x="923" y="2059"/>
                  <a:pt x="2059" y="923"/>
                  <a:pt x="3461" y="923"/>
                </a:cubicBezTo>
                <a:cubicBezTo>
                  <a:pt x="4863" y="923"/>
                  <a:pt x="5999" y="2059"/>
                  <a:pt x="5999" y="3461"/>
                </a:cubicBezTo>
                <a:cubicBezTo>
                  <a:pt x="5999" y="4863"/>
                  <a:pt x="4863" y="6000"/>
                  <a:pt x="3461" y="6000"/>
                </a:cubicBezTo>
                <a:cubicBezTo>
                  <a:pt x="2983" y="6000"/>
                  <a:pt x="2537" y="5865"/>
                  <a:pt x="2155" y="5635"/>
                </a:cubicBezTo>
                <a:moveTo>
                  <a:pt x="1537" y="4734"/>
                </a:moveTo>
                <a:cubicBezTo>
                  <a:pt x="1295" y="4369"/>
                  <a:pt x="1153" y="3932"/>
                  <a:pt x="1153" y="3461"/>
                </a:cubicBezTo>
                <a:cubicBezTo>
                  <a:pt x="1153" y="2386"/>
                  <a:pt x="1891" y="1484"/>
                  <a:pt x="2887" y="1229"/>
                </a:cubicBezTo>
                <a:cubicBezTo>
                  <a:pt x="3011" y="1044"/>
                  <a:pt x="3222" y="923"/>
                  <a:pt x="3461" y="923"/>
                </a:cubicBezTo>
                <a:cubicBezTo>
                  <a:pt x="2059" y="923"/>
                  <a:pt x="923" y="2059"/>
                  <a:pt x="923" y="3461"/>
                </a:cubicBezTo>
                <a:cubicBezTo>
                  <a:pt x="923" y="3939"/>
                  <a:pt x="1057" y="4385"/>
                  <a:pt x="1287" y="4767"/>
                </a:cubicBezTo>
                <a:cubicBezTo>
                  <a:pt x="1355" y="4745"/>
                  <a:pt x="1425" y="4730"/>
                  <a:pt x="1500" y="4730"/>
                </a:cubicBezTo>
                <a:cubicBezTo>
                  <a:pt x="1512" y="4730"/>
                  <a:pt x="1524" y="4733"/>
                  <a:pt x="1537" y="4734"/>
                </a:cubicBezTo>
                <a:close/>
                <a:moveTo>
                  <a:pt x="4035" y="1229"/>
                </a:moveTo>
                <a:cubicBezTo>
                  <a:pt x="5031" y="1484"/>
                  <a:pt x="5768" y="2386"/>
                  <a:pt x="5768" y="3461"/>
                </a:cubicBezTo>
                <a:cubicBezTo>
                  <a:pt x="5768" y="4736"/>
                  <a:pt x="4735" y="5769"/>
                  <a:pt x="3461" y="5769"/>
                </a:cubicBezTo>
                <a:cubicBezTo>
                  <a:pt x="2990" y="5769"/>
                  <a:pt x="2553" y="5627"/>
                  <a:pt x="2188" y="5385"/>
                </a:cubicBezTo>
                <a:cubicBezTo>
                  <a:pt x="2189" y="5398"/>
                  <a:pt x="2192" y="5410"/>
                  <a:pt x="2192" y="5423"/>
                </a:cubicBezTo>
                <a:cubicBezTo>
                  <a:pt x="2192" y="5497"/>
                  <a:pt x="2177" y="5568"/>
                  <a:pt x="2155" y="5635"/>
                </a:cubicBezTo>
                <a:cubicBezTo>
                  <a:pt x="2537" y="5865"/>
                  <a:pt x="2983" y="6000"/>
                  <a:pt x="3461" y="6000"/>
                </a:cubicBezTo>
                <a:cubicBezTo>
                  <a:pt x="4863" y="6000"/>
                  <a:pt x="5999" y="4863"/>
                  <a:pt x="5999" y="3461"/>
                </a:cubicBezTo>
                <a:cubicBezTo>
                  <a:pt x="5999" y="2059"/>
                  <a:pt x="4863" y="923"/>
                  <a:pt x="3461" y="923"/>
                </a:cubicBezTo>
                <a:cubicBezTo>
                  <a:pt x="3700" y="923"/>
                  <a:pt x="3911" y="1044"/>
                  <a:pt x="4035" y="1229"/>
                </a:cubicBezTo>
                <a:close/>
                <a:moveTo>
                  <a:pt x="5768" y="3461"/>
                </a:moveTo>
                <a:cubicBezTo>
                  <a:pt x="5768" y="2386"/>
                  <a:pt x="5031" y="1484"/>
                  <a:pt x="4035" y="1229"/>
                </a:cubicBezTo>
                <a:cubicBezTo>
                  <a:pt x="4089" y="1309"/>
                  <a:pt x="4125" y="1402"/>
                  <a:pt x="4142" y="1501"/>
                </a:cubicBezTo>
                <a:cubicBezTo>
                  <a:pt x="4954" y="1783"/>
                  <a:pt x="5538" y="2553"/>
                  <a:pt x="5538" y="3461"/>
                </a:cubicBezTo>
                <a:cubicBezTo>
                  <a:pt x="5538" y="4608"/>
                  <a:pt x="4608" y="5538"/>
                  <a:pt x="3461" y="5538"/>
                </a:cubicBezTo>
                <a:cubicBezTo>
                  <a:pt x="2314" y="5538"/>
                  <a:pt x="1384" y="4608"/>
                  <a:pt x="1384" y="3461"/>
                </a:cubicBezTo>
                <a:cubicBezTo>
                  <a:pt x="1384" y="2553"/>
                  <a:pt x="1968" y="1783"/>
                  <a:pt x="2780" y="1501"/>
                </a:cubicBezTo>
                <a:cubicBezTo>
                  <a:pt x="2797" y="1402"/>
                  <a:pt x="2833" y="1309"/>
                  <a:pt x="2887" y="1229"/>
                </a:cubicBezTo>
                <a:cubicBezTo>
                  <a:pt x="1891" y="1484"/>
                  <a:pt x="1153" y="2386"/>
                  <a:pt x="1153" y="3461"/>
                </a:cubicBezTo>
                <a:cubicBezTo>
                  <a:pt x="1153" y="3932"/>
                  <a:pt x="1295" y="4369"/>
                  <a:pt x="1537" y="4734"/>
                </a:cubicBezTo>
                <a:cubicBezTo>
                  <a:pt x="1889" y="4753"/>
                  <a:pt x="2169" y="5033"/>
                  <a:pt x="2188" y="5385"/>
                </a:cubicBezTo>
                <a:cubicBezTo>
                  <a:pt x="2553" y="5627"/>
                  <a:pt x="2990" y="5769"/>
                  <a:pt x="3461" y="5769"/>
                </a:cubicBezTo>
                <a:cubicBezTo>
                  <a:pt x="4735" y="5769"/>
                  <a:pt x="5768" y="4736"/>
                  <a:pt x="5768" y="3461"/>
                </a:cubicBezTo>
                <a:close/>
                <a:moveTo>
                  <a:pt x="2780" y="1501"/>
                </a:moveTo>
                <a:cubicBezTo>
                  <a:pt x="1968" y="1783"/>
                  <a:pt x="1384" y="2553"/>
                  <a:pt x="1384" y="3461"/>
                </a:cubicBezTo>
                <a:cubicBezTo>
                  <a:pt x="1384" y="4608"/>
                  <a:pt x="2314" y="5538"/>
                  <a:pt x="3461" y="5538"/>
                </a:cubicBezTo>
                <a:cubicBezTo>
                  <a:pt x="4608" y="5538"/>
                  <a:pt x="5538" y="4608"/>
                  <a:pt x="5538" y="3461"/>
                </a:cubicBezTo>
                <a:cubicBezTo>
                  <a:pt x="5538" y="2553"/>
                  <a:pt x="4954" y="1783"/>
                  <a:pt x="4142" y="1501"/>
                </a:cubicBezTo>
                <a:moveTo>
                  <a:pt x="4140" y="1746"/>
                </a:moveTo>
                <a:cubicBezTo>
                  <a:pt x="4823" y="2017"/>
                  <a:pt x="5307" y="2682"/>
                  <a:pt x="5307" y="3461"/>
                </a:cubicBezTo>
                <a:cubicBezTo>
                  <a:pt x="5307" y="4481"/>
                  <a:pt x="4480" y="5307"/>
                  <a:pt x="3461" y="5307"/>
                </a:cubicBezTo>
                <a:cubicBezTo>
                  <a:pt x="2441" y="5307"/>
                  <a:pt x="1615" y="4481"/>
                  <a:pt x="1615" y="3461"/>
                </a:cubicBezTo>
                <a:cubicBezTo>
                  <a:pt x="1615" y="2682"/>
                  <a:pt x="2099" y="2017"/>
                  <a:pt x="2782" y="1746"/>
                </a:cubicBezTo>
                <a:moveTo>
                  <a:pt x="5076" y="3461"/>
                </a:moveTo>
                <a:cubicBezTo>
                  <a:pt x="5076" y="4353"/>
                  <a:pt x="4353" y="5077"/>
                  <a:pt x="3461" y="5077"/>
                </a:cubicBezTo>
                <a:cubicBezTo>
                  <a:pt x="2569" y="5077"/>
                  <a:pt x="1846" y="4353"/>
                  <a:pt x="1846" y="3461"/>
                </a:cubicBezTo>
                <a:cubicBezTo>
                  <a:pt x="1846" y="2780"/>
                  <a:pt x="2268" y="2199"/>
                  <a:pt x="2865" y="1961"/>
                </a:cubicBezTo>
                <a:cubicBezTo>
                  <a:pt x="2826" y="1895"/>
                  <a:pt x="2797" y="1823"/>
                  <a:pt x="2782" y="1746"/>
                </a:cubicBezTo>
                <a:cubicBezTo>
                  <a:pt x="2099" y="2017"/>
                  <a:pt x="1615" y="2682"/>
                  <a:pt x="1615" y="3461"/>
                </a:cubicBezTo>
                <a:cubicBezTo>
                  <a:pt x="1615" y="4481"/>
                  <a:pt x="2441" y="5307"/>
                  <a:pt x="3461" y="5307"/>
                </a:cubicBezTo>
                <a:cubicBezTo>
                  <a:pt x="4480" y="5307"/>
                  <a:pt x="5307" y="4481"/>
                  <a:pt x="5307" y="3461"/>
                </a:cubicBezTo>
                <a:cubicBezTo>
                  <a:pt x="5307" y="2682"/>
                  <a:pt x="4823" y="2017"/>
                  <a:pt x="4140" y="1746"/>
                </a:cubicBezTo>
                <a:cubicBezTo>
                  <a:pt x="4125" y="1823"/>
                  <a:pt x="4096" y="1895"/>
                  <a:pt x="4057" y="1961"/>
                </a:cubicBezTo>
                <a:cubicBezTo>
                  <a:pt x="4654" y="2199"/>
                  <a:pt x="5076" y="2780"/>
                  <a:pt x="5076" y="3461"/>
                </a:cubicBezTo>
                <a:close/>
                <a:moveTo>
                  <a:pt x="2865" y="1961"/>
                </a:moveTo>
                <a:cubicBezTo>
                  <a:pt x="2268" y="2199"/>
                  <a:pt x="1846" y="2780"/>
                  <a:pt x="1846" y="3461"/>
                </a:cubicBezTo>
                <a:cubicBezTo>
                  <a:pt x="1846" y="4353"/>
                  <a:pt x="2569" y="5077"/>
                  <a:pt x="3461" y="5077"/>
                </a:cubicBezTo>
                <a:cubicBezTo>
                  <a:pt x="4353" y="5077"/>
                  <a:pt x="5076" y="4353"/>
                  <a:pt x="5076" y="3461"/>
                </a:cubicBezTo>
                <a:cubicBezTo>
                  <a:pt x="5076" y="3728"/>
                  <a:pt x="4923" y="3958"/>
                  <a:pt x="4702" y="4073"/>
                </a:cubicBezTo>
                <a:cubicBezTo>
                  <a:pt x="4476" y="4530"/>
                  <a:pt x="4006" y="4846"/>
                  <a:pt x="3461" y="4846"/>
                </a:cubicBezTo>
                <a:cubicBezTo>
                  <a:pt x="2696" y="4846"/>
                  <a:pt x="2076" y="4226"/>
                  <a:pt x="2076" y="3461"/>
                </a:cubicBezTo>
                <a:cubicBezTo>
                  <a:pt x="2076" y="2849"/>
                  <a:pt x="2474" y="2331"/>
                  <a:pt x="3024" y="2148"/>
                </a:cubicBezTo>
                <a:moveTo>
                  <a:pt x="3898" y="2148"/>
                </a:moveTo>
                <a:cubicBezTo>
                  <a:pt x="4250" y="2265"/>
                  <a:pt x="4539" y="2520"/>
                  <a:pt x="4702" y="2850"/>
                </a:cubicBezTo>
                <a:cubicBezTo>
                  <a:pt x="4923" y="2965"/>
                  <a:pt x="5076" y="3194"/>
                  <a:pt x="5076" y="3461"/>
                </a:cubicBezTo>
                <a:cubicBezTo>
                  <a:pt x="5076" y="2780"/>
                  <a:pt x="4654" y="2199"/>
                  <a:pt x="4057" y="1961"/>
                </a:cubicBezTo>
                <a:moveTo>
                  <a:pt x="4702" y="2850"/>
                </a:moveTo>
                <a:cubicBezTo>
                  <a:pt x="4539" y="2520"/>
                  <a:pt x="4250" y="2265"/>
                  <a:pt x="3898" y="2148"/>
                </a:cubicBezTo>
                <a:cubicBezTo>
                  <a:pt x="3778" y="2246"/>
                  <a:pt x="3628" y="2308"/>
                  <a:pt x="3461" y="2308"/>
                </a:cubicBezTo>
                <a:cubicBezTo>
                  <a:pt x="3838" y="2308"/>
                  <a:pt x="4172" y="2489"/>
                  <a:pt x="4382" y="2769"/>
                </a:cubicBezTo>
                <a:cubicBezTo>
                  <a:pt x="4383" y="2769"/>
                  <a:pt x="4383" y="2769"/>
                  <a:pt x="4384" y="2769"/>
                </a:cubicBezTo>
                <a:moveTo>
                  <a:pt x="4384" y="4154"/>
                </a:moveTo>
                <a:cubicBezTo>
                  <a:pt x="4383" y="4154"/>
                  <a:pt x="4383" y="4153"/>
                  <a:pt x="4382" y="4153"/>
                </a:cubicBezTo>
                <a:cubicBezTo>
                  <a:pt x="4172" y="4433"/>
                  <a:pt x="3838" y="4615"/>
                  <a:pt x="3461" y="4615"/>
                </a:cubicBezTo>
                <a:cubicBezTo>
                  <a:pt x="2824" y="4615"/>
                  <a:pt x="2307" y="4098"/>
                  <a:pt x="2307" y="3461"/>
                </a:cubicBezTo>
                <a:cubicBezTo>
                  <a:pt x="2307" y="2824"/>
                  <a:pt x="2824" y="2308"/>
                  <a:pt x="3461" y="2308"/>
                </a:cubicBezTo>
                <a:cubicBezTo>
                  <a:pt x="3294" y="2308"/>
                  <a:pt x="3144" y="2246"/>
                  <a:pt x="3024" y="2148"/>
                </a:cubicBezTo>
                <a:cubicBezTo>
                  <a:pt x="2474" y="2331"/>
                  <a:pt x="2076" y="2849"/>
                  <a:pt x="2076" y="3461"/>
                </a:cubicBezTo>
                <a:cubicBezTo>
                  <a:pt x="2076" y="4226"/>
                  <a:pt x="2696" y="4846"/>
                  <a:pt x="3461" y="4846"/>
                </a:cubicBezTo>
                <a:cubicBezTo>
                  <a:pt x="4006" y="4846"/>
                  <a:pt x="4476" y="4530"/>
                  <a:pt x="4702" y="4073"/>
                </a:cubicBezTo>
                <a:moveTo>
                  <a:pt x="2307" y="3461"/>
                </a:moveTo>
                <a:cubicBezTo>
                  <a:pt x="2307" y="4098"/>
                  <a:pt x="2824" y="4615"/>
                  <a:pt x="3461" y="4615"/>
                </a:cubicBezTo>
                <a:cubicBezTo>
                  <a:pt x="3838" y="4615"/>
                  <a:pt x="4172" y="4433"/>
                  <a:pt x="4382" y="4153"/>
                </a:cubicBezTo>
                <a:cubicBezTo>
                  <a:pt x="4291" y="4153"/>
                  <a:pt x="4204" y="4135"/>
                  <a:pt x="4123" y="4102"/>
                </a:cubicBezTo>
                <a:cubicBezTo>
                  <a:pt x="3956" y="4275"/>
                  <a:pt x="3721" y="4384"/>
                  <a:pt x="3461" y="4384"/>
                </a:cubicBezTo>
                <a:cubicBezTo>
                  <a:pt x="2951" y="4384"/>
                  <a:pt x="2538" y="3971"/>
                  <a:pt x="2538" y="3461"/>
                </a:cubicBezTo>
                <a:cubicBezTo>
                  <a:pt x="2538" y="2952"/>
                  <a:pt x="2951" y="2538"/>
                  <a:pt x="3461" y="2538"/>
                </a:cubicBezTo>
                <a:cubicBezTo>
                  <a:pt x="3721" y="2538"/>
                  <a:pt x="3956" y="2647"/>
                  <a:pt x="4123" y="2821"/>
                </a:cubicBezTo>
                <a:cubicBezTo>
                  <a:pt x="4204" y="2788"/>
                  <a:pt x="4291" y="2769"/>
                  <a:pt x="4382" y="2769"/>
                </a:cubicBezTo>
                <a:cubicBezTo>
                  <a:pt x="4172" y="2489"/>
                  <a:pt x="3838" y="2308"/>
                  <a:pt x="3461" y="2308"/>
                </a:cubicBezTo>
                <a:cubicBezTo>
                  <a:pt x="2824" y="2308"/>
                  <a:pt x="2307" y="2824"/>
                  <a:pt x="2307" y="3461"/>
                </a:cubicBezTo>
                <a:close/>
                <a:moveTo>
                  <a:pt x="3692" y="3461"/>
                </a:moveTo>
                <a:cubicBezTo>
                  <a:pt x="3692" y="3171"/>
                  <a:pt x="3870" y="2924"/>
                  <a:pt x="4123" y="2821"/>
                </a:cubicBezTo>
                <a:cubicBezTo>
                  <a:pt x="3956" y="2647"/>
                  <a:pt x="3721" y="2538"/>
                  <a:pt x="3461" y="2538"/>
                </a:cubicBezTo>
                <a:cubicBezTo>
                  <a:pt x="2951" y="2538"/>
                  <a:pt x="2538" y="2952"/>
                  <a:pt x="2538" y="3461"/>
                </a:cubicBezTo>
                <a:cubicBezTo>
                  <a:pt x="2538" y="3971"/>
                  <a:pt x="2951" y="4384"/>
                  <a:pt x="3461" y="4384"/>
                </a:cubicBezTo>
                <a:cubicBezTo>
                  <a:pt x="3721" y="4384"/>
                  <a:pt x="3956" y="4275"/>
                  <a:pt x="4123" y="4102"/>
                </a:cubicBezTo>
                <a:cubicBezTo>
                  <a:pt x="3870" y="3999"/>
                  <a:pt x="3692" y="3751"/>
                  <a:pt x="3692" y="3461"/>
                </a:cubicBezTo>
                <a:close/>
                <a:moveTo>
                  <a:pt x="3882" y="1427"/>
                </a:moveTo>
                <a:cubicBezTo>
                  <a:pt x="3810" y="1266"/>
                  <a:pt x="3649" y="1154"/>
                  <a:pt x="3461" y="1154"/>
                </a:cubicBezTo>
                <a:cubicBezTo>
                  <a:pt x="3273" y="1154"/>
                  <a:pt x="3112" y="1266"/>
                  <a:pt x="3040" y="1427"/>
                </a:cubicBezTo>
                <a:moveTo>
                  <a:pt x="3233" y="1631"/>
                </a:moveTo>
                <a:cubicBezTo>
                  <a:pt x="3233" y="1625"/>
                  <a:pt x="3230" y="1621"/>
                  <a:pt x="3230" y="1615"/>
                </a:cubicBezTo>
                <a:cubicBezTo>
                  <a:pt x="3230" y="1488"/>
                  <a:pt x="3333" y="1385"/>
                  <a:pt x="3461" y="1385"/>
                </a:cubicBezTo>
                <a:moveTo>
                  <a:pt x="3040" y="1427"/>
                </a:moveTo>
                <a:cubicBezTo>
                  <a:pt x="3014" y="1485"/>
                  <a:pt x="2999" y="1548"/>
                  <a:pt x="2999" y="1615"/>
                </a:cubicBezTo>
                <a:cubicBezTo>
                  <a:pt x="2999" y="1635"/>
                  <a:pt x="3003" y="1655"/>
                  <a:pt x="3005" y="1674"/>
                </a:cubicBezTo>
                <a:moveTo>
                  <a:pt x="3916" y="1674"/>
                </a:moveTo>
                <a:cubicBezTo>
                  <a:pt x="3919" y="1655"/>
                  <a:pt x="3922" y="1635"/>
                  <a:pt x="3922" y="1615"/>
                </a:cubicBezTo>
                <a:cubicBezTo>
                  <a:pt x="3922" y="1548"/>
                  <a:pt x="3907" y="1485"/>
                  <a:pt x="3882" y="1427"/>
                </a:cubicBezTo>
                <a:moveTo>
                  <a:pt x="3461" y="1385"/>
                </a:moveTo>
                <a:cubicBezTo>
                  <a:pt x="3588" y="1385"/>
                  <a:pt x="3692" y="1488"/>
                  <a:pt x="3692" y="1615"/>
                </a:cubicBezTo>
                <a:cubicBezTo>
                  <a:pt x="3692" y="1621"/>
                  <a:pt x="3689" y="1625"/>
                  <a:pt x="3689" y="1631"/>
                </a:cubicBezTo>
                <a:moveTo>
                  <a:pt x="3005" y="1674"/>
                </a:moveTo>
                <a:cubicBezTo>
                  <a:pt x="3016" y="1755"/>
                  <a:pt x="3046" y="1828"/>
                  <a:pt x="3092" y="1890"/>
                </a:cubicBezTo>
                <a:moveTo>
                  <a:pt x="3461" y="1846"/>
                </a:moveTo>
                <a:cubicBezTo>
                  <a:pt x="3339" y="1846"/>
                  <a:pt x="3242" y="1751"/>
                  <a:pt x="3233" y="1631"/>
                </a:cubicBezTo>
                <a:moveTo>
                  <a:pt x="3830" y="1890"/>
                </a:moveTo>
                <a:cubicBezTo>
                  <a:pt x="3876" y="1828"/>
                  <a:pt x="3906" y="1755"/>
                  <a:pt x="3916" y="1674"/>
                </a:cubicBezTo>
                <a:moveTo>
                  <a:pt x="3689" y="1631"/>
                </a:moveTo>
                <a:cubicBezTo>
                  <a:pt x="3680" y="1751"/>
                  <a:pt x="3583" y="1846"/>
                  <a:pt x="3461" y="1846"/>
                </a:cubicBezTo>
                <a:moveTo>
                  <a:pt x="3092" y="1890"/>
                </a:moveTo>
                <a:cubicBezTo>
                  <a:pt x="3176" y="2003"/>
                  <a:pt x="3309" y="2077"/>
                  <a:pt x="3461" y="2077"/>
                </a:cubicBezTo>
                <a:cubicBezTo>
                  <a:pt x="3612" y="2077"/>
                  <a:pt x="3746" y="2003"/>
                  <a:pt x="3830" y="1890"/>
                </a:cubicBezTo>
                <a:moveTo>
                  <a:pt x="4702" y="4073"/>
                </a:moveTo>
                <a:cubicBezTo>
                  <a:pt x="4923" y="3958"/>
                  <a:pt x="5076" y="3728"/>
                  <a:pt x="5076" y="3461"/>
                </a:cubicBezTo>
                <a:cubicBezTo>
                  <a:pt x="5076" y="3194"/>
                  <a:pt x="4923" y="2965"/>
                  <a:pt x="4702" y="2850"/>
                </a:cubicBezTo>
                <a:moveTo>
                  <a:pt x="4529" y="3025"/>
                </a:moveTo>
                <a:cubicBezTo>
                  <a:pt x="4712" y="3086"/>
                  <a:pt x="4845" y="3257"/>
                  <a:pt x="4845" y="3461"/>
                </a:cubicBezTo>
                <a:moveTo>
                  <a:pt x="4529" y="3897"/>
                </a:moveTo>
                <a:cubicBezTo>
                  <a:pt x="4712" y="3836"/>
                  <a:pt x="4845" y="3665"/>
                  <a:pt x="4845" y="3461"/>
                </a:cubicBezTo>
                <a:cubicBezTo>
                  <a:pt x="4845" y="3257"/>
                  <a:pt x="4712" y="3086"/>
                  <a:pt x="4529" y="3025"/>
                </a:cubicBezTo>
                <a:moveTo>
                  <a:pt x="4615" y="3461"/>
                </a:moveTo>
                <a:cubicBezTo>
                  <a:pt x="4615" y="3589"/>
                  <a:pt x="4511" y="3692"/>
                  <a:pt x="4384" y="3692"/>
                </a:cubicBezTo>
                <a:cubicBezTo>
                  <a:pt x="4373" y="3692"/>
                  <a:pt x="4364" y="3687"/>
                  <a:pt x="4353" y="3686"/>
                </a:cubicBezTo>
                <a:moveTo>
                  <a:pt x="4265" y="3905"/>
                </a:moveTo>
                <a:cubicBezTo>
                  <a:pt x="4303" y="3916"/>
                  <a:pt x="4343" y="3923"/>
                  <a:pt x="4384" y="3923"/>
                </a:cubicBezTo>
                <a:cubicBezTo>
                  <a:pt x="4435" y="3923"/>
                  <a:pt x="4483" y="3913"/>
                  <a:pt x="4529" y="3897"/>
                </a:cubicBezTo>
                <a:moveTo>
                  <a:pt x="4529" y="3025"/>
                </a:moveTo>
                <a:cubicBezTo>
                  <a:pt x="4483" y="3010"/>
                  <a:pt x="4435" y="3000"/>
                  <a:pt x="4384" y="3000"/>
                </a:cubicBezTo>
                <a:cubicBezTo>
                  <a:pt x="4343" y="3000"/>
                  <a:pt x="4303" y="3007"/>
                  <a:pt x="4265" y="3017"/>
                </a:cubicBezTo>
                <a:moveTo>
                  <a:pt x="4353" y="3237"/>
                </a:moveTo>
                <a:cubicBezTo>
                  <a:pt x="4364" y="3235"/>
                  <a:pt x="4373" y="3231"/>
                  <a:pt x="4384" y="3231"/>
                </a:cubicBezTo>
                <a:cubicBezTo>
                  <a:pt x="4511" y="3231"/>
                  <a:pt x="4615" y="3334"/>
                  <a:pt x="4615" y="3461"/>
                </a:cubicBezTo>
                <a:moveTo>
                  <a:pt x="4353" y="3686"/>
                </a:moveTo>
                <a:cubicBezTo>
                  <a:pt x="4241" y="3670"/>
                  <a:pt x="4153" y="3578"/>
                  <a:pt x="4153" y="3461"/>
                </a:cubicBezTo>
                <a:cubicBezTo>
                  <a:pt x="4153" y="3345"/>
                  <a:pt x="4241" y="3252"/>
                  <a:pt x="4353" y="3237"/>
                </a:cubicBezTo>
                <a:moveTo>
                  <a:pt x="4265" y="3017"/>
                </a:moveTo>
                <a:cubicBezTo>
                  <a:pt x="4068" y="3070"/>
                  <a:pt x="3922" y="3248"/>
                  <a:pt x="3922" y="3461"/>
                </a:cubicBezTo>
                <a:cubicBezTo>
                  <a:pt x="3922" y="3675"/>
                  <a:pt x="4068" y="3853"/>
                  <a:pt x="4265" y="3905"/>
                </a:cubicBezTo>
                <a:moveTo>
                  <a:pt x="946" y="5835"/>
                </a:moveTo>
                <a:cubicBezTo>
                  <a:pt x="986" y="5888"/>
                  <a:pt x="1034" y="5936"/>
                  <a:pt x="1088" y="5976"/>
                </a:cubicBezTo>
                <a:cubicBezTo>
                  <a:pt x="1039" y="5930"/>
                  <a:pt x="992" y="5883"/>
                  <a:pt x="946" y="5835"/>
                </a:cubicBezTo>
                <a:close/>
                <a:moveTo>
                  <a:pt x="1116" y="5679"/>
                </a:moveTo>
                <a:cubicBezTo>
                  <a:pt x="1138" y="5712"/>
                  <a:pt x="1164" y="5742"/>
                  <a:pt x="1194" y="5768"/>
                </a:cubicBezTo>
                <a:cubicBezTo>
                  <a:pt x="1210" y="5782"/>
                  <a:pt x="1226" y="5795"/>
                  <a:pt x="1244" y="5806"/>
                </a:cubicBezTo>
                <a:moveTo>
                  <a:pt x="1364" y="5604"/>
                </a:moveTo>
                <a:cubicBezTo>
                  <a:pt x="1346" y="5591"/>
                  <a:pt x="1331" y="5576"/>
                  <a:pt x="1318" y="5558"/>
                </a:cubicBezTo>
                <a:moveTo>
                  <a:pt x="1244" y="5806"/>
                </a:moveTo>
                <a:cubicBezTo>
                  <a:pt x="1317" y="5855"/>
                  <a:pt x="1405" y="5884"/>
                  <a:pt x="1500" y="5884"/>
                </a:cubicBezTo>
                <a:cubicBezTo>
                  <a:pt x="1555" y="5884"/>
                  <a:pt x="1608" y="5873"/>
                  <a:pt x="1658" y="5855"/>
                </a:cubicBezTo>
                <a:moveTo>
                  <a:pt x="1068" y="5264"/>
                </a:moveTo>
                <a:cubicBezTo>
                  <a:pt x="1049" y="5314"/>
                  <a:pt x="1038" y="5367"/>
                  <a:pt x="1038" y="5423"/>
                </a:cubicBezTo>
                <a:cubicBezTo>
                  <a:pt x="1038" y="5517"/>
                  <a:pt x="1067" y="5605"/>
                  <a:pt x="1116" y="5679"/>
                </a:cubicBezTo>
                <a:moveTo>
                  <a:pt x="1318" y="5558"/>
                </a:moveTo>
                <a:cubicBezTo>
                  <a:pt x="1289" y="5520"/>
                  <a:pt x="1269" y="5474"/>
                  <a:pt x="1269" y="5423"/>
                </a:cubicBezTo>
                <a:cubicBezTo>
                  <a:pt x="1269" y="5353"/>
                  <a:pt x="1301" y="5293"/>
                  <a:pt x="1350" y="5251"/>
                </a:cubicBezTo>
                <a:moveTo>
                  <a:pt x="1208" y="5067"/>
                </a:moveTo>
                <a:cubicBezTo>
                  <a:pt x="1145" y="5119"/>
                  <a:pt x="1096" y="5186"/>
                  <a:pt x="1068" y="5264"/>
                </a:cubicBezTo>
                <a:moveTo>
                  <a:pt x="1658" y="5855"/>
                </a:moveTo>
                <a:cubicBezTo>
                  <a:pt x="1736" y="5826"/>
                  <a:pt x="1803" y="5777"/>
                  <a:pt x="1855" y="5714"/>
                </a:cubicBezTo>
                <a:moveTo>
                  <a:pt x="1672" y="5573"/>
                </a:moveTo>
                <a:cubicBezTo>
                  <a:pt x="1629" y="5621"/>
                  <a:pt x="1569" y="5653"/>
                  <a:pt x="1500" y="5653"/>
                </a:cubicBezTo>
                <a:cubicBezTo>
                  <a:pt x="1448" y="5653"/>
                  <a:pt x="1402" y="5633"/>
                  <a:pt x="1364" y="5604"/>
                </a:cubicBezTo>
                <a:moveTo>
                  <a:pt x="1422" y="4969"/>
                </a:moveTo>
                <a:cubicBezTo>
                  <a:pt x="1342" y="4983"/>
                  <a:pt x="1269" y="5018"/>
                  <a:pt x="1208" y="5067"/>
                </a:cubicBezTo>
                <a:moveTo>
                  <a:pt x="1855" y="5714"/>
                </a:moveTo>
                <a:cubicBezTo>
                  <a:pt x="1905" y="5653"/>
                  <a:pt x="1940" y="5581"/>
                  <a:pt x="1953" y="5500"/>
                </a:cubicBezTo>
                <a:moveTo>
                  <a:pt x="1350" y="5251"/>
                </a:moveTo>
                <a:cubicBezTo>
                  <a:pt x="1390" y="5215"/>
                  <a:pt x="1442" y="5192"/>
                  <a:pt x="1500" y="5192"/>
                </a:cubicBezTo>
                <a:cubicBezTo>
                  <a:pt x="1627" y="5192"/>
                  <a:pt x="1730" y="5295"/>
                  <a:pt x="1730" y="5423"/>
                </a:cubicBezTo>
                <a:cubicBezTo>
                  <a:pt x="1730" y="5481"/>
                  <a:pt x="1707" y="5532"/>
                  <a:pt x="1672" y="5573"/>
                </a:cubicBezTo>
                <a:moveTo>
                  <a:pt x="1953" y="5500"/>
                </a:moveTo>
                <a:cubicBezTo>
                  <a:pt x="1958" y="5475"/>
                  <a:pt x="1961" y="5449"/>
                  <a:pt x="1961" y="5423"/>
                </a:cubicBezTo>
                <a:cubicBezTo>
                  <a:pt x="1961" y="5168"/>
                  <a:pt x="1754" y="4961"/>
                  <a:pt x="1500" y="4961"/>
                </a:cubicBezTo>
                <a:cubicBezTo>
                  <a:pt x="1473" y="4961"/>
                  <a:pt x="1448" y="4965"/>
                  <a:pt x="1422" y="4969"/>
                </a:cubicBezTo>
                <a:moveTo>
                  <a:pt x="1318" y="5558"/>
                </a:moveTo>
                <a:cubicBezTo>
                  <a:pt x="1331" y="5576"/>
                  <a:pt x="1346" y="5591"/>
                  <a:pt x="1364" y="5604"/>
                </a:cubicBezTo>
                <a:cubicBezTo>
                  <a:pt x="1348" y="5589"/>
                  <a:pt x="1333" y="5574"/>
                  <a:pt x="1318" y="5558"/>
                </a:cubicBezTo>
                <a:close/>
                <a:moveTo>
                  <a:pt x="1350" y="5251"/>
                </a:moveTo>
                <a:cubicBezTo>
                  <a:pt x="1301" y="5293"/>
                  <a:pt x="1269" y="5353"/>
                  <a:pt x="1269" y="5423"/>
                </a:cubicBezTo>
                <a:cubicBezTo>
                  <a:pt x="1269" y="5474"/>
                  <a:pt x="1289" y="5520"/>
                  <a:pt x="1318" y="5558"/>
                </a:cubicBezTo>
                <a:cubicBezTo>
                  <a:pt x="1333" y="5574"/>
                  <a:pt x="1348" y="5589"/>
                  <a:pt x="1364" y="5604"/>
                </a:cubicBezTo>
                <a:cubicBezTo>
                  <a:pt x="1402" y="5633"/>
                  <a:pt x="1448" y="5653"/>
                  <a:pt x="1500" y="5653"/>
                </a:cubicBezTo>
                <a:cubicBezTo>
                  <a:pt x="1569" y="5653"/>
                  <a:pt x="1629" y="5621"/>
                  <a:pt x="1672" y="5573"/>
                </a:cubicBezTo>
                <a:moveTo>
                  <a:pt x="1672" y="5573"/>
                </a:moveTo>
                <a:cubicBezTo>
                  <a:pt x="1707" y="5532"/>
                  <a:pt x="1730" y="5481"/>
                  <a:pt x="1730" y="5423"/>
                </a:cubicBezTo>
                <a:cubicBezTo>
                  <a:pt x="1730" y="5295"/>
                  <a:pt x="1627" y="5192"/>
                  <a:pt x="1500" y="5192"/>
                </a:cubicBezTo>
                <a:cubicBezTo>
                  <a:pt x="1442" y="5192"/>
                  <a:pt x="1390" y="5215"/>
                  <a:pt x="1350" y="5251"/>
                </a:cubicBezTo>
              </a:path>
            </a:pathLst>
          </a:custGeom>
          <a:noFill/>
          <a:ln w="14288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z="48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spcBef>
                <a:spcPts val="0"/>
              </a:spcBef>
              <a:buSzPct val="100000"/>
              <a:buFont typeface="PingFangSC-Regular" charset="-122"/>
            </a:pPr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b="0" i="0" u="none" strike="noStrike" baseline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marL="171450" lvl="0" indent="-171450" defTabSz="457189">
              <a:spcBef>
                <a:spcPts val="300"/>
              </a:spcBef>
              <a:buSzPct val="100000"/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" y="2420472"/>
            <a:ext cx="1171462" cy="1485989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0" indent="0" algn="r">
              <a:spcBef>
                <a:spcPts val="0"/>
              </a:spcBef>
              <a:buNone/>
              <a:defRPr sz="88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60AFC1AE-E2A4-40AA-92FC-9E2C5D0311A8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1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06828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55931F4-D36B-4B84-A705-FFC1A5B8381A}" type="datetime1">
              <a:rPr lang="en-GB" smtClean="0"/>
              <a:t>24/01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0097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51BAF47A-899A-4A16-B65E-F38AA5B88F9B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3572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978B0EB7-638C-4D60-9BCF-93185F5D026D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5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39059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66746E1D-365C-4C5A-B592-78D3CAE09FBE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48758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42963" y="985838"/>
            <a:ext cx="8085535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ABCCC2B4-2289-427E-A12D-42DC048BD725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91934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842963" y="2912269"/>
            <a:ext cx="8085535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D8F84017-95C5-4D3D-96D9-0DDE2F6406EB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21844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2B6E8BBA-20B0-431C-BF93-53FD598F9F99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243223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9A6581C6-AF9F-423A-B0AD-37D61E17988D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0692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963" y="985837"/>
            <a:ext cx="3985022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42285" y="985838"/>
            <a:ext cx="3986213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42285" y="2912269"/>
            <a:ext cx="3986213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C67B9BDE-62F5-4FC8-B3FA-DD485B57779D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6306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42963" y="985838"/>
            <a:ext cx="3985022" cy="181213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842963" y="2912269"/>
            <a:ext cx="3985022" cy="1813322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4942285" y="985837"/>
            <a:ext cx="3986213" cy="373975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41573C9C-C56D-43E8-AE5B-42DDDAAEE4AB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45972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399" y="985500"/>
            <a:ext cx="39258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2400" y="1571400"/>
            <a:ext cx="39258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78800" y="985500"/>
            <a:ext cx="3950100" cy="51030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78800" y="1571400"/>
            <a:ext cx="3950100" cy="3153600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3C7738AC-4D88-4145-A65C-C252D6DCE257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73205" y="1088122"/>
            <a:ext cx="0" cy="3637087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67229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2-Spli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re 1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72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52"/>
          </p:nvPr>
        </p:nvSpPr>
        <p:spPr bwMode="auto">
          <a:xfrm>
            <a:off x="4992683" y="925127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55"/>
          </p:nvPr>
        </p:nvSpPr>
        <p:spPr/>
        <p:txBody>
          <a:bodyPr/>
          <a:lstStyle/>
          <a:p>
            <a:pPr algn="ctr"/>
            <a:fld id="{47094D16-D5D7-4D04-8C62-CFE4BEE4B8DC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58"/>
          </p:nvPr>
        </p:nvSpPr>
        <p:spPr>
          <a:xfrm>
            <a:off x="842401" y="1373981"/>
            <a:ext cx="3912956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9"/>
          </p:nvPr>
        </p:nvSpPr>
        <p:spPr>
          <a:xfrm>
            <a:off x="4992683" y="1373981"/>
            <a:ext cx="3913200" cy="158710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60"/>
          </p:nvPr>
        </p:nvSpPr>
        <p:spPr>
          <a:xfrm>
            <a:off x="4992684" y="3137608"/>
            <a:ext cx="3913192" cy="1587983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61"/>
          </p:nvPr>
        </p:nvSpPr>
        <p:spPr>
          <a:xfrm>
            <a:off x="842963" y="3137298"/>
            <a:ext cx="3912394" cy="1588294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990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EditPoints="1"/>
          </p:cNvSpPr>
          <p:nvPr userDrawn="1"/>
        </p:nvSpPr>
        <p:spPr bwMode="gray">
          <a:xfrm>
            <a:off x="237982" y="801688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237384" y="227981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D61F95F0-550F-4CB1-80B5-B92CACCAE88A}" type="datetime1">
              <a:rPr lang="en-GB" smtClean="0"/>
              <a:t>24/01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875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2" y="935715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38"/>
          </p:nvPr>
        </p:nvSpPr>
        <p:spPr bwMode="auto">
          <a:xfrm>
            <a:off x="842459" y="2866853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3"/>
          </p:nvPr>
        </p:nvSpPr>
        <p:spPr bwMode="auto">
          <a:xfrm>
            <a:off x="4992673" y="923759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40"/>
          </p:nvPr>
        </p:nvSpPr>
        <p:spPr bwMode="auto">
          <a:xfrm>
            <a:off x="4992670" y="2873531"/>
            <a:ext cx="3913200" cy="313932"/>
          </a:xfrm>
          <a:prstGeom prst="rect">
            <a:avLst/>
          </a:prstGeom>
          <a:noFill/>
          <a:effectLst/>
        </p:spPr>
        <p:txBody>
          <a:bodyPr vert="horz" wrap="square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pPr algn="ctr"/>
            <a:fld id="{5C3FF9D7-6523-484C-96EA-1D7CA6BDE0DA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4"/>
          </p:nvPr>
        </p:nvSpPr>
        <p:spPr>
          <a:xfrm>
            <a:off x="842401" y="1374031"/>
            <a:ext cx="3913259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55"/>
          </p:nvPr>
        </p:nvSpPr>
        <p:spPr>
          <a:xfrm>
            <a:off x="4992670" y="1374031"/>
            <a:ext cx="3913200" cy="1428876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56"/>
          </p:nvPr>
        </p:nvSpPr>
        <p:spPr>
          <a:xfrm>
            <a:off x="4992291" y="3305175"/>
            <a:ext cx="3913584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57"/>
          </p:nvPr>
        </p:nvSpPr>
        <p:spPr>
          <a:xfrm>
            <a:off x="842401" y="3305175"/>
            <a:ext cx="3912956" cy="1425179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43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6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31"/>
          </p:nvPr>
        </p:nvSpPr>
        <p:spPr bwMode="auto">
          <a:xfrm>
            <a:off x="84246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34"/>
          </p:nvPr>
        </p:nvSpPr>
        <p:spPr bwMode="auto">
          <a:xfrm>
            <a:off x="3573370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32"/>
          </p:nvPr>
        </p:nvSpPr>
        <p:spPr bwMode="auto">
          <a:xfrm>
            <a:off x="6309075" y="927276"/>
            <a:ext cx="2592000" cy="313932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b">
            <a:spAutoFit/>
          </a:bodyPr>
          <a:lstStyle>
            <a:lvl1pPr marL="0" indent="0">
              <a:buNone/>
              <a:defRPr lang="en-US" noProof="0" smtClean="0"/>
            </a:lvl1pPr>
            <a:lvl2pPr marL="0" indent="0">
              <a:buNone/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marL="0" lvl="0" indent="0" algn="l" defTabSz="685783" rtl="0" eaLnBrk="1" latinLnBrk="0" hangingPunct="1">
              <a:spcBef>
                <a:spcPct val="20000"/>
              </a:spcBef>
              <a:buClr>
                <a:srgbClr val="2388CF"/>
              </a:buClr>
              <a:buFont typeface="Arial" pitchFamily="34" charset="0"/>
              <a:buNone/>
            </a:pPr>
            <a:r>
              <a:rPr lang="en-US" noProof="0" smtClean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pPr algn="ctr"/>
            <a:fld id="{3B78F767-7659-4DFF-A0FB-B90D8BBDE0AC}" type="datetime1">
              <a:rPr lang="en-GB" smtClean="0"/>
              <a:t>24/01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8"/>
          </p:nvPr>
        </p:nvSpPr>
        <p:spPr>
          <a:xfrm>
            <a:off x="840338" y="1376208"/>
            <a:ext cx="2589326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9"/>
          </p:nvPr>
        </p:nvSpPr>
        <p:spPr>
          <a:xfrm>
            <a:off x="3573370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50"/>
          </p:nvPr>
        </p:nvSpPr>
        <p:spPr>
          <a:xfrm>
            <a:off x="6309075" y="1376208"/>
            <a:ext cx="2592000" cy="3349001"/>
          </a:xfrm>
        </p:spPr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18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485654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0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83957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1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83957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2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83957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3</a:t>
            </a:r>
          </a:p>
        </p:txBody>
      </p:sp>
      <p:sp>
        <p:nvSpPr>
          <p:cNvPr id="24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4523244" y="1052674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4</a:t>
            </a:r>
          </a:p>
        </p:txBody>
      </p:sp>
      <p:sp>
        <p:nvSpPr>
          <p:cNvPr id="25" name="Text Placeholder 31"/>
          <p:cNvSpPr>
            <a:spLocks noGrp="1"/>
          </p:cNvSpPr>
          <p:nvPr>
            <p:ph type="body" sz="quarter" idx="20" hasCustomPrompt="1"/>
          </p:nvPr>
        </p:nvSpPr>
        <p:spPr>
          <a:xfrm>
            <a:off x="4523244" y="2332120"/>
            <a:ext cx="637938" cy="1109795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5</a:t>
            </a:r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4523244" y="3622896"/>
            <a:ext cx="637938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176209" indent="-215995">
              <a:spcBef>
                <a:spcPts val="24"/>
              </a:spcBef>
              <a:buSzPct val="100000"/>
              <a:buFont typeface="Arial"/>
              <a:buChar char="→"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bg1">
                    <a:lumMod val="50000"/>
                  </a:schemeClr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06</a:t>
            </a:r>
          </a:p>
        </p:txBody>
      </p:sp>
      <p:sp>
        <p:nvSpPr>
          <p:cNvPr id="27" name="Text Placeholder 3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654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1485654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29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5169823" y="1052674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0" name="Text Placeholder 31"/>
          <p:cNvSpPr>
            <a:spLocks noGrp="1"/>
          </p:cNvSpPr>
          <p:nvPr>
            <p:ph type="body" sz="quarter" idx="26" hasCustomPrompt="1"/>
          </p:nvPr>
        </p:nvSpPr>
        <p:spPr>
          <a:xfrm>
            <a:off x="5169823" y="2332120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31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5169823" y="3622896"/>
            <a:ext cx="2473325" cy="1102313"/>
          </a:xfrm>
          <a:prstGeom prst="rect">
            <a:avLst/>
          </a:prstGeom>
        </p:spPr>
        <p:txBody>
          <a:bodyPr vert="horz" lIns="36000" tIns="0" rIns="36000" bIns="0"/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  <a:lvl2pPr marL="92073" indent="-92073">
              <a:buFont typeface="Modern No. 20"/>
              <a:buChar char="&gt;"/>
              <a:defRPr sz="1000" baseline="0">
                <a:solidFill>
                  <a:schemeClr val="tx1"/>
                </a:solidFill>
              </a:defRPr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Title</a:t>
            </a:r>
          </a:p>
          <a:p>
            <a:pPr lvl="1"/>
            <a:r>
              <a:rPr lang="en-US" noProof="0" dirty="0" smtClean="0"/>
              <a:t>Subtitle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Summary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algn="ctr"/>
            <a:fld id="{8AAF4C9D-9F72-49AF-8B9F-0BC8FC4DCD5D}" type="datetime1">
              <a:rPr lang="en-GB" smtClean="0"/>
              <a:t>24/01/2018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821403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08006" y="226219"/>
            <a:ext cx="2020491" cy="449937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42963" y="226219"/>
            <a:ext cx="5950744" cy="4499372"/>
          </a:xfrm>
        </p:spPr>
        <p:txBody>
          <a:bodyPr vert="vert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30E4D356-3071-49CD-A6B4-EA0767AB9555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201472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rgbClr val="F3E0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/>
          <p:cNvSpPr>
            <a:spLocks noEditPoints="1"/>
          </p:cNvSpPr>
          <p:nvPr userDrawn="1"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7" name="Group 4"/>
          <p:cNvGrpSpPr>
            <a:grpSpLocks noChangeAspect="1"/>
          </p:cNvGrpSpPr>
          <p:nvPr userDrawn="1"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5" name="Freeform 5"/>
          <p:cNvSpPr>
            <a:spLocks noEditPoints="1"/>
          </p:cNvSpPr>
          <p:nvPr/>
        </p:nvSpPr>
        <p:spPr bwMode="hidden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4359253" y="310137"/>
            <a:ext cx="4473575" cy="4468813"/>
          </a:xfrm>
          <a:custGeom>
            <a:avLst/>
            <a:gdLst>
              <a:gd name="T0" fmla="*/ 807 w 6922"/>
              <a:gd name="T1" fmla="*/ 5423 h 6923"/>
              <a:gd name="T2" fmla="*/ 6691 w 6922"/>
              <a:gd name="T3" fmla="*/ 3461 h 6923"/>
              <a:gd name="T4" fmla="*/ 1088 w 6922"/>
              <a:gd name="T5" fmla="*/ 5976 h 6923"/>
              <a:gd name="T6" fmla="*/ 919 w 6922"/>
              <a:gd name="T7" fmla="*/ 5048 h 6923"/>
              <a:gd name="T8" fmla="*/ 3461 w 6922"/>
              <a:gd name="T9" fmla="*/ 6461 h 6923"/>
              <a:gd name="T10" fmla="*/ 6691 w 6922"/>
              <a:gd name="T11" fmla="*/ 3461 h 6923"/>
              <a:gd name="T12" fmla="*/ 1082 w 6922"/>
              <a:gd name="T13" fmla="*/ 4874 h 6923"/>
              <a:gd name="T14" fmla="*/ 3461 w 6922"/>
              <a:gd name="T15" fmla="*/ 6230 h 6923"/>
              <a:gd name="T16" fmla="*/ 6461 w 6922"/>
              <a:gd name="T17" fmla="*/ 3461 h 6923"/>
              <a:gd name="T18" fmla="*/ 1082 w 6922"/>
              <a:gd name="T19" fmla="*/ 4874 h 6923"/>
              <a:gd name="T20" fmla="*/ 3461 w 6922"/>
              <a:gd name="T21" fmla="*/ 692 h 6923"/>
              <a:gd name="T22" fmla="*/ 923 w 6922"/>
              <a:gd name="T23" fmla="*/ 3461 h 6923"/>
              <a:gd name="T24" fmla="*/ 2155 w 6922"/>
              <a:gd name="T25" fmla="*/ 5635 h 6923"/>
              <a:gd name="T26" fmla="*/ 3461 w 6922"/>
              <a:gd name="T27" fmla="*/ 923 h 6923"/>
              <a:gd name="T28" fmla="*/ 1537 w 6922"/>
              <a:gd name="T29" fmla="*/ 4734 h 6923"/>
              <a:gd name="T30" fmla="*/ 2188 w 6922"/>
              <a:gd name="T31" fmla="*/ 5385 h 6923"/>
              <a:gd name="T32" fmla="*/ 5999 w 6922"/>
              <a:gd name="T33" fmla="*/ 3461 h 6923"/>
              <a:gd name="T34" fmla="*/ 4035 w 6922"/>
              <a:gd name="T35" fmla="*/ 1229 h 6923"/>
              <a:gd name="T36" fmla="*/ 1384 w 6922"/>
              <a:gd name="T37" fmla="*/ 3461 h 6923"/>
              <a:gd name="T38" fmla="*/ 1537 w 6922"/>
              <a:gd name="T39" fmla="*/ 4734 h 6923"/>
              <a:gd name="T40" fmla="*/ 2780 w 6922"/>
              <a:gd name="T41" fmla="*/ 1501 h 6923"/>
              <a:gd name="T42" fmla="*/ 4142 w 6922"/>
              <a:gd name="T43" fmla="*/ 1501 h 6923"/>
              <a:gd name="T44" fmla="*/ 1615 w 6922"/>
              <a:gd name="T45" fmla="*/ 3461 h 6923"/>
              <a:gd name="T46" fmla="*/ 1846 w 6922"/>
              <a:gd name="T47" fmla="*/ 3461 h 6923"/>
              <a:gd name="T48" fmla="*/ 3461 w 6922"/>
              <a:gd name="T49" fmla="*/ 5307 h 6923"/>
              <a:gd name="T50" fmla="*/ 5076 w 6922"/>
              <a:gd name="T51" fmla="*/ 3461 h 6923"/>
              <a:gd name="T52" fmla="*/ 5076 w 6922"/>
              <a:gd name="T53" fmla="*/ 3461 h 6923"/>
              <a:gd name="T54" fmla="*/ 3024 w 6922"/>
              <a:gd name="T55" fmla="*/ 2148 h 6923"/>
              <a:gd name="T56" fmla="*/ 4057 w 6922"/>
              <a:gd name="T57" fmla="*/ 1961 h 6923"/>
              <a:gd name="T58" fmla="*/ 4382 w 6922"/>
              <a:gd name="T59" fmla="*/ 2769 h 6923"/>
              <a:gd name="T60" fmla="*/ 3461 w 6922"/>
              <a:gd name="T61" fmla="*/ 4615 h 6923"/>
              <a:gd name="T62" fmla="*/ 2076 w 6922"/>
              <a:gd name="T63" fmla="*/ 3461 h 6923"/>
              <a:gd name="T64" fmla="*/ 3461 w 6922"/>
              <a:gd name="T65" fmla="*/ 4615 h 6923"/>
              <a:gd name="T66" fmla="*/ 2538 w 6922"/>
              <a:gd name="T67" fmla="*/ 3461 h 6923"/>
              <a:gd name="T68" fmla="*/ 3461 w 6922"/>
              <a:gd name="T69" fmla="*/ 2308 h 6923"/>
              <a:gd name="T70" fmla="*/ 3461 w 6922"/>
              <a:gd name="T71" fmla="*/ 2538 h 6923"/>
              <a:gd name="T72" fmla="*/ 3692 w 6922"/>
              <a:gd name="T73" fmla="*/ 3461 h 6923"/>
              <a:gd name="T74" fmla="*/ 3233 w 6922"/>
              <a:gd name="T75" fmla="*/ 1631 h 6923"/>
              <a:gd name="T76" fmla="*/ 2999 w 6922"/>
              <a:gd name="T77" fmla="*/ 1615 h 6923"/>
              <a:gd name="T78" fmla="*/ 3882 w 6922"/>
              <a:gd name="T79" fmla="*/ 1427 h 6923"/>
              <a:gd name="T80" fmla="*/ 3005 w 6922"/>
              <a:gd name="T81" fmla="*/ 1674 h 6923"/>
              <a:gd name="T82" fmla="*/ 3830 w 6922"/>
              <a:gd name="T83" fmla="*/ 1890 h 6923"/>
              <a:gd name="T84" fmla="*/ 3092 w 6922"/>
              <a:gd name="T85" fmla="*/ 1890 h 6923"/>
              <a:gd name="T86" fmla="*/ 5076 w 6922"/>
              <a:gd name="T87" fmla="*/ 3461 h 6923"/>
              <a:gd name="T88" fmla="*/ 4529 w 6922"/>
              <a:gd name="T89" fmla="*/ 3897 h 6923"/>
              <a:gd name="T90" fmla="*/ 4384 w 6922"/>
              <a:gd name="T91" fmla="*/ 3692 h 6923"/>
              <a:gd name="T92" fmla="*/ 4529 w 6922"/>
              <a:gd name="T93" fmla="*/ 3897 h 6923"/>
              <a:gd name="T94" fmla="*/ 4353 w 6922"/>
              <a:gd name="T95" fmla="*/ 3237 h 6923"/>
              <a:gd name="T96" fmla="*/ 4153 w 6922"/>
              <a:gd name="T97" fmla="*/ 3461 h 6923"/>
              <a:gd name="T98" fmla="*/ 4265 w 6922"/>
              <a:gd name="T99" fmla="*/ 3905 h 6923"/>
              <a:gd name="T100" fmla="*/ 1116 w 6922"/>
              <a:gd name="T101" fmla="*/ 5679 h 6923"/>
              <a:gd name="T102" fmla="*/ 1318 w 6922"/>
              <a:gd name="T103" fmla="*/ 5558 h 6923"/>
              <a:gd name="T104" fmla="*/ 1068 w 6922"/>
              <a:gd name="T105" fmla="*/ 5264 h 6923"/>
              <a:gd name="T106" fmla="*/ 1269 w 6922"/>
              <a:gd name="T107" fmla="*/ 5423 h 6923"/>
              <a:gd name="T108" fmla="*/ 1658 w 6922"/>
              <a:gd name="T109" fmla="*/ 5855 h 6923"/>
              <a:gd name="T110" fmla="*/ 1364 w 6922"/>
              <a:gd name="T111" fmla="*/ 5604 h 6923"/>
              <a:gd name="T112" fmla="*/ 1953 w 6922"/>
              <a:gd name="T113" fmla="*/ 5500 h 6923"/>
              <a:gd name="T114" fmla="*/ 1672 w 6922"/>
              <a:gd name="T115" fmla="*/ 5573 h 6923"/>
              <a:gd name="T116" fmla="*/ 1422 w 6922"/>
              <a:gd name="T117" fmla="*/ 4969 h 6923"/>
              <a:gd name="T118" fmla="*/ 1350 w 6922"/>
              <a:gd name="T119" fmla="*/ 5251 h 6923"/>
              <a:gd name="T120" fmla="*/ 1500 w 6922"/>
              <a:gd name="T121" fmla="*/ 5653 h 6923"/>
              <a:gd name="T122" fmla="*/ 1500 w 6922"/>
              <a:gd name="T123" fmla="*/ 5192 h 6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22" h="6923">
                <a:moveTo>
                  <a:pt x="3461" y="0"/>
                </a:moveTo>
                <a:cubicBezTo>
                  <a:pt x="1549" y="0"/>
                  <a:pt x="0" y="1550"/>
                  <a:pt x="0" y="3461"/>
                </a:cubicBezTo>
                <a:cubicBezTo>
                  <a:pt x="0" y="4381"/>
                  <a:pt x="361" y="5215"/>
                  <a:pt x="946" y="5835"/>
                </a:cubicBezTo>
                <a:cubicBezTo>
                  <a:pt x="860" y="5719"/>
                  <a:pt x="807" y="5578"/>
                  <a:pt x="807" y="5423"/>
                </a:cubicBezTo>
                <a:cubicBezTo>
                  <a:pt x="807" y="5386"/>
                  <a:pt x="813" y="5351"/>
                  <a:pt x="818" y="5316"/>
                </a:cubicBezTo>
                <a:cubicBezTo>
                  <a:pt x="449" y="4790"/>
                  <a:pt x="230" y="4152"/>
                  <a:pt x="230" y="3461"/>
                </a:cubicBezTo>
                <a:cubicBezTo>
                  <a:pt x="230" y="1677"/>
                  <a:pt x="1677" y="231"/>
                  <a:pt x="3461" y="231"/>
                </a:cubicBezTo>
                <a:cubicBezTo>
                  <a:pt x="5245" y="231"/>
                  <a:pt x="6691" y="1677"/>
                  <a:pt x="6691" y="3461"/>
                </a:cubicBezTo>
                <a:cubicBezTo>
                  <a:pt x="6691" y="5245"/>
                  <a:pt x="5245" y="6692"/>
                  <a:pt x="3461" y="6692"/>
                </a:cubicBezTo>
                <a:cubicBezTo>
                  <a:pt x="2770" y="6692"/>
                  <a:pt x="2132" y="6473"/>
                  <a:pt x="1607" y="6104"/>
                </a:cubicBezTo>
                <a:cubicBezTo>
                  <a:pt x="1571" y="6110"/>
                  <a:pt x="1536" y="6115"/>
                  <a:pt x="1500" y="6115"/>
                </a:cubicBezTo>
                <a:cubicBezTo>
                  <a:pt x="1345" y="6115"/>
                  <a:pt x="1203" y="6062"/>
                  <a:pt x="1088" y="5976"/>
                </a:cubicBezTo>
                <a:cubicBezTo>
                  <a:pt x="1707" y="6561"/>
                  <a:pt x="2541" y="6923"/>
                  <a:pt x="3461" y="6923"/>
                </a:cubicBezTo>
                <a:cubicBezTo>
                  <a:pt x="5373" y="6923"/>
                  <a:pt x="6922" y="5373"/>
                  <a:pt x="6922" y="3461"/>
                </a:cubicBezTo>
                <a:cubicBezTo>
                  <a:pt x="6922" y="1550"/>
                  <a:pt x="5373" y="0"/>
                  <a:pt x="3461" y="0"/>
                </a:cubicBezTo>
                <a:close/>
                <a:moveTo>
                  <a:pt x="919" y="5048"/>
                </a:moveTo>
                <a:cubicBezTo>
                  <a:pt x="630" y="4588"/>
                  <a:pt x="461" y="4045"/>
                  <a:pt x="461" y="3461"/>
                </a:cubicBezTo>
                <a:cubicBezTo>
                  <a:pt x="461" y="1805"/>
                  <a:pt x="1804" y="462"/>
                  <a:pt x="3461" y="462"/>
                </a:cubicBezTo>
                <a:cubicBezTo>
                  <a:pt x="5118" y="462"/>
                  <a:pt x="6461" y="1805"/>
                  <a:pt x="6461" y="3461"/>
                </a:cubicBezTo>
                <a:cubicBezTo>
                  <a:pt x="6461" y="5118"/>
                  <a:pt x="5118" y="6461"/>
                  <a:pt x="3461" y="6461"/>
                </a:cubicBezTo>
                <a:cubicBezTo>
                  <a:pt x="2877" y="6461"/>
                  <a:pt x="2335" y="6292"/>
                  <a:pt x="1874" y="6004"/>
                </a:cubicBezTo>
                <a:moveTo>
                  <a:pt x="1607" y="6104"/>
                </a:moveTo>
                <a:cubicBezTo>
                  <a:pt x="2132" y="6473"/>
                  <a:pt x="2770" y="6692"/>
                  <a:pt x="3461" y="6692"/>
                </a:cubicBezTo>
                <a:cubicBezTo>
                  <a:pt x="5245" y="6692"/>
                  <a:pt x="6691" y="5245"/>
                  <a:pt x="6691" y="3461"/>
                </a:cubicBezTo>
                <a:cubicBezTo>
                  <a:pt x="6691" y="1677"/>
                  <a:pt x="5245" y="231"/>
                  <a:pt x="3461" y="231"/>
                </a:cubicBezTo>
                <a:cubicBezTo>
                  <a:pt x="1677" y="231"/>
                  <a:pt x="230" y="1677"/>
                  <a:pt x="230" y="3461"/>
                </a:cubicBezTo>
                <a:cubicBezTo>
                  <a:pt x="230" y="4152"/>
                  <a:pt x="449" y="4790"/>
                  <a:pt x="818" y="5316"/>
                </a:cubicBezTo>
                <a:moveTo>
                  <a:pt x="1082" y="4874"/>
                </a:moveTo>
                <a:cubicBezTo>
                  <a:pt x="836" y="4460"/>
                  <a:pt x="692" y="3978"/>
                  <a:pt x="692" y="3461"/>
                </a:cubicBezTo>
                <a:cubicBezTo>
                  <a:pt x="692" y="1932"/>
                  <a:pt x="1932" y="692"/>
                  <a:pt x="3461" y="692"/>
                </a:cubicBezTo>
                <a:cubicBezTo>
                  <a:pt x="4990" y="692"/>
                  <a:pt x="6230" y="1932"/>
                  <a:pt x="6230" y="3461"/>
                </a:cubicBezTo>
                <a:cubicBezTo>
                  <a:pt x="6230" y="4991"/>
                  <a:pt x="4990" y="6230"/>
                  <a:pt x="3461" y="6230"/>
                </a:cubicBezTo>
                <a:cubicBezTo>
                  <a:pt x="2944" y="6230"/>
                  <a:pt x="2462" y="6086"/>
                  <a:pt x="2049" y="5840"/>
                </a:cubicBezTo>
                <a:cubicBezTo>
                  <a:pt x="2000" y="5904"/>
                  <a:pt x="1942" y="5960"/>
                  <a:pt x="1874" y="6004"/>
                </a:cubicBezTo>
                <a:cubicBezTo>
                  <a:pt x="2335" y="6292"/>
                  <a:pt x="2877" y="6461"/>
                  <a:pt x="3461" y="6461"/>
                </a:cubicBezTo>
                <a:cubicBezTo>
                  <a:pt x="5118" y="6461"/>
                  <a:pt x="6461" y="5118"/>
                  <a:pt x="6461" y="3461"/>
                </a:cubicBezTo>
                <a:cubicBezTo>
                  <a:pt x="6461" y="1805"/>
                  <a:pt x="5118" y="462"/>
                  <a:pt x="3461" y="462"/>
                </a:cubicBezTo>
                <a:cubicBezTo>
                  <a:pt x="1804" y="462"/>
                  <a:pt x="461" y="1805"/>
                  <a:pt x="461" y="3461"/>
                </a:cubicBezTo>
                <a:cubicBezTo>
                  <a:pt x="461" y="4045"/>
                  <a:pt x="630" y="4588"/>
                  <a:pt x="919" y="5048"/>
                </a:cubicBezTo>
                <a:cubicBezTo>
                  <a:pt x="962" y="4981"/>
                  <a:pt x="1018" y="4922"/>
                  <a:pt x="1082" y="4874"/>
                </a:cubicBezTo>
                <a:close/>
                <a:moveTo>
                  <a:pt x="2049" y="5840"/>
                </a:moveTo>
                <a:cubicBezTo>
                  <a:pt x="2462" y="6086"/>
                  <a:pt x="2944" y="6230"/>
                  <a:pt x="3461" y="6230"/>
                </a:cubicBezTo>
                <a:cubicBezTo>
                  <a:pt x="4990" y="6230"/>
                  <a:pt x="6230" y="4991"/>
                  <a:pt x="6230" y="3461"/>
                </a:cubicBezTo>
                <a:cubicBezTo>
                  <a:pt x="6230" y="1932"/>
                  <a:pt x="4990" y="692"/>
                  <a:pt x="3461" y="692"/>
                </a:cubicBezTo>
                <a:cubicBezTo>
                  <a:pt x="1932" y="692"/>
                  <a:pt x="692" y="1932"/>
                  <a:pt x="692" y="3461"/>
                </a:cubicBezTo>
                <a:cubicBezTo>
                  <a:pt x="692" y="3978"/>
                  <a:pt x="836" y="4460"/>
                  <a:pt x="1082" y="4874"/>
                </a:cubicBezTo>
                <a:moveTo>
                  <a:pt x="1287" y="4767"/>
                </a:moveTo>
                <a:cubicBezTo>
                  <a:pt x="1057" y="4385"/>
                  <a:pt x="923" y="3939"/>
                  <a:pt x="923" y="3461"/>
                </a:cubicBezTo>
                <a:cubicBezTo>
                  <a:pt x="923" y="2059"/>
                  <a:pt x="2059" y="923"/>
                  <a:pt x="3461" y="923"/>
                </a:cubicBezTo>
                <a:cubicBezTo>
                  <a:pt x="4863" y="923"/>
                  <a:pt x="5999" y="2059"/>
                  <a:pt x="5999" y="3461"/>
                </a:cubicBezTo>
                <a:cubicBezTo>
                  <a:pt x="5999" y="4863"/>
                  <a:pt x="4863" y="6000"/>
                  <a:pt x="3461" y="6000"/>
                </a:cubicBezTo>
                <a:cubicBezTo>
                  <a:pt x="2983" y="6000"/>
                  <a:pt x="2537" y="5865"/>
                  <a:pt x="2155" y="5635"/>
                </a:cubicBezTo>
                <a:moveTo>
                  <a:pt x="1537" y="4734"/>
                </a:moveTo>
                <a:cubicBezTo>
                  <a:pt x="1295" y="4369"/>
                  <a:pt x="1153" y="3932"/>
                  <a:pt x="1153" y="3461"/>
                </a:cubicBezTo>
                <a:cubicBezTo>
                  <a:pt x="1153" y="2386"/>
                  <a:pt x="1891" y="1484"/>
                  <a:pt x="2887" y="1229"/>
                </a:cubicBezTo>
                <a:cubicBezTo>
                  <a:pt x="3011" y="1044"/>
                  <a:pt x="3222" y="923"/>
                  <a:pt x="3461" y="923"/>
                </a:cubicBezTo>
                <a:cubicBezTo>
                  <a:pt x="2059" y="923"/>
                  <a:pt x="923" y="2059"/>
                  <a:pt x="923" y="3461"/>
                </a:cubicBezTo>
                <a:cubicBezTo>
                  <a:pt x="923" y="3939"/>
                  <a:pt x="1057" y="4385"/>
                  <a:pt x="1287" y="4767"/>
                </a:cubicBezTo>
                <a:cubicBezTo>
                  <a:pt x="1355" y="4745"/>
                  <a:pt x="1425" y="4730"/>
                  <a:pt x="1500" y="4730"/>
                </a:cubicBezTo>
                <a:cubicBezTo>
                  <a:pt x="1512" y="4730"/>
                  <a:pt x="1524" y="4733"/>
                  <a:pt x="1537" y="4734"/>
                </a:cubicBezTo>
                <a:close/>
                <a:moveTo>
                  <a:pt x="4035" y="1229"/>
                </a:moveTo>
                <a:cubicBezTo>
                  <a:pt x="5031" y="1484"/>
                  <a:pt x="5768" y="2386"/>
                  <a:pt x="5768" y="3461"/>
                </a:cubicBezTo>
                <a:cubicBezTo>
                  <a:pt x="5768" y="4736"/>
                  <a:pt x="4735" y="5769"/>
                  <a:pt x="3461" y="5769"/>
                </a:cubicBezTo>
                <a:cubicBezTo>
                  <a:pt x="2990" y="5769"/>
                  <a:pt x="2553" y="5627"/>
                  <a:pt x="2188" y="5385"/>
                </a:cubicBezTo>
                <a:cubicBezTo>
                  <a:pt x="2189" y="5398"/>
                  <a:pt x="2192" y="5410"/>
                  <a:pt x="2192" y="5423"/>
                </a:cubicBezTo>
                <a:cubicBezTo>
                  <a:pt x="2192" y="5497"/>
                  <a:pt x="2177" y="5568"/>
                  <a:pt x="2155" y="5635"/>
                </a:cubicBezTo>
                <a:cubicBezTo>
                  <a:pt x="2537" y="5865"/>
                  <a:pt x="2983" y="6000"/>
                  <a:pt x="3461" y="6000"/>
                </a:cubicBezTo>
                <a:cubicBezTo>
                  <a:pt x="4863" y="6000"/>
                  <a:pt x="5999" y="4863"/>
                  <a:pt x="5999" y="3461"/>
                </a:cubicBezTo>
                <a:cubicBezTo>
                  <a:pt x="5999" y="2059"/>
                  <a:pt x="4863" y="923"/>
                  <a:pt x="3461" y="923"/>
                </a:cubicBezTo>
                <a:cubicBezTo>
                  <a:pt x="3700" y="923"/>
                  <a:pt x="3911" y="1044"/>
                  <a:pt x="4035" y="1229"/>
                </a:cubicBezTo>
                <a:close/>
                <a:moveTo>
                  <a:pt x="5768" y="3461"/>
                </a:moveTo>
                <a:cubicBezTo>
                  <a:pt x="5768" y="2386"/>
                  <a:pt x="5031" y="1484"/>
                  <a:pt x="4035" y="1229"/>
                </a:cubicBezTo>
                <a:cubicBezTo>
                  <a:pt x="4089" y="1309"/>
                  <a:pt x="4125" y="1402"/>
                  <a:pt x="4142" y="1501"/>
                </a:cubicBezTo>
                <a:cubicBezTo>
                  <a:pt x="4954" y="1783"/>
                  <a:pt x="5538" y="2553"/>
                  <a:pt x="5538" y="3461"/>
                </a:cubicBezTo>
                <a:cubicBezTo>
                  <a:pt x="5538" y="4608"/>
                  <a:pt x="4608" y="5538"/>
                  <a:pt x="3461" y="5538"/>
                </a:cubicBezTo>
                <a:cubicBezTo>
                  <a:pt x="2314" y="5538"/>
                  <a:pt x="1384" y="4608"/>
                  <a:pt x="1384" y="3461"/>
                </a:cubicBezTo>
                <a:cubicBezTo>
                  <a:pt x="1384" y="2553"/>
                  <a:pt x="1968" y="1783"/>
                  <a:pt x="2780" y="1501"/>
                </a:cubicBezTo>
                <a:cubicBezTo>
                  <a:pt x="2797" y="1402"/>
                  <a:pt x="2833" y="1309"/>
                  <a:pt x="2887" y="1229"/>
                </a:cubicBezTo>
                <a:cubicBezTo>
                  <a:pt x="1891" y="1484"/>
                  <a:pt x="1153" y="2386"/>
                  <a:pt x="1153" y="3461"/>
                </a:cubicBezTo>
                <a:cubicBezTo>
                  <a:pt x="1153" y="3932"/>
                  <a:pt x="1295" y="4369"/>
                  <a:pt x="1537" y="4734"/>
                </a:cubicBezTo>
                <a:cubicBezTo>
                  <a:pt x="1889" y="4753"/>
                  <a:pt x="2169" y="5033"/>
                  <a:pt x="2188" y="5385"/>
                </a:cubicBezTo>
                <a:cubicBezTo>
                  <a:pt x="2553" y="5627"/>
                  <a:pt x="2990" y="5769"/>
                  <a:pt x="3461" y="5769"/>
                </a:cubicBezTo>
                <a:cubicBezTo>
                  <a:pt x="4735" y="5769"/>
                  <a:pt x="5768" y="4736"/>
                  <a:pt x="5768" y="3461"/>
                </a:cubicBezTo>
                <a:close/>
                <a:moveTo>
                  <a:pt x="2780" y="1501"/>
                </a:moveTo>
                <a:cubicBezTo>
                  <a:pt x="1968" y="1783"/>
                  <a:pt x="1384" y="2553"/>
                  <a:pt x="1384" y="3461"/>
                </a:cubicBezTo>
                <a:cubicBezTo>
                  <a:pt x="1384" y="4608"/>
                  <a:pt x="2314" y="5538"/>
                  <a:pt x="3461" y="5538"/>
                </a:cubicBezTo>
                <a:cubicBezTo>
                  <a:pt x="4608" y="5538"/>
                  <a:pt x="5538" y="4608"/>
                  <a:pt x="5538" y="3461"/>
                </a:cubicBezTo>
                <a:cubicBezTo>
                  <a:pt x="5538" y="2553"/>
                  <a:pt x="4954" y="1783"/>
                  <a:pt x="4142" y="1501"/>
                </a:cubicBezTo>
                <a:moveTo>
                  <a:pt x="4140" y="1746"/>
                </a:moveTo>
                <a:cubicBezTo>
                  <a:pt x="4823" y="2017"/>
                  <a:pt x="5307" y="2682"/>
                  <a:pt x="5307" y="3461"/>
                </a:cubicBezTo>
                <a:cubicBezTo>
                  <a:pt x="5307" y="4481"/>
                  <a:pt x="4480" y="5307"/>
                  <a:pt x="3461" y="5307"/>
                </a:cubicBezTo>
                <a:cubicBezTo>
                  <a:pt x="2441" y="5307"/>
                  <a:pt x="1615" y="4481"/>
                  <a:pt x="1615" y="3461"/>
                </a:cubicBezTo>
                <a:cubicBezTo>
                  <a:pt x="1615" y="2682"/>
                  <a:pt x="2099" y="2017"/>
                  <a:pt x="2782" y="1746"/>
                </a:cubicBezTo>
                <a:moveTo>
                  <a:pt x="5076" y="3461"/>
                </a:moveTo>
                <a:cubicBezTo>
                  <a:pt x="5076" y="4353"/>
                  <a:pt x="4353" y="5077"/>
                  <a:pt x="3461" y="5077"/>
                </a:cubicBezTo>
                <a:cubicBezTo>
                  <a:pt x="2569" y="5077"/>
                  <a:pt x="1846" y="4353"/>
                  <a:pt x="1846" y="3461"/>
                </a:cubicBezTo>
                <a:cubicBezTo>
                  <a:pt x="1846" y="2780"/>
                  <a:pt x="2268" y="2199"/>
                  <a:pt x="2865" y="1961"/>
                </a:cubicBezTo>
                <a:cubicBezTo>
                  <a:pt x="2826" y="1895"/>
                  <a:pt x="2797" y="1823"/>
                  <a:pt x="2782" y="1746"/>
                </a:cubicBezTo>
                <a:cubicBezTo>
                  <a:pt x="2099" y="2017"/>
                  <a:pt x="1615" y="2682"/>
                  <a:pt x="1615" y="3461"/>
                </a:cubicBezTo>
                <a:cubicBezTo>
                  <a:pt x="1615" y="4481"/>
                  <a:pt x="2441" y="5307"/>
                  <a:pt x="3461" y="5307"/>
                </a:cubicBezTo>
                <a:cubicBezTo>
                  <a:pt x="4480" y="5307"/>
                  <a:pt x="5307" y="4481"/>
                  <a:pt x="5307" y="3461"/>
                </a:cubicBezTo>
                <a:cubicBezTo>
                  <a:pt x="5307" y="2682"/>
                  <a:pt x="4823" y="2017"/>
                  <a:pt x="4140" y="1746"/>
                </a:cubicBezTo>
                <a:cubicBezTo>
                  <a:pt x="4125" y="1823"/>
                  <a:pt x="4096" y="1895"/>
                  <a:pt x="4057" y="1961"/>
                </a:cubicBezTo>
                <a:cubicBezTo>
                  <a:pt x="4654" y="2199"/>
                  <a:pt x="5076" y="2780"/>
                  <a:pt x="5076" y="3461"/>
                </a:cubicBezTo>
                <a:close/>
                <a:moveTo>
                  <a:pt x="2865" y="1961"/>
                </a:moveTo>
                <a:cubicBezTo>
                  <a:pt x="2268" y="2199"/>
                  <a:pt x="1846" y="2780"/>
                  <a:pt x="1846" y="3461"/>
                </a:cubicBezTo>
                <a:cubicBezTo>
                  <a:pt x="1846" y="4353"/>
                  <a:pt x="2569" y="5077"/>
                  <a:pt x="3461" y="5077"/>
                </a:cubicBezTo>
                <a:cubicBezTo>
                  <a:pt x="4353" y="5077"/>
                  <a:pt x="5076" y="4353"/>
                  <a:pt x="5076" y="3461"/>
                </a:cubicBezTo>
                <a:cubicBezTo>
                  <a:pt x="5076" y="3728"/>
                  <a:pt x="4923" y="3958"/>
                  <a:pt x="4702" y="4073"/>
                </a:cubicBezTo>
                <a:cubicBezTo>
                  <a:pt x="4476" y="4530"/>
                  <a:pt x="4006" y="4846"/>
                  <a:pt x="3461" y="4846"/>
                </a:cubicBezTo>
                <a:cubicBezTo>
                  <a:pt x="2696" y="4846"/>
                  <a:pt x="2076" y="4226"/>
                  <a:pt x="2076" y="3461"/>
                </a:cubicBezTo>
                <a:cubicBezTo>
                  <a:pt x="2076" y="2849"/>
                  <a:pt x="2474" y="2331"/>
                  <a:pt x="3024" y="2148"/>
                </a:cubicBezTo>
                <a:moveTo>
                  <a:pt x="3898" y="2148"/>
                </a:moveTo>
                <a:cubicBezTo>
                  <a:pt x="4250" y="2265"/>
                  <a:pt x="4539" y="2520"/>
                  <a:pt x="4702" y="2850"/>
                </a:cubicBezTo>
                <a:cubicBezTo>
                  <a:pt x="4923" y="2965"/>
                  <a:pt x="5076" y="3194"/>
                  <a:pt x="5076" y="3461"/>
                </a:cubicBezTo>
                <a:cubicBezTo>
                  <a:pt x="5076" y="2780"/>
                  <a:pt x="4654" y="2199"/>
                  <a:pt x="4057" y="1961"/>
                </a:cubicBezTo>
                <a:moveTo>
                  <a:pt x="4702" y="2850"/>
                </a:moveTo>
                <a:cubicBezTo>
                  <a:pt x="4539" y="2520"/>
                  <a:pt x="4250" y="2265"/>
                  <a:pt x="3898" y="2148"/>
                </a:cubicBezTo>
                <a:cubicBezTo>
                  <a:pt x="3778" y="2246"/>
                  <a:pt x="3628" y="2308"/>
                  <a:pt x="3461" y="2308"/>
                </a:cubicBezTo>
                <a:cubicBezTo>
                  <a:pt x="3838" y="2308"/>
                  <a:pt x="4172" y="2489"/>
                  <a:pt x="4382" y="2769"/>
                </a:cubicBezTo>
                <a:cubicBezTo>
                  <a:pt x="4383" y="2769"/>
                  <a:pt x="4383" y="2769"/>
                  <a:pt x="4384" y="2769"/>
                </a:cubicBezTo>
                <a:moveTo>
                  <a:pt x="4384" y="4154"/>
                </a:moveTo>
                <a:cubicBezTo>
                  <a:pt x="4383" y="4154"/>
                  <a:pt x="4383" y="4153"/>
                  <a:pt x="4382" y="4153"/>
                </a:cubicBezTo>
                <a:cubicBezTo>
                  <a:pt x="4172" y="4433"/>
                  <a:pt x="3838" y="4615"/>
                  <a:pt x="3461" y="4615"/>
                </a:cubicBezTo>
                <a:cubicBezTo>
                  <a:pt x="2824" y="4615"/>
                  <a:pt x="2307" y="4098"/>
                  <a:pt x="2307" y="3461"/>
                </a:cubicBezTo>
                <a:cubicBezTo>
                  <a:pt x="2307" y="2824"/>
                  <a:pt x="2824" y="2308"/>
                  <a:pt x="3461" y="2308"/>
                </a:cubicBezTo>
                <a:cubicBezTo>
                  <a:pt x="3294" y="2308"/>
                  <a:pt x="3144" y="2246"/>
                  <a:pt x="3024" y="2148"/>
                </a:cubicBezTo>
                <a:cubicBezTo>
                  <a:pt x="2474" y="2331"/>
                  <a:pt x="2076" y="2849"/>
                  <a:pt x="2076" y="3461"/>
                </a:cubicBezTo>
                <a:cubicBezTo>
                  <a:pt x="2076" y="4226"/>
                  <a:pt x="2696" y="4846"/>
                  <a:pt x="3461" y="4846"/>
                </a:cubicBezTo>
                <a:cubicBezTo>
                  <a:pt x="4006" y="4846"/>
                  <a:pt x="4476" y="4530"/>
                  <a:pt x="4702" y="4073"/>
                </a:cubicBezTo>
                <a:moveTo>
                  <a:pt x="2307" y="3461"/>
                </a:moveTo>
                <a:cubicBezTo>
                  <a:pt x="2307" y="4098"/>
                  <a:pt x="2824" y="4615"/>
                  <a:pt x="3461" y="4615"/>
                </a:cubicBezTo>
                <a:cubicBezTo>
                  <a:pt x="3838" y="4615"/>
                  <a:pt x="4172" y="4433"/>
                  <a:pt x="4382" y="4153"/>
                </a:cubicBezTo>
                <a:cubicBezTo>
                  <a:pt x="4291" y="4153"/>
                  <a:pt x="4204" y="4135"/>
                  <a:pt x="4123" y="4102"/>
                </a:cubicBezTo>
                <a:cubicBezTo>
                  <a:pt x="3956" y="4275"/>
                  <a:pt x="3721" y="4384"/>
                  <a:pt x="3461" y="4384"/>
                </a:cubicBezTo>
                <a:cubicBezTo>
                  <a:pt x="2951" y="4384"/>
                  <a:pt x="2538" y="3971"/>
                  <a:pt x="2538" y="3461"/>
                </a:cubicBezTo>
                <a:cubicBezTo>
                  <a:pt x="2538" y="2952"/>
                  <a:pt x="2951" y="2538"/>
                  <a:pt x="3461" y="2538"/>
                </a:cubicBezTo>
                <a:cubicBezTo>
                  <a:pt x="3721" y="2538"/>
                  <a:pt x="3956" y="2647"/>
                  <a:pt x="4123" y="2821"/>
                </a:cubicBezTo>
                <a:cubicBezTo>
                  <a:pt x="4204" y="2788"/>
                  <a:pt x="4291" y="2769"/>
                  <a:pt x="4382" y="2769"/>
                </a:cubicBezTo>
                <a:cubicBezTo>
                  <a:pt x="4172" y="2489"/>
                  <a:pt x="3838" y="2308"/>
                  <a:pt x="3461" y="2308"/>
                </a:cubicBezTo>
                <a:cubicBezTo>
                  <a:pt x="2824" y="2308"/>
                  <a:pt x="2307" y="2824"/>
                  <a:pt x="2307" y="3461"/>
                </a:cubicBezTo>
                <a:close/>
                <a:moveTo>
                  <a:pt x="3692" y="3461"/>
                </a:moveTo>
                <a:cubicBezTo>
                  <a:pt x="3692" y="3171"/>
                  <a:pt x="3870" y="2924"/>
                  <a:pt x="4123" y="2821"/>
                </a:cubicBezTo>
                <a:cubicBezTo>
                  <a:pt x="3956" y="2647"/>
                  <a:pt x="3721" y="2538"/>
                  <a:pt x="3461" y="2538"/>
                </a:cubicBezTo>
                <a:cubicBezTo>
                  <a:pt x="2951" y="2538"/>
                  <a:pt x="2538" y="2952"/>
                  <a:pt x="2538" y="3461"/>
                </a:cubicBezTo>
                <a:cubicBezTo>
                  <a:pt x="2538" y="3971"/>
                  <a:pt x="2951" y="4384"/>
                  <a:pt x="3461" y="4384"/>
                </a:cubicBezTo>
                <a:cubicBezTo>
                  <a:pt x="3721" y="4384"/>
                  <a:pt x="3956" y="4275"/>
                  <a:pt x="4123" y="4102"/>
                </a:cubicBezTo>
                <a:cubicBezTo>
                  <a:pt x="3870" y="3999"/>
                  <a:pt x="3692" y="3751"/>
                  <a:pt x="3692" y="3461"/>
                </a:cubicBezTo>
                <a:close/>
                <a:moveTo>
                  <a:pt x="3882" y="1427"/>
                </a:moveTo>
                <a:cubicBezTo>
                  <a:pt x="3810" y="1266"/>
                  <a:pt x="3649" y="1154"/>
                  <a:pt x="3461" y="1154"/>
                </a:cubicBezTo>
                <a:cubicBezTo>
                  <a:pt x="3273" y="1154"/>
                  <a:pt x="3112" y="1266"/>
                  <a:pt x="3040" y="1427"/>
                </a:cubicBezTo>
                <a:moveTo>
                  <a:pt x="3233" y="1631"/>
                </a:moveTo>
                <a:cubicBezTo>
                  <a:pt x="3233" y="1625"/>
                  <a:pt x="3230" y="1621"/>
                  <a:pt x="3230" y="1615"/>
                </a:cubicBezTo>
                <a:cubicBezTo>
                  <a:pt x="3230" y="1488"/>
                  <a:pt x="3333" y="1385"/>
                  <a:pt x="3461" y="1385"/>
                </a:cubicBezTo>
                <a:moveTo>
                  <a:pt x="3040" y="1427"/>
                </a:moveTo>
                <a:cubicBezTo>
                  <a:pt x="3014" y="1485"/>
                  <a:pt x="2999" y="1548"/>
                  <a:pt x="2999" y="1615"/>
                </a:cubicBezTo>
                <a:cubicBezTo>
                  <a:pt x="2999" y="1635"/>
                  <a:pt x="3003" y="1655"/>
                  <a:pt x="3005" y="1674"/>
                </a:cubicBezTo>
                <a:moveTo>
                  <a:pt x="3916" y="1674"/>
                </a:moveTo>
                <a:cubicBezTo>
                  <a:pt x="3919" y="1655"/>
                  <a:pt x="3922" y="1635"/>
                  <a:pt x="3922" y="1615"/>
                </a:cubicBezTo>
                <a:cubicBezTo>
                  <a:pt x="3922" y="1548"/>
                  <a:pt x="3907" y="1485"/>
                  <a:pt x="3882" y="1427"/>
                </a:cubicBezTo>
                <a:moveTo>
                  <a:pt x="3461" y="1385"/>
                </a:moveTo>
                <a:cubicBezTo>
                  <a:pt x="3588" y="1385"/>
                  <a:pt x="3692" y="1488"/>
                  <a:pt x="3692" y="1615"/>
                </a:cubicBezTo>
                <a:cubicBezTo>
                  <a:pt x="3692" y="1621"/>
                  <a:pt x="3689" y="1625"/>
                  <a:pt x="3689" y="1631"/>
                </a:cubicBezTo>
                <a:moveTo>
                  <a:pt x="3005" y="1674"/>
                </a:moveTo>
                <a:cubicBezTo>
                  <a:pt x="3016" y="1755"/>
                  <a:pt x="3046" y="1828"/>
                  <a:pt x="3092" y="1890"/>
                </a:cubicBezTo>
                <a:moveTo>
                  <a:pt x="3461" y="1846"/>
                </a:moveTo>
                <a:cubicBezTo>
                  <a:pt x="3339" y="1846"/>
                  <a:pt x="3242" y="1751"/>
                  <a:pt x="3233" y="1631"/>
                </a:cubicBezTo>
                <a:moveTo>
                  <a:pt x="3830" y="1890"/>
                </a:moveTo>
                <a:cubicBezTo>
                  <a:pt x="3876" y="1828"/>
                  <a:pt x="3906" y="1755"/>
                  <a:pt x="3916" y="1674"/>
                </a:cubicBezTo>
                <a:moveTo>
                  <a:pt x="3689" y="1631"/>
                </a:moveTo>
                <a:cubicBezTo>
                  <a:pt x="3680" y="1751"/>
                  <a:pt x="3583" y="1846"/>
                  <a:pt x="3461" y="1846"/>
                </a:cubicBezTo>
                <a:moveTo>
                  <a:pt x="3092" y="1890"/>
                </a:moveTo>
                <a:cubicBezTo>
                  <a:pt x="3176" y="2003"/>
                  <a:pt x="3309" y="2077"/>
                  <a:pt x="3461" y="2077"/>
                </a:cubicBezTo>
                <a:cubicBezTo>
                  <a:pt x="3612" y="2077"/>
                  <a:pt x="3746" y="2003"/>
                  <a:pt x="3830" y="1890"/>
                </a:cubicBezTo>
                <a:moveTo>
                  <a:pt x="4702" y="4073"/>
                </a:moveTo>
                <a:cubicBezTo>
                  <a:pt x="4923" y="3958"/>
                  <a:pt x="5076" y="3728"/>
                  <a:pt x="5076" y="3461"/>
                </a:cubicBezTo>
                <a:cubicBezTo>
                  <a:pt x="5076" y="3194"/>
                  <a:pt x="4923" y="2965"/>
                  <a:pt x="4702" y="2850"/>
                </a:cubicBezTo>
                <a:moveTo>
                  <a:pt x="4529" y="3025"/>
                </a:moveTo>
                <a:cubicBezTo>
                  <a:pt x="4712" y="3086"/>
                  <a:pt x="4845" y="3257"/>
                  <a:pt x="4845" y="3461"/>
                </a:cubicBezTo>
                <a:moveTo>
                  <a:pt x="4529" y="3897"/>
                </a:moveTo>
                <a:cubicBezTo>
                  <a:pt x="4712" y="3836"/>
                  <a:pt x="4845" y="3665"/>
                  <a:pt x="4845" y="3461"/>
                </a:cubicBezTo>
                <a:cubicBezTo>
                  <a:pt x="4845" y="3257"/>
                  <a:pt x="4712" y="3086"/>
                  <a:pt x="4529" y="3025"/>
                </a:cubicBezTo>
                <a:moveTo>
                  <a:pt x="4615" y="3461"/>
                </a:moveTo>
                <a:cubicBezTo>
                  <a:pt x="4615" y="3589"/>
                  <a:pt x="4511" y="3692"/>
                  <a:pt x="4384" y="3692"/>
                </a:cubicBezTo>
                <a:cubicBezTo>
                  <a:pt x="4373" y="3692"/>
                  <a:pt x="4364" y="3687"/>
                  <a:pt x="4353" y="3686"/>
                </a:cubicBezTo>
                <a:moveTo>
                  <a:pt x="4265" y="3905"/>
                </a:moveTo>
                <a:cubicBezTo>
                  <a:pt x="4303" y="3916"/>
                  <a:pt x="4343" y="3923"/>
                  <a:pt x="4384" y="3923"/>
                </a:cubicBezTo>
                <a:cubicBezTo>
                  <a:pt x="4435" y="3923"/>
                  <a:pt x="4483" y="3913"/>
                  <a:pt x="4529" y="3897"/>
                </a:cubicBezTo>
                <a:moveTo>
                  <a:pt x="4529" y="3025"/>
                </a:moveTo>
                <a:cubicBezTo>
                  <a:pt x="4483" y="3010"/>
                  <a:pt x="4435" y="3000"/>
                  <a:pt x="4384" y="3000"/>
                </a:cubicBezTo>
                <a:cubicBezTo>
                  <a:pt x="4343" y="3000"/>
                  <a:pt x="4303" y="3007"/>
                  <a:pt x="4265" y="3017"/>
                </a:cubicBezTo>
                <a:moveTo>
                  <a:pt x="4353" y="3237"/>
                </a:moveTo>
                <a:cubicBezTo>
                  <a:pt x="4364" y="3235"/>
                  <a:pt x="4373" y="3231"/>
                  <a:pt x="4384" y="3231"/>
                </a:cubicBezTo>
                <a:cubicBezTo>
                  <a:pt x="4511" y="3231"/>
                  <a:pt x="4615" y="3334"/>
                  <a:pt x="4615" y="3461"/>
                </a:cubicBezTo>
                <a:moveTo>
                  <a:pt x="4353" y="3686"/>
                </a:moveTo>
                <a:cubicBezTo>
                  <a:pt x="4241" y="3670"/>
                  <a:pt x="4153" y="3578"/>
                  <a:pt x="4153" y="3461"/>
                </a:cubicBezTo>
                <a:cubicBezTo>
                  <a:pt x="4153" y="3345"/>
                  <a:pt x="4241" y="3252"/>
                  <a:pt x="4353" y="3237"/>
                </a:cubicBezTo>
                <a:moveTo>
                  <a:pt x="4265" y="3017"/>
                </a:moveTo>
                <a:cubicBezTo>
                  <a:pt x="4068" y="3070"/>
                  <a:pt x="3922" y="3248"/>
                  <a:pt x="3922" y="3461"/>
                </a:cubicBezTo>
                <a:cubicBezTo>
                  <a:pt x="3922" y="3675"/>
                  <a:pt x="4068" y="3853"/>
                  <a:pt x="4265" y="3905"/>
                </a:cubicBezTo>
                <a:moveTo>
                  <a:pt x="946" y="5835"/>
                </a:moveTo>
                <a:cubicBezTo>
                  <a:pt x="986" y="5888"/>
                  <a:pt x="1034" y="5936"/>
                  <a:pt x="1088" y="5976"/>
                </a:cubicBezTo>
                <a:cubicBezTo>
                  <a:pt x="1039" y="5930"/>
                  <a:pt x="992" y="5883"/>
                  <a:pt x="946" y="5835"/>
                </a:cubicBezTo>
                <a:close/>
                <a:moveTo>
                  <a:pt x="1116" y="5679"/>
                </a:moveTo>
                <a:cubicBezTo>
                  <a:pt x="1138" y="5712"/>
                  <a:pt x="1164" y="5742"/>
                  <a:pt x="1194" y="5768"/>
                </a:cubicBezTo>
                <a:cubicBezTo>
                  <a:pt x="1210" y="5782"/>
                  <a:pt x="1226" y="5795"/>
                  <a:pt x="1244" y="5806"/>
                </a:cubicBezTo>
                <a:moveTo>
                  <a:pt x="1364" y="5604"/>
                </a:moveTo>
                <a:cubicBezTo>
                  <a:pt x="1346" y="5591"/>
                  <a:pt x="1331" y="5576"/>
                  <a:pt x="1318" y="5558"/>
                </a:cubicBezTo>
                <a:moveTo>
                  <a:pt x="1244" y="5806"/>
                </a:moveTo>
                <a:cubicBezTo>
                  <a:pt x="1317" y="5855"/>
                  <a:pt x="1405" y="5884"/>
                  <a:pt x="1500" y="5884"/>
                </a:cubicBezTo>
                <a:cubicBezTo>
                  <a:pt x="1555" y="5884"/>
                  <a:pt x="1608" y="5873"/>
                  <a:pt x="1658" y="5855"/>
                </a:cubicBezTo>
                <a:moveTo>
                  <a:pt x="1068" y="5264"/>
                </a:moveTo>
                <a:cubicBezTo>
                  <a:pt x="1049" y="5314"/>
                  <a:pt x="1038" y="5367"/>
                  <a:pt x="1038" y="5423"/>
                </a:cubicBezTo>
                <a:cubicBezTo>
                  <a:pt x="1038" y="5517"/>
                  <a:pt x="1067" y="5605"/>
                  <a:pt x="1116" y="5679"/>
                </a:cubicBezTo>
                <a:moveTo>
                  <a:pt x="1318" y="5558"/>
                </a:moveTo>
                <a:cubicBezTo>
                  <a:pt x="1289" y="5520"/>
                  <a:pt x="1269" y="5474"/>
                  <a:pt x="1269" y="5423"/>
                </a:cubicBezTo>
                <a:cubicBezTo>
                  <a:pt x="1269" y="5353"/>
                  <a:pt x="1301" y="5293"/>
                  <a:pt x="1350" y="5251"/>
                </a:cubicBezTo>
                <a:moveTo>
                  <a:pt x="1208" y="5067"/>
                </a:moveTo>
                <a:cubicBezTo>
                  <a:pt x="1145" y="5119"/>
                  <a:pt x="1096" y="5186"/>
                  <a:pt x="1068" y="5264"/>
                </a:cubicBezTo>
                <a:moveTo>
                  <a:pt x="1658" y="5855"/>
                </a:moveTo>
                <a:cubicBezTo>
                  <a:pt x="1736" y="5826"/>
                  <a:pt x="1803" y="5777"/>
                  <a:pt x="1855" y="5714"/>
                </a:cubicBezTo>
                <a:moveTo>
                  <a:pt x="1672" y="5573"/>
                </a:moveTo>
                <a:cubicBezTo>
                  <a:pt x="1629" y="5621"/>
                  <a:pt x="1569" y="5653"/>
                  <a:pt x="1500" y="5653"/>
                </a:cubicBezTo>
                <a:cubicBezTo>
                  <a:pt x="1448" y="5653"/>
                  <a:pt x="1402" y="5633"/>
                  <a:pt x="1364" y="5604"/>
                </a:cubicBezTo>
                <a:moveTo>
                  <a:pt x="1422" y="4969"/>
                </a:moveTo>
                <a:cubicBezTo>
                  <a:pt x="1342" y="4983"/>
                  <a:pt x="1269" y="5018"/>
                  <a:pt x="1208" y="5067"/>
                </a:cubicBezTo>
                <a:moveTo>
                  <a:pt x="1855" y="5714"/>
                </a:moveTo>
                <a:cubicBezTo>
                  <a:pt x="1905" y="5653"/>
                  <a:pt x="1940" y="5581"/>
                  <a:pt x="1953" y="5500"/>
                </a:cubicBezTo>
                <a:moveTo>
                  <a:pt x="1350" y="5251"/>
                </a:moveTo>
                <a:cubicBezTo>
                  <a:pt x="1390" y="5215"/>
                  <a:pt x="1442" y="5192"/>
                  <a:pt x="1500" y="5192"/>
                </a:cubicBezTo>
                <a:cubicBezTo>
                  <a:pt x="1627" y="5192"/>
                  <a:pt x="1730" y="5295"/>
                  <a:pt x="1730" y="5423"/>
                </a:cubicBezTo>
                <a:cubicBezTo>
                  <a:pt x="1730" y="5481"/>
                  <a:pt x="1707" y="5532"/>
                  <a:pt x="1672" y="5573"/>
                </a:cubicBezTo>
                <a:moveTo>
                  <a:pt x="1953" y="5500"/>
                </a:moveTo>
                <a:cubicBezTo>
                  <a:pt x="1958" y="5475"/>
                  <a:pt x="1961" y="5449"/>
                  <a:pt x="1961" y="5423"/>
                </a:cubicBezTo>
                <a:cubicBezTo>
                  <a:pt x="1961" y="5168"/>
                  <a:pt x="1754" y="4961"/>
                  <a:pt x="1500" y="4961"/>
                </a:cubicBezTo>
                <a:cubicBezTo>
                  <a:pt x="1473" y="4961"/>
                  <a:pt x="1448" y="4965"/>
                  <a:pt x="1422" y="4969"/>
                </a:cubicBezTo>
                <a:moveTo>
                  <a:pt x="1318" y="5558"/>
                </a:moveTo>
                <a:cubicBezTo>
                  <a:pt x="1331" y="5576"/>
                  <a:pt x="1346" y="5591"/>
                  <a:pt x="1364" y="5604"/>
                </a:cubicBezTo>
                <a:cubicBezTo>
                  <a:pt x="1348" y="5589"/>
                  <a:pt x="1333" y="5574"/>
                  <a:pt x="1318" y="5558"/>
                </a:cubicBezTo>
                <a:close/>
                <a:moveTo>
                  <a:pt x="1350" y="5251"/>
                </a:moveTo>
                <a:cubicBezTo>
                  <a:pt x="1301" y="5293"/>
                  <a:pt x="1269" y="5353"/>
                  <a:pt x="1269" y="5423"/>
                </a:cubicBezTo>
                <a:cubicBezTo>
                  <a:pt x="1269" y="5474"/>
                  <a:pt x="1289" y="5520"/>
                  <a:pt x="1318" y="5558"/>
                </a:cubicBezTo>
                <a:cubicBezTo>
                  <a:pt x="1333" y="5574"/>
                  <a:pt x="1348" y="5589"/>
                  <a:pt x="1364" y="5604"/>
                </a:cubicBezTo>
                <a:cubicBezTo>
                  <a:pt x="1402" y="5633"/>
                  <a:pt x="1448" y="5653"/>
                  <a:pt x="1500" y="5653"/>
                </a:cubicBezTo>
                <a:cubicBezTo>
                  <a:pt x="1569" y="5653"/>
                  <a:pt x="1629" y="5621"/>
                  <a:pt x="1672" y="5573"/>
                </a:cubicBezTo>
                <a:moveTo>
                  <a:pt x="1672" y="5573"/>
                </a:moveTo>
                <a:cubicBezTo>
                  <a:pt x="1707" y="5532"/>
                  <a:pt x="1730" y="5481"/>
                  <a:pt x="1730" y="5423"/>
                </a:cubicBezTo>
                <a:cubicBezTo>
                  <a:pt x="1730" y="5295"/>
                  <a:pt x="1627" y="5192"/>
                  <a:pt x="1500" y="5192"/>
                </a:cubicBezTo>
                <a:cubicBezTo>
                  <a:pt x="1442" y="5192"/>
                  <a:pt x="1390" y="5215"/>
                  <a:pt x="1350" y="5251"/>
                </a:cubicBezTo>
              </a:path>
            </a:pathLst>
          </a:custGeom>
          <a:noFill/>
          <a:ln w="14288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872100"/>
            <a:ext cx="5918400" cy="1671300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9300" y="2705400"/>
            <a:ext cx="2270700" cy="12015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BA3E1730-D7D7-43C1-BF35-CA6D63FB1F43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hidden">
          <a:xfrm>
            <a:off x="238231" y="227982"/>
            <a:ext cx="463159" cy="390254"/>
            <a:chOff x="4455" y="391"/>
            <a:chExt cx="1188" cy="1001"/>
          </a:xfrm>
          <a:solidFill>
            <a:srgbClr val="FFFFFF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600194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1">
    <p:bg>
      <p:bgPr>
        <a:solidFill>
          <a:srgbClr val="F3E0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 5"/>
          <p:cNvSpPr>
            <a:spLocks noEditPoints="1"/>
          </p:cNvSpPr>
          <p:nvPr/>
        </p:nvSpPr>
        <p:spPr bwMode="auto">
          <a:xfrm>
            <a:off x="4999039" y="-325438"/>
            <a:ext cx="4473575" cy="4468813"/>
          </a:xfrm>
          <a:custGeom>
            <a:avLst/>
            <a:gdLst>
              <a:gd name="T0" fmla="*/ 807 w 6922"/>
              <a:gd name="T1" fmla="*/ 5423 h 6923"/>
              <a:gd name="T2" fmla="*/ 6691 w 6922"/>
              <a:gd name="T3" fmla="*/ 3461 h 6923"/>
              <a:gd name="T4" fmla="*/ 1088 w 6922"/>
              <a:gd name="T5" fmla="*/ 5976 h 6923"/>
              <a:gd name="T6" fmla="*/ 919 w 6922"/>
              <a:gd name="T7" fmla="*/ 5048 h 6923"/>
              <a:gd name="T8" fmla="*/ 3461 w 6922"/>
              <a:gd name="T9" fmla="*/ 6461 h 6923"/>
              <a:gd name="T10" fmla="*/ 6691 w 6922"/>
              <a:gd name="T11" fmla="*/ 3461 h 6923"/>
              <a:gd name="T12" fmla="*/ 1082 w 6922"/>
              <a:gd name="T13" fmla="*/ 4874 h 6923"/>
              <a:gd name="T14" fmla="*/ 3461 w 6922"/>
              <a:gd name="T15" fmla="*/ 6230 h 6923"/>
              <a:gd name="T16" fmla="*/ 6461 w 6922"/>
              <a:gd name="T17" fmla="*/ 3461 h 6923"/>
              <a:gd name="T18" fmla="*/ 1082 w 6922"/>
              <a:gd name="T19" fmla="*/ 4874 h 6923"/>
              <a:gd name="T20" fmla="*/ 3461 w 6922"/>
              <a:gd name="T21" fmla="*/ 692 h 6923"/>
              <a:gd name="T22" fmla="*/ 923 w 6922"/>
              <a:gd name="T23" fmla="*/ 3461 h 6923"/>
              <a:gd name="T24" fmla="*/ 2155 w 6922"/>
              <a:gd name="T25" fmla="*/ 5635 h 6923"/>
              <a:gd name="T26" fmla="*/ 3461 w 6922"/>
              <a:gd name="T27" fmla="*/ 923 h 6923"/>
              <a:gd name="T28" fmla="*/ 1537 w 6922"/>
              <a:gd name="T29" fmla="*/ 4734 h 6923"/>
              <a:gd name="T30" fmla="*/ 2188 w 6922"/>
              <a:gd name="T31" fmla="*/ 5385 h 6923"/>
              <a:gd name="T32" fmla="*/ 5999 w 6922"/>
              <a:gd name="T33" fmla="*/ 3461 h 6923"/>
              <a:gd name="T34" fmla="*/ 4035 w 6922"/>
              <a:gd name="T35" fmla="*/ 1229 h 6923"/>
              <a:gd name="T36" fmla="*/ 1384 w 6922"/>
              <a:gd name="T37" fmla="*/ 3461 h 6923"/>
              <a:gd name="T38" fmla="*/ 1537 w 6922"/>
              <a:gd name="T39" fmla="*/ 4734 h 6923"/>
              <a:gd name="T40" fmla="*/ 2780 w 6922"/>
              <a:gd name="T41" fmla="*/ 1501 h 6923"/>
              <a:gd name="T42" fmla="*/ 4142 w 6922"/>
              <a:gd name="T43" fmla="*/ 1501 h 6923"/>
              <a:gd name="T44" fmla="*/ 1615 w 6922"/>
              <a:gd name="T45" fmla="*/ 3461 h 6923"/>
              <a:gd name="T46" fmla="*/ 1846 w 6922"/>
              <a:gd name="T47" fmla="*/ 3461 h 6923"/>
              <a:gd name="T48" fmla="*/ 3461 w 6922"/>
              <a:gd name="T49" fmla="*/ 5307 h 6923"/>
              <a:gd name="T50" fmla="*/ 5076 w 6922"/>
              <a:gd name="T51" fmla="*/ 3461 h 6923"/>
              <a:gd name="T52" fmla="*/ 5076 w 6922"/>
              <a:gd name="T53" fmla="*/ 3461 h 6923"/>
              <a:gd name="T54" fmla="*/ 3024 w 6922"/>
              <a:gd name="T55" fmla="*/ 2148 h 6923"/>
              <a:gd name="T56" fmla="*/ 4057 w 6922"/>
              <a:gd name="T57" fmla="*/ 1961 h 6923"/>
              <a:gd name="T58" fmla="*/ 4382 w 6922"/>
              <a:gd name="T59" fmla="*/ 2769 h 6923"/>
              <a:gd name="T60" fmla="*/ 3461 w 6922"/>
              <a:gd name="T61" fmla="*/ 4615 h 6923"/>
              <a:gd name="T62" fmla="*/ 2076 w 6922"/>
              <a:gd name="T63" fmla="*/ 3461 h 6923"/>
              <a:gd name="T64" fmla="*/ 3461 w 6922"/>
              <a:gd name="T65" fmla="*/ 4615 h 6923"/>
              <a:gd name="T66" fmla="*/ 2538 w 6922"/>
              <a:gd name="T67" fmla="*/ 3461 h 6923"/>
              <a:gd name="T68" fmla="*/ 3461 w 6922"/>
              <a:gd name="T69" fmla="*/ 2308 h 6923"/>
              <a:gd name="T70" fmla="*/ 3461 w 6922"/>
              <a:gd name="T71" fmla="*/ 2538 h 6923"/>
              <a:gd name="T72" fmla="*/ 3692 w 6922"/>
              <a:gd name="T73" fmla="*/ 3461 h 6923"/>
              <a:gd name="T74" fmla="*/ 3233 w 6922"/>
              <a:gd name="T75" fmla="*/ 1631 h 6923"/>
              <a:gd name="T76" fmla="*/ 2999 w 6922"/>
              <a:gd name="T77" fmla="*/ 1615 h 6923"/>
              <a:gd name="T78" fmla="*/ 3882 w 6922"/>
              <a:gd name="T79" fmla="*/ 1427 h 6923"/>
              <a:gd name="T80" fmla="*/ 3005 w 6922"/>
              <a:gd name="T81" fmla="*/ 1674 h 6923"/>
              <a:gd name="T82" fmla="*/ 3830 w 6922"/>
              <a:gd name="T83" fmla="*/ 1890 h 6923"/>
              <a:gd name="T84" fmla="*/ 3092 w 6922"/>
              <a:gd name="T85" fmla="*/ 1890 h 6923"/>
              <a:gd name="T86" fmla="*/ 5076 w 6922"/>
              <a:gd name="T87" fmla="*/ 3461 h 6923"/>
              <a:gd name="T88" fmla="*/ 4529 w 6922"/>
              <a:gd name="T89" fmla="*/ 3897 h 6923"/>
              <a:gd name="T90" fmla="*/ 4384 w 6922"/>
              <a:gd name="T91" fmla="*/ 3692 h 6923"/>
              <a:gd name="T92" fmla="*/ 4529 w 6922"/>
              <a:gd name="T93" fmla="*/ 3897 h 6923"/>
              <a:gd name="T94" fmla="*/ 4353 w 6922"/>
              <a:gd name="T95" fmla="*/ 3237 h 6923"/>
              <a:gd name="T96" fmla="*/ 4153 w 6922"/>
              <a:gd name="T97" fmla="*/ 3461 h 6923"/>
              <a:gd name="T98" fmla="*/ 4265 w 6922"/>
              <a:gd name="T99" fmla="*/ 3905 h 6923"/>
              <a:gd name="T100" fmla="*/ 1116 w 6922"/>
              <a:gd name="T101" fmla="*/ 5679 h 6923"/>
              <a:gd name="T102" fmla="*/ 1318 w 6922"/>
              <a:gd name="T103" fmla="*/ 5558 h 6923"/>
              <a:gd name="T104" fmla="*/ 1068 w 6922"/>
              <a:gd name="T105" fmla="*/ 5264 h 6923"/>
              <a:gd name="T106" fmla="*/ 1269 w 6922"/>
              <a:gd name="T107" fmla="*/ 5423 h 6923"/>
              <a:gd name="T108" fmla="*/ 1658 w 6922"/>
              <a:gd name="T109" fmla="*/ 5855 h 6923"/>
              <a:gd name="T110" fmla="*/ 1364 w 6922"/>
              <a:gd name="T111" fmla="*/ 5604 h 6923"/>
              <a:gd name="T112" fmla="*/ 1953 w 6922"/>
              <a:gd name="T113" fmla="*/ 5500 h 6923"/>
              <a:gd name="T114" fmla="*/ 1672 w 6922"/>
              <a:gd name="T115" fmla="*/ 5573 h 6923"/>
              <a:gd name="T116" fmla="*/ 1422 w 6922"/>
              <a:gd name="T117" fmla="*/ 4969 h 6923"/>
              <a:gd name="T118" fmla="*/ 1350 w 6922"/>
              <a:gd name="T119" fmla="*/ 5251 h 6923"/>
              <a:gd name="T120" fmla="*/ 1500 w 6922"/>
              <a:gd name="T121" fmla="*/ 5653 h 6923"/>
              <a:gd name="T122" fmla="*/ 1500 w 6922"/>
              <a:gd name="T123" fmla="*/ 5192 h 6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22" h="6923">
                <a:moveTo>
                  <a:pt x="3461" y="0"/>
                </a:moveTo>
                <a:cubicBezTo>
                  <a:pt x="1549" y="0"/>
                  <a:pt x="0" y="1550"/>
                  <a:pt x="0" y="3461"/>
                </a:cubicBezTo>
                <a:cubicBezTo>
                  <a:pt x="0" y="4381"/>
                  <a:pt x="361" y="5215"/>
                  <a:pt x="946" y="5835"/>
                </a:cubicBezTo>
                <a:cubicBezTo>
                  <a:pt x="860" y="5719"/>
                  <a:pt x="807" y="5578"/>
                  <a:pt x="807" y="5423"/>
                </a:cubicBezTo>
                <a:cubicBezTo>
                  <a:pt x="807" y="5386"/>
                  <a:pt x="813" y="5351"/>
                  <a:pt x="818" y="5316"/>
                </a:cubicBezTo>
                <a:cubicBezTo>
                  <a:pt x="449" y="4790"/>
                  <a:pt x="230" y="4152"/>
                  <a:pt x="230" y="3461"/>
                </a:cubicBezTo>
                <a:cubicBezTo>
                  <a:pt x="230" y="1677"/>
                  <a:pt x="1677" y="231"/>
                  <a:pt x="3461" y="231"/>
                </a:cubicBezTo>
                <a:cubicBezTo>
                  <a:pt x="5245" y="231"/>
                  <a:pt x="6691" y="1677"/>
                  <a:pt x="6691" y="3461"/>
                </a:cubicBezTo>
                <a:cubicBezTo>
                  <a:pt x="6691" y="5245"/>
                  <a:pt x="5245" y="6692"/>
                  <a:pt x="3461" y="6692"/>
                </a:cubicBezTo>
                <a:cubicBezTo>
                  <a:pt x="2770" y="6692"/>
                  <a:pt x="2132" y="6473"/>
                  <a:pt x="1607" y="6104"/>
                </a:cubicBezTo>
                <a:cubicBezTo>
                  <a:pt x="1571" y="6110"/>
                  <a:pt x="1536" y="6115"/>
                  <a:pt x="1500" y="6115"/>
                </a:cubicBezTo>
                <a:cubicBezTo>
                  <a:pt x="1345" y="6115"/>
                  <a:pt x="1203" y="6062"/>
                  <a:pt x="1088" y="5976"/>
                </a:cubicBezTo>
                <a:cubicBezTo>
                  <a:pt x="1707" y="6561"/>
                  <a:pt x="2541" y="6923"/>
                  <a:pt x="3461" y="6923"/>
                </a:cubicBezTo>
                <a:cubicBezTo>
                  <a:pt x="5373" y="6923"/>
                  <a:pt x="6922" y="5373"/>
                  <a:pt x="6922" y="3461"/>
                </a:cubicBezTo>
                <a:cubicBezTo>
                  <a:pt x="6922" y="1550"/>
                  <a:pt x="5373" y="0"/>
                  <a:pt x="3461" y="0"/>
                </a:cubicBezTo>
                <a:close/>
                <a:moveTo>
                  <a:pt x="919" y="5048"/>
                </a:moveTo>
                <a:cubicBezTo>
                  <a:pt x="630" y="4588"/>
                  <a:pt x="461" y="4045"/>
                  <a:pt x="461" y="3461"/>
                </a:cubicBezTo>
                <a:cubicBezTo>
                  <a:pt x="461" y="1805"/>
                  <a:pt x="1804" y="462"/>
                  <a:pt x="3461" y="462"/>
                </a:cubicBezTo>
                <a:cubicBezTo>
                  <a:pt x="5118" y="462"/>
                  <a:pt x="6461" y="1805"/>
                  <a:pt x="6461" y="3461"/>
                </a:cubicBezTo>
                <a:cubicBezTo>
                  <a:pt x="6461" y="5118"/>
                  <a:pt x="5118" y="6461"/>
                  <a:pt x="3461" y="6461"/>
                </a:cubicBezTo>
                <a:cubicBezTo>
                  <a:pt x="2877" y="6461"/>
                  <a:pt x="2335" y="6292"/>
                  <a:pt x="1874" y="6004"/>
                </a:cubicBezTo>
                <a:moveTo>
                  <a:pt x="1607" y="6104"/>
                </a:moveTo>
                <a:cubicBezTo>
                  <a:pt x="2132" y="6473"/>
                  <a:pt x="2770" y="6692"/>
                  <a:pt x="3461" y="6692"/>
                </a:cubicBezTo>
                <a:cubicBezTo>
                  <a:pt x="5245" y="6692"/>
                  <a:pt x="6691" y="5245"/>
                  <a:pt x="6691" y="3461"/>
                </a:cubicBezTo>
                <a:cubicBezTo>
                  <a:pt x="6691" y="1677"/>
                  <a:pt x="5245" y="231"/>
                  <a:pt x="3461" y="231"/>
                </a:cubicBezTo>
                <a:cubicBezTo>
                  <a:pt x="1677" y="231"/>
                  <a:pt x="230" y="1677"/>
                  <a:pt x="230" y="3461"/>
                </a:cubicBezTo>
                <a:cubicBezTo>
                  <a:pt x="230" y="4152"/>
                  <a:pt x="449" y="4790"/>
                  <a:pt x="818" y="5316"/>
                </a:cubicBezTo>
                <a:moveTo>
                  <a:pt x="1082" y="4874"/>
                </a:moveTo>
                <a:cubicBezTo>
                  <a:pt x="836" y="4460"/>
                  <a:pt x="692" y="3978"/>
                  <a:pt x="692" y="3461"/>
                </a:cubicBezTo>
                <a:cubicBezTo>
                  <a:pt x="692" y="1932"/>
                  <a:pt x="1932" y="692"/>
                  <a:pt x="3461" y="692"/>
                </a:cubicBezTo>
                <a:cubicBezTo>
                  <a:pt x="4990" y="692"/>
                  <a:pt x="6230" y="1932"/>
                  <a:pt x="6230" y="3461"/>
                </a:cubicBezTo>
                <a:cubicBezTo>
                  <a:pt x="6230" y="4991"/>
                  <a:pt x="4990" y="6230"/>
                  <a:pt x="3461" y="6230"/>
                </a:cubicBezTo>
                <a:cubicBezTo>
                  <a:pt x="2944" y="6230"/>
                  <a:pt x="2462" y="6086"/>
                  <a:pt x="2049" y="5840"/>
                </a:cubicBezTo>
                <a:cubicBezTo>
                  <a:pt x="2000" y="5904"/>
                  <a:pt x="1942" y="5960"/>
                  <a:pt x="1874" y="6004"/>
                </a:cubicBezTo>
                <a:cubicBezTo>
                  <a:pt x="2335" y="6292"/>
                  <a:pt x="2877" y="6461"/>
                  <a:pt x="3461" y="6461"/>
                </a:cubicBezTo>
                <a:cubicBezTo>
                  <a:pt x="5118" y="6461"/>
                  <a:pt x="6461" y="5118"/>
                  <a:pt x="6461" y="3461"/>
                </a:cubicBezTo>
                <a:cubicBezTo>
                  <a:pt x="6461" y="1805"/>
                  <a:pt x="5118" y="462"/>
                  <a:pt x="3461" y="462"/>
                </a:cubicBezTo>
                <a:cubicBezTo>
                  <a:pt x="1804" y="462"/>
                  <a:pt x="461" y="1805"/>
                  <a:pt x="461" y="3461"/>
                </a:cubicBezTo>
                <a:cubicBezTo>
                  <a:pt x="461" y="4045"/>
                  <a:pt x="630" y="4588"/>
                  <a:pt x="919" y="5048"/>
                </a:cubicBezTo>
                <a:cubicBezTo>
                  <a:pt x="962" y="4981"/>
                  <a:pt x="1018" y="4922"/>
                  <a:pt x="1082" y="4874"/>
                </a:cubicBezTo>
                <a:close/>
                <a:moveTo>
                  <a:pt x="2049" y="5840"/>
                </a:moveTo>
                <a:cubicBezTo>
                  <a:pt x="2462" y="6086"/>
                  <a:pt x="2944" y="6230"/>
                  <a:pt x="3461" y="6230"/>
                </a:cubicBezTo>
                <a:cubicBezTo>
                  <a:pt x="4990" y="6230"/>
                  <a:pt x="6230" y="4991"/>
                  <a:pt x="6230" y="3461"/>
                </a:cubicBezTo>
                <a:cubicBezTo>
                  <a:pt x="6230" y="1932"/>
                  <a:pt x="4990" y="692"/>
                  <a:pt x="3461" y="692"/>
                </a:cubicBezTo>
                <a:cubicBezTo>
                  <a:pt x="1932" y="692"/>
                  <a:pt x="692" y="1932"/>
                  <a:pt x="692" y="3461"/>
                </a:cubicBezTo>
                <a:cubicBezTo>
                  <a:pt x="692" y="3978"/>
                  <a:pt x="836" y="4460"/>
                  <a:pt x="1082" y="4874"/>
                </a:cubicBezTo>
                <a:moveTo>
                  <a:pt x="1287" y="4767"/>
                </a:moveTo>
                <a:cubicBezTo>
                  <a:pt x="1057" y="4385"/>
                  <a:pt x="923" y="3939"/>
                  <a:pt x="923" y="3461"/>
                </a:cubicBezTo>
                <a:cubicBezTo>
                  <a:pt x="923" y="2059"/>
                  <a:pt x="2059" y="923"/>
                  <a:pt x="3461" y="923"/>
                </a:cubicBezTo>
                <a:cubicBezTo>
                  <a:pt x="4863" y="923"/>
                  <a:pt x="5999" y="2059"/>
                  <a:pt x="5999" y="3461"/>
                </a:cubicBezTo>
                <a:cubicBezTo>
                  <a:pt x="5999" y="4863"/>
                  <a:pt x="4863" y="6000"/>
                  <a:pt x="3461" y="6000"/>
                </a:cubicBezTo>
                <a:cubicBezTo>
                  <a:pt x="2983" y="6000"/>
                  <a:pt x="2537" y="5865"/>
                  <a:pt x="2155" y="5635"/>
                </a:cubicBezTo>
                <a:moveTo>
                  <a:pt x="1537" y="4734"/>
                </a:moveTo>
                <a:cubicBezTo>
                  <a:pt x="1295" y="4369"/>
                  <a:pt x="1153" y="3932"/>
                  <a:pt x="1153" y="3461"/>
                </a:cubicBezTo>
                <a:cubicBezTo>
                  <a:pt x="1153" y="2386"/>
                  <a:pt x="1891" y="1484"/>
                  <a:pt x="2887" y="1229"/>
                </a:cubicBezTo>
                <a:cubicBezTo>
                  <a:pt x="3011" y="1044"/>
                  <a:pt x="3222" y="923"/>
                  <a:pt x="3461" y="923"/>
                </a:cubicBezTo>
                <a:cubicBezTo>
                  <a:pt x="2059" y="923"/>
                  <a:pt x="923" y="2059"/>
                  <a:pt x="923" y="3461"/>
                </a:cubicBezTo>
                <a:cubicBezTo>
                  <a:pt x="923" y="3939"/>
                  <a:pt x="1057" y="4385"/>
                  <a:pt x="1287" y="4767"/>
                </a:cubicBezTo>
                <a:cubicBezTo>
                  <a:pt x="1355" y="4745"/>
                  <a:pt x="1425" y="4730"/>
                  <a:pt x="1500" y="4730"/>
                </a:cubicBezTo>
                <a:cubicBezTo>
                  <a:pt x="1512" y="4730"/>
                  <a:pt x="1524" y="4733"/>
                  <a:pt x="1537" y="4734"/>
                </a:cubicBezTo>
                <a:close/>
                <a:moveTo>
                  <a:pt x="4035" y="1229"/>
                </a:moveTo>
                <a:cubicBezTo>
                  <a:pt x="5031" y="1484"/>
                  <a:pt x="5768" y="2386"/>
                  <a:pt x="5768" y="3461"/>
                </a:cubicBezTo>
                <a:cubicBezTo>
                  <a:pt x="5768" y="4736"/>
                  <a:pt x="4735" y="5769"/>
                  <a:pt x="3461" y="5769"/>
                </a:cubicBezTo>
                <a:cubicBezTo>
                  <a:pt x="2990" y="5769"/>
                  <a:pt x="2553" y="5627"/>
                  <a:pt x="2188" y="5385"/>
                </a:cubicBezTo>
                <a:cubicBezTo>
                  <a:pt x="2189" y="5398"/>
                  <a:pt x="2192" y="5410"/>
                  <a:pt x="2192" y="5423"/>
                </a:cubicBezTo>
                <a:cubicBezTo>
                  <a:pt x="2192" y="5497"/>
                  <a:pt x="2177" y="5568"/>
                  <a:pt x="2155" y="5635"/>
                </a:cubicBezTo>
                <a:cubicBezTo>
                  <a:pt x="2537" y="5865"/>
                  <a:pt x="2983" y="6000"/>
                  <a:pt x="3461" y="6000"/>
                </a:cubicBezTo>
                <a:cubicBezTo>
                  <a:pt x="4863" y="6000"/>
                  <a:pt x="5999" y="4863"/>
                  <a:pt x="5999" y="3461"/>
                </a:cubicBezTo>
                <a:cubicBezTo>
                  <a:pt x="5999" y="2059"/>
                  <a:pt x="4863" y="923"/>
                  <a:pt x="3461" y="923"/>
                </a:cubicBezTo>
                <a:cubicBezTo>
                  <a:pt x="3700" y="923"/>
                  <a:pt x="3911" y="1044"/>
                  <a:pt x="4035" y="1229"/>
                </a:cubicBezTo>
                <a:close/>
                <a:moveTo>
                  <a:pt x="5768" y="3461"/>
                </a:moveTo>
                <a:cubicBezTo>
                  <a:pt x="5768" y="2386"/>
                  <a:pt x="5031" y="1484"/>
                  <a:pt x="4035" y="1229"/>
                </a:cubicBezTo>
                <a:cubicBezTo>
                  <a:pt x="4089" y="1309"/>
                  <a:pt x="4125" y="1402"/>
                  <a:pt x="4142" y="1501"/>
                </a:cubicBezTo>
                <a:cubicBezTo>
                  <a:pt x="4954" y="1783"/>
                  <a:pt x="5538" y="2553"/>
                  <a:pt x="5538" y="3461"/>
                </a:cubicBezTo>
                <a:cubicBezTo>
                  <a:pt x="5538" y="4608"/>
                  <a:pt x="4608" y="5538"/>
                  <a:pt x="3461" y="5538"/>
                </a:cubicBezTo>
                <a:cubicBezTo>
                  <a:pt x="2314" y="5538"/>
                  <a:pt x="1384" y="4608"/>
                  <a:pt x="1384" y="3461"/>
                </a:cubicBezTo>
                <a:cubicBezTo>
                  <a:pt x="1384" y="2553"/>
                  <a:pt x="1968" y="1783"/>
                  <a:pt x="2780" y="1501"/>
                </a:cubicBezTo>
                <a:cubicBezTo>
                  <a:pt x="2797" y="1402"/>
                  <a:pt x="2833" y="1309"/>
                  <a:pt x="2887" y="1229"/>
                </a:cubicBezTo>
                <a:cubicBezTo>
                  <a:pt x="1891" y="1484"/>
                  <a:pt x="1153" y="2386"/>
                  <a:pt x="1153" y="3461"/>
                </a:cubicBezTo>
                <a:cubicBezTo>
                  <a:pt x="1153" y="3932"/>
                  <a:pt x="1295" y="4369"/>
                  <a:pt x="1537" y="4734"/>
                </a:cubicBezTo>
                <a:cubicBezTo>
                  <a:pt x="1889" y="4753"/>
                  <a:pt x="2169" y="5033"/>
                  <a:pt x="2188" y="5385"/>
                </a:cubicBezTo>
                <a:cubicBezTo>
                  <a:pt x="2553" y="5627"/>
                  <a:pt x="2990" y="5769"/>
                  <a:pt x="3461" y="5769"/>
                </a:cubicBezTo>
                <a:cubicBezTo>
                  <a:pt x="4735" y="5769"/>
                  <a:pt x="5768" y="4736"/>
                  <a:pt x="5768" y="3461"/>
                </a:cubicBezTo>
                <a:close/>
                <a:moveTo>
                  <a:pt x="2780" y="1501"/>
                </a:moveTo>
                <a:cubicBezTo>
                  <a:pt x="1968" y="1783"/>
                  <a:pt x="1384" y="2553"/>
                  <a:pt x="1384" y="3461"/>
                </a:cubicBezTo>
                <a:cubicBezTo>
                  <a:pt x="1384" y="4608"/>
                  <a:pt x="2314" y="5538"/>
                  <a:pt x="3461" y="5538"/>
                </a:cubicBezTo>
                <a:cubicBezTo>
                  <a:pt x="4608" y="5538"/>
                  <a:pt x="5538" y="4608"/>
                  <a:pt x="5538" y="3461"/>
                </a:cubicBezTo>
                <a:cubicBezTo>
                  <a:pt x="5538" y="2553"/>
                  <a:pt x="4954" y="1783"/>
                  <a:pt x="4142" y="1501"/>
                </a:cubicBezTo>
                <a:moveTo>
                  <a:pt x="4140" y="1746"/>
                </a:moveTo>
                <a:cubicBezTo>
                  <a:pt x="4823" y="2017"/>
                  <a:pt x="5307" y="2682"/>
                  <a:pt x="5307" y="3461"/>
                </a:cubicBezTo>
                <a:cubicBezTo>
                  <a:pt x="5307" y="4481"/>
                  <a:pt x="4480" y="5307"/>
                  <a:pt x="3461" y="5307"/>
                </a:cubicBezTo>
                <a:cubicBezTo>
                  <a:pt x="2441" y="5307"/>
                  <a:pt x="1615" y="4481"/>
                  <a:pt x="1615" y="3461"/>
                </a:cubicBezTo>
                <a:cubicBezTo>
                  <a:pt x="1615" y="2682"/>
                  <a:pt x="2099" y="2017"/>
                  <a:pt x="2782" y="1746"/>
                </a:cubicBezTo>
                <a:moveTo>
                  <a:pt x="5076" y="3461"/>
                </a:moveTo>
                <a:cubicBezTo>
                  <a:pt x="5076" y="4353"/>
                  <a:pt x="4353" y="5077"/>
                  <a:pt x="3461" y="5077"/>
                </a:cubicBezTo>
                <a:cubicBezTo>
                  <a:pt x="2569" y="5077"/>
                  <a:pt x="1846" y="4353"/>
                  <a:pt x="1846" y="3461"/>
                </a:cubicBezTo>
                <a:cubicBezTo>
                  <a:pt x="1846" y="2780"/>
                  <a:pt x="2268" y="2199"/>
                  <a:pt x="2865" y="1961"/>
                </a:cubicBezTo>
                <a:cubicBezTo>
                  <a:pt x="2826" y="1895"/>
                  <a:pt x="2797" y="1823"/>
                  <a:pt x="2782" y="1746"/>
                </a:cubicBezTo>
                <a:cubicBezTo>
                  <a:pt x="2099" y="2017"/>
                  <a:pt x="1615" y="2682"/>
                  <a:pt x="1615" y="3461"/>
                </a:cubicBezTo>
                <a:cubicBezTo>
                  <a:pt x="1615" y="4481"/>
                  <a:pt x="2441" y="5307"/>
                  <a:pt x="3461" y="5307"/>
                </a:cubicBezTo>
                <a:cubicBezTo>
                  <a:pt x="4480" y="5307"/>
                  <a:pt x="5307" y="4481"/>
                  <a:pt x="5307" y="3461"/>
                </a:cubicBezTo>
                <a:cubicBezTo>
                  <a:pt x="5307" y="2682"/>
                  <a:pt x="4823" y="2017"/>
                  <a:pt x="4140" y="1746"/>
                </a:cubicBezTo>
                <a:cubicBezTo>
                  <a:pt x="4125" y="1823"/>
                  <a:pt x="4096" y="1895"/>
                  <a:pt x="4057" y="1961"/>
                </a:cubicBezTo>
                <a:cubicBezTo>
                  <a:pt x="4654" y="2199"/>
                  <a:pt x="5076" y="2780"/>
                  <a:pt x="5076" y="3461"/>
                </a:cubicBezTo>
                <a:close/>
                <a:moveTo>
                  <a:pt x="2865" y="1961"/>
                </a:moveTo>
                <a:cubicBezTo>
                  <a:pt x="2268" y="2199"/>
                  <a:pt x="1846" y="2780"/>
                  <a:pt x="1846" y="3461"/>
                </a:cubicBezTo>
                <a:cubicBezTo>
                  <a:pt x="1846" y="4353"/>
                  <a:pt x="2569" y="5077"/>
                  <a:pt x="3461" y="5077"/>
                </a:cubicBezTo>
                <a:cubicBezTo>
                  <a:pt x="4353" y="5077"/>
                  <a:pt x="5076" y="4353"/>
                  <a:pt x="5076" y="3461"/>
                </a:cubicBezTo>
                <a:cubicBezTo>
                  <a:pt x="5076" y="3728"/>
                  <a:pt x="4923" y="3958"/>
                  <a:pt x="4702" y="4073"/>
                </a:cubicBezTo>
                <a:cubicBezTo>
                  <a:pt x="4476" y="4530"/>
                  <a:pt x="4006" y="4846"/>
                  <a:pt x="3461" y="4846"/>
                </a:cubicBezTo>
                <a:cubicBezTo>
                  <a:pt x="2696" y="4846"/>
                  <a:pt x="2076" y="4226"/>
                  <a:pt x="2076" y="3461"/>
                </a:cubicBezTo>
                <a:cubicBezTo>
                  <a:pt x="2076" y="2849"/>
                  <a:pt x="2474" y="2331"/>
                  <a:pt x="3024" y="2148"/>
                </a:cubicBezTo>
                <a:moveTo>
                  <a:pt x="3898" y="2148"/>
                </a:moveTo>
                <a:cubicBezTo>
                  <a:pt x="4250" y="2265"/>
                  <a:pt x="4539" y="2520"/>
                  <a:pt x="4702" y="2850"/>
                </a:cubicBezTo>
                <a:cubicBezTo>
                  <a:pt x="4923" y="2965"/>
                  <a:pt x="5076" y="3194"/>
                  <a:pt x="5076" y="3461"/>
                </a:cubicBezTo>
                <a:cubicBezTo>
                  <a:pt x="5076" y="2780"/>
                  <a:pt x="4654" y="2199"/>
                  <a:pt x="4057" y="1961"/>
                </a:cubicBezTo>
                <a:moveTo>
                  <a:pt x="4702" y="2850"/>
                </a:moveTo>
                <a:cubicBezTo>
                  <a:pt x="4539" y="2520"/>
                  <a:pt x="4250" y="2265"/>
                  <a:pt x="3898" y="2148"/>
                </a:cubicBezTo>
                <a:cubicBezTo>
                  <a:pt x="3778" y="2246"/>
                  <a:pt x="3628" y="2308"/>
                  <a:pt x="3461" y="2308"/>
                </a:cubicBezTo>
                <a:cubicBezTo>
                  <a:pt x="3838" y="2308"/>
                  <a:pt x="4172" y="2489"/>
                  <a:pt x="4382" y="2769"/>
                </a:cubicBezTo>
                <a:cubicBezTo>
                  <a:pt x="4383" y="2769"/>
                  <a:pt x="4383" y="2769"/>
                  <a:pt x="4384" y="2769"/>
                </a:cubicBezTo>
                <a:moveTo>
                  <a:pt x="4384" y="4154"/>
                </a:moveTo>
                <a:cubicBezTo>
                  <a:pt x="4383" y="4154"/>
                  <a:pt x="4383" y="4153"/>
                  <a:pt x="4382" y="4153"/>
                </a:cubicBezTo>
                <a:cubicBezTo>
                  <a:pt x="4172" y="4433"/>
                  <a:pt x="3838" y="4615"/>
                  <a:pt x="3461" y="4615"/>
                </a:cubicBezTo>
                <a:cubicBezTo>
                  <a:pt x="2824" y="4615"/>
                  <a:pt x="2307" y="4098"/>
                  <a:pt x="2307" y="3461"/>
                </a:cubicBezTo>
                <a:cubicBezTo>
                  <a:pt x="2307" y="2824"/>
                  <a:pt x="2824" y="2308"/>
                  <a:pt x="3461" y="2308"/>
                </a:cubicBezTo>
                <a:cubicBezTo>
                  <a:pt x="3294" y="2308"/>
                  <a:pt x="3144" y="2246"/>
                  <a:pt x="3024" y="2148"/>
                </a:cubicBezTo>
                <a:cubicBezTo>
                  <a:pt x="2474" y="2331"/>
                  <a:pt x="2076" y="2849"/>
                  <a:pt x="2076" y="3461"/>
                </a:cubicBezTo>
                <a:cubicBezTo>
                  <a:pt x="2076" y="4226"/>
                  <a:pt x="2696" y="4846"/>
                  <a:pt x="3461" y="4846"/>
                </a:cubicBezTo>
                <a:cubicBezTo>
                  <a:pt x="4006" y="4846"/>
                  <a:pt x="4476" y="4530"/>
                  <a:pt x="4702" y="4073"/>
                </a:cubicBezTo>
                <a:moveTo>
                  <a:pt x="2307" y="3461"/>
                </a:moveTo>
                <a:cubicBezTo>
                  <a:pt x="2307" y="4098"/>
                  <a:pt x="2824" y="4615"/>
                  <a:pt x="3461" y="4615"/>
                </a:cubicBezTo>
                <a:cubicBezTo>
                  <a:pt x="3838" y="4615"/>
                  <a:pt x="4172" y="4433"/>
                  <a:pt x="4382" y="4153"/>
                </a:cubicBezTo>
                <a:cubicBezTo>
                  <a:pt x="4291" y="4153"/>
                  <a:pt x="4204" y="4135"/>
                  <a:pt x="4123" y="4102"/>
                </a:cubicBezTo>
                <a:cubicBezTo>
                  <a:pt x="3956" y="4275"/>
                  <a:pt x="3721" y="4384"/>
                  <a:pt x="3461" y="4384"/>
                </a:cubicBezTo>
                <a:cubicBezTo>
                  <a:pt x="2951" y="4384"/>
                  <a:pt x="2538" y="3971"/>
                  <a:pt x="2538" y="3461"/>
                </a:cubicBezTo>
                <a:cubicBezTo>
                  <a:pt x="2538" y="2952"/>
                  <a:pt x="2951" y="2538"/>
                  <a:pt x="3461" y="2538"/>
                </a:cubicBezTo>
                <a:cubicBezTo>
                  <a:pt x="3721" y="2538"/>
                  <a:pt x="3956" y="2647"/>
                  <a:pt x="4123" y="2821"/>
                </a:cubicBezTo>
                <a:cubicBezTo>
                  <a:pt x="4204" y="2788"/>
                  <a:pt x="4291" y="2769"/>
                  <a:pt x="4382" y="2769"/>
                </a:cubicBezTo>
                <a:cubicBezTo>
                  <a:pt x="4172" y="2489"/>
                  <a:pt x="3838" y="2308"/>
                  <a:pt x="3461" y="2308"/>
                </a:cubicBezTo>
                <a:cubicBezTo>
                  <a:pt x="2824" y="2308"/>
                  <a:pt x="2307" y="2824"/>
                  <a:pt x="2307" y="3461"/>
                </a:cubicBezTo>
                <a:close/>
                <a:moveTo>
                  <a:pt x="3692" y="3461"/>
                </a:moveTo>
                <a:cubicBezTo>
                  <a:pt x="3692" y="3171"/>
                  <a:pt x="3870" y="2924"/>
                  <a:pt x="4123" y="2821"/>
                </a:cubicBezTo>
                <a:cubicBezTo>
                  <a:pt x="3956" y="2647"/>
                  <a:pt x="3721" y="2538"/>
                  <a:pt x="3461" y="2538"/>
                </a:cubicBezTo>
                <a:cubicBezTo>
                  <a:pt x="2951" y="2538"/>
                  <a:pt x="2538" y="2952"/>
                  <a:pt x="2538" y="3461"/>
                </a:cubicBezTo>
                <a:cubicBezTo>
                  <a:pt x="2538" y="3971"/>
                  <a:pt x="2951" y="4384"/>
                  <a:pt x="3461" y="4384"/>
                </a:cubicBezTo>
                <a:cubicBezTo>
                  <a:pt x="3721" y="4384"/>
                  <a:pt x="3956" y="4275"/>
                  <a:pt x="4123" y="4102"/>
                </a:cubicBezTo>
                <a:cubicBezTo>
                  <a:pt x="3870" y="3999"/>
                  <a:pt x="3692" y="3751"/>
                  <a:pt x="3692" y="3461"/>
                </a:cubicBezTo>
                <a:close/>
                <a:moveTo>
                  <a:pt x="3882" y="1427"/>
                </a:moveTo>
                <a:cubicBezTo>
                  <a:pt x="3810" y="1266"/>
                  <a:pt x="3649" y="1154"/>
                  <a:pt x="3461" y="1154"/>
                </a:cubicBezTo>
                <a:cubicBezTo>
                  <a:pt x="3273" y="1154"/>
                  <a:pt x="3112" y="1266"/>
                  <a:pt x="3040" y="1427"/>
                </a:cubicBezTo>
                <a:moveTo>
                  <a:pt x="3233" y="1631"/>
                </a:moveTo>
                <a:cubicBezTo>
                  <a:pt x="3233" y="1625"/>
                  <a:pt x="3230" y="1621"/>
                  <a:pt x="3230" y="1615"/>
                </a:cubicBezTo>
                <a:cubicBezTo>
                  <a:pt x="3230" y="1488"/>
                  <a:pt x="3333" y="1385"/>
                  <a:pt x="3461" y="1385"/>
                </a:cubicBezTo>
                <a:moveTo>
                  <a:pt x="3040" y="1427"/>
                </a:moveTo>
                <a:cubicBezTo>
                  <a:pt x="3014" y="1485"/>
                  <a:pt x="2999" y="1548"/>
                  <a:pt x="2999" y="1615"/>
                </a:cubicBezTo>
                <a:cubicBezTo>
                  <a:pt x="2999" y="1635"/>
                  <a:pt x="3003" y="1655"/>
                  <a:pt x="3005" y="1674"/>
                </a:cubicBezTo>
                <a:moveTo>
                  <a:pt x="3916" y="1674"/>
                </a:moveTo>
                <a:cubicBezTo>
                  <a:pt x="3919" y="1655"/>
                  <a:pt x="3922" y="1635"/>
                  <a:pt x="3922" y="1615"/>
                </a:cubicBezTo>
                <a:cubicBezTo>
                  <a:pt x="3922" y="1548"/>
                  <a:pt x="3907" y="1485"/>
                  <a:pt x="3882" y="1427"/>
                </a:cubicBezTo>
                <a:moveTo>
                  <a:pt x="3461" y="1385"/>
                </a:moveTo>
                <a:cubicBezTo>
                  <a:pt x="3588" y="1385"/>
                  <a:pt x="3692" y="1488"/>
                  <a:pt x="3692" y="1615"/>
                </a:cubicBezTo>
                <a:cubicBezTo>
                  <a:pt x="3692" y="1621"/>
                  <a:pt x="3689" y="1625"/>
                  <a:pt x="3689" y="1631"/>
                </a:cubicBezTo>
                <a:moveTo>
                  <a:pt x="3005" y="1674"/>
                </a:moveTo>
                <a:cubicBezTo>
                  <a:pt x="3016" y="1755"/>
                  <a:pt x="3046" y="1828"/>
                  <a:pt x="3092" y="1890"/>
                </a:cubicBezTo>
                <a:moveTo>
                  <a:pt x="3461" y="1846"/>
                </a:moveTo>
                <a:cubicBezTo>
                  <a:pt x="3339" y="1846"/>
                  <a:pt x="3242" y="1751"/>
                  <a:pt x="3233" y="1631"/>
                </a:cubicBezTo>
                <a:moveTo>
                  <a:pt x="3830" y="1890"/>
                </a:moveTo>
                <a:cubicBezTo>
                  <a:pt x="3876" y="1828"/>
                  <a:pt x="3906" y="1755"/>
                  <a:pt x="3916" y="1674"/>
                </a:cubicBezTo>
                <a:moveTo>
                  <a:pt x="3689" y="1631"/>
                </a:moveTo>
                <a:cubicBezTo>
                  <a:pt x="3680" y="1751"/>
                  <a:pt x="3583" y="1846"/>
                  <a:pt x="3461" y="1846"/>
                </a:cubicBezTo>
                <a:moveTo>
                  <a:pt x="3092" y="1890"/>
                </a:moveTo>
                <a:cubicBezTo>
                  <a:pt x="3176" y="2003"/>
                  <a:pt x="3309" y="2077"/>
                  <a:pt x="3461" y="2077"/>
                </a:cubicBezTo>
                <a:cubicBezTo>
                  <a:pt x="3612" y="2077"/>
                  <a:pt x="3746" y="2003"/>
                  <a:pt x="3830" y="1890"/>
                </a:cubicBezTo>
                <a:moveTo>
                  <a:pt x="4702" y="4073"/>
                </a:moveTo>
                <a:cubicBezTo>
                  <a:pt x="4923" y="3958"/>
                  <a:pt x="5076" y="3728"/>
                  <a:pt x="5076" y="3461"/>
                </a:cubicBezTo>
                <a:cubicBezTo>
                  <a:pt x="5076" y="3194"/>
                  <a:pt x="4923" y="2965"/>
                  <a:pt x="4702" y="2850"/>
                </a:cubicBezTo>
                <a:moveTo>
                  <a:pt x="4529" y="3025"/>
                </a:moveTo>
                <a:cubicBezTo>
                  <a:pt x="4712" y="3086"/>
                  <a:pt x="4845" y="3257"/>
                  <a:pt x="4845" y="3461"/>
                </a:cubicBezTo>
                <a:moveTo>
                  <a:pt x="4529" y="3897"/>
                </a:moveTo>
                <a:cubicBezTo>
                  <a:pt x="4712" y="3836"/>
                  <a:pt x="4845" y="3665"/>
                  <a:pt x="4845" y="3461"/>
                </a:cubicBezTo>
                <a:cubicBezTo>
                  <a:pt x="4845" y="3257"/>
                  <a:pt x="4712" y="3086"/>
                  <a:pt x="4529" y="3025"/>
                </a:cubicBezTo>
                <a:moveTo>
                  <a:pt x="4615" y="3461"/>
                </a:moveTo>
                <a:cubicBezTo>
                  <a:pt x="4615" y="3589"/>
                  <a:pt x="4511" y="3692"/>
                  <a:pt x="4384" y="3692"/>
                </a:cubicBezTo>
                <a:cubicBezTo>
                  <a:pt x="4373" y="3692"/>
                  <a:pt x="4364" y="3687"/>
                  <a:pt x="4353" y="3686"/>
                </a:cubicBezTo>
                <a:moveTo>
                  <a:pt x="4265" y="3905"/>
                </a:moveTo>
                <a:cubicBezTo>
                  <a:pt x="4303" y="3916"/>
                  <a:pt x="4343" y="3923"/>
                  <a:pt x="4384" y="3923"/>
                </a:cubicBezTo>
                <a:cubicBezTo>
                  <a:pt x="4435" y="3923"/>
                  <a:pt x="4483" y="3913"/>
                  <a:pt x="4529" y="3897"/>
                </a:cubicBezTo>
                <a:moveTo>
                  <a:pt x="4529" y="3025"/>
                </a:moveTo>
                <a:cubicBezTo>
                  <a:pt x="4483" y="3010"/>
                  <a:pt x="4435" y="3000"/>
                  <a:pt x="4384" y="3000"/>
                </a:cubicBezTo>
                <a:cubicBezTo>
                  <a:pt x="4343" y="3000"/>
                  <a:pt x="4303" y="3007"/>
                  <a:pt x="4265" y="3017"/>
                </a:cubicBezTo>
                <a:moveTo>
                  <a:pt x="4353" y="3237"/>
                </a:moveTo>
                <a:cubicBezTo>
                  <a:pt x="4364" y="3235"/>
                  <a:pt x="4373" y="3231"/>
                  <a:pt x="4384" y="3231"/>
                </a:cubicBezTo>
                <a:cubicBezTo>
                  <a:pt x="4511" y="3231"/>
                  <a:pt x="4615" y="3334"/>
                  <a:pt x="4615" y="3461"/>
                </a:cubicBezTo>
                <a:moveTo>
                  <a:pt x="4353" y="3686"/>
                </a:moveTo>
                <a:cubicBezTo>
                  <a:pt x="4241" y="3670"/>
                  <a:pt x="4153" y="3578"/>
                  <a:pt x="4153" y="3461"/>
                </a:cubicBezTo>
                <a:cubicBezTo>
                  <a:pt x="4153" y="3345"/>
                  <a:pt x="4241" y="3252"/>
                  <a:pt x="4353" y="3237"/>
                </a:cubicBezTo>
                <a:moveTo>
                  <a:pt x="4265" y="3017"/>
                </a:moveTo>
                <a:cubicBezTo>
                  <a:pt x="4068" y="3070"/>
                  <a:pt x="3922" y="3248"/>
                  <a:pt x="3922" y="3461"/>
                </a:cubicBezTo>
                <a:cubicBezTo>
                  <a:pt x="3922" y="3675"/>
                  <a:pt x="4068" y="3853"/>
                  <a:pt x="4265" y="3905"/>
                </a:cubicBezTo>
                <a:moveTo>
                  <a:pt x="946" y="5835"/>
                </a:moveTo>
                <a:cubicBezTo>
                  <a:pt x="986" y="5888"/>
                  <a:pt x="1034" y="5936"/>
                  <a:pt x="1088" y="5976"/>
                </a:cubicBezTo>
                <a:cubicBezTo>
                  <a:pt x="1039" y="5930"/>
                  <a:pt x="992" y="5883"/>
                  <a:pt x="946" y="5835"/>
                </a:cubicBezTo>
                <a:close/>
                <a:moveTo>
                  <a:pt x="1116" y="5679"/>
                </a:moveTo>
                <a:cubicBezTo>
                  <a:pt x="1138" y="5712"/>
                  <a:pt x="1164" y="5742"/>
                  <a:pt x="1194" y="5768"/>
                </a:cubicBezTo>
                <a:cubicBezTo>
                  <a:pt x="1210" y="5782"/>
                  <a:pt x="1226" y="5795"/>
                  <a:pt x="1244" y="5806"/>
                </a:cubicBezTo>
                <a:moveTo>
                  <a:pt x="1364" y="5604"/>
                </a:moveTo>
                <a:cubicBezTo>
                  <a:pt x="1346" y="5591"/>
                  <a:pt x="1331" y="5576"/>
                  <a:pt x="1318" y="5558"/>
                </a:cubicBezTo>
                <a:moveTo>
                  <a:pt x="1244" y="5806"/>
                </a:moveTo>
                <a:cubicBezTo>
                  <a:pt x="1317" y="5855"/>
                  <a:pt x="1405" y="5884"/>
                  <a:pt x="1500" y="5884"/>
                </a:cubicBezTo>
                <a:cubicBezTo>
                  <a:pt x="1555" y="5884"/>
                  <a:pt x="1608" y="5873"/>
                  <a:pt x="1658" y="5855"/>
                </a:cubicBezTo>
                <a:moveTo>
                  <a:pt x="1068" y="5264"/>
                </a:moveTo>
                <a:cubicBezTo>
                  <a:pt x="1049" y="5314"/>
                  <a:pt x="1038" y="5367"/>
                  <a:pt x="1038" y="5423"/>
                </a:cubicBezTo>
                <a:cubicBezTo>
                  <a:pt x="1038" y="5517"/>
                  <a:pt x="1067" y="5605"/>
                  <a:pt x="1116" y="5679"/>
                </a:cubicBezTo>
                <a:moveTo>
                  <a:pt x="1318" y="5558"/>
                </a:moveTo>
                <a:cubicBezTo>
                  <a:pt x="1289" y="5520"/>
                  <a:pt x="1269" y="5474"/>
                  <a:pt x="1269" y="5423"/>
                </a:cubicBezTo>
                <a:cubicBezTo>
                  <a:pt x="1269" y="5353"/>
                  <a:pt x="1301" y="5293"/>
                  <a:pt x="1350" y="5251"/>
                </a:cubicBezTo>
                <a:moveTo>
                  <a:pt x="1208" y="5067"/>
                </a:moveTo>
                <a:cubicBezTo>
                  <a:pt x="1145" y="5119"/>
                  <a:pt x="1096" y="5186"/>
                  <a:pt x="1068" y="5264"/>
                </a:cubicBezTo>
                <a:moveTo>
                  <a:pt x="1658" y="5855"/>
                </a:moveTo>
                <a:cubicBezTo>
                  <a:pt x="1736" y="5826"/>
                  <a:pt x="1803" y="5777"/>
                  <a:pt x="1855" y="5714"/>
                </a:cubicBezTo>
                <a:moveTo>
                  <a:pt x="1672" y="5573"/>
                </a:moveTo>
                <a:cubicBezTo>
                  <a:pt x="1629" y="5621"/>
                  <a:pt x="1569" y="5653"/>
                  <a:pt x="1500" y="5653"/>
                </a:cubicBezTo>
                <a:cubicBezTo>
                  <a:pt x="1448" y="5653"/>
                  <a:pt x="1402" y="5633"/>
                  <a:pt x="1364" y="5604"/>
                </a:cubicBezTo>
                <a:moveTo>
                  <a:pt x="1422" y="4969"/>
                </a:moveTo>
                <a:cubicBezTo>
                  <a:pt x="1342" y="4983"/>
                  <a:pt x="1269" y="5018"/>
                  <a:pt x="1208" y="5067"/>
                </a:cubicBezTo>
                <a:moveTo>
                  <a:pt x="1855" y="5714"/>
                </a:moveTo>
                <a:cubicBezTo>
                  <a:pt x="1905" y="5653"/>
                  <a:pt x="1940" y="5581"/>
                  <a:pt x="1953" y="5500"/>
                </a:cubicBezTo>
                <a:moveTo>
                  <a:pt x="1350" y="5251"/>
                </a:moveTo>
                <a:cubicBezTo>
                  <a:pt x="1390" y="5215"/>
                  <a:pt x="1442" y="5192"/>
                  <a:pt x="1500" y="5192"/>
                </a:cubicBezTo>
                <a:cubicBezTo>
                  <a:pt x="1627" y="5192"/>
                  <a:pt x="1730" y="5295"/>
                  <a:pt x="1730" y="5423"/>
                </a:cubicBezTo>
                <a:cubicBezTo>
                  <a:pt x="1730" y="5481"/>
                  <a:pt x="1707" y="5532"/>
                  <a:pt x="1672" y="5573"/>
                </a:cubicBezTo>
                <a:moveTo>
                  <a:pt x="1953" y="5500"/>
                </a:moveTo>
                <a:cubicBezTo>
                  <a:pt x="1958" y="5475"/>
                  <a:pt x="1961" y="5449"/>
                  <a:pt x="1961" y="5423"/>
                </a:cubicBezTo>
                <a:cubicBezTo>
                  <a:pt x="1961" y="5168"/>
                  <a:pt x="1754" y="4961"/>
                  <a:pt x="1500" y="4961"/>
                </a:cubicBezTo>
                <a:cubicBezTo>
                  <a:pt x="1473" y="4961"/>
                  <a:pt x="1448" y="4965"/>
                  <a:pt x="1422" y="4969"/>
                </a:cubicBezTo>
                <a:moveTo>
                  <a:pt x="1318" y="5558"/>
                </a:moveTo>
                <a:cubicBezTo>
                  <a:pt x="1331" y="5576"/>
                  <a:pt x="1346" y="5591"/>
                  <a:pt x="1364" y="5604"/>
                </a:cubicBezTo>
                <a:cubicBezTo>
                  <a:pt x="1348" y="5589"/>
                  <a:pt x="1333" y="5574"/>
                  <a:pt x="1318" y="5558"/>
                </a:cubicBezTo>
                <a:close/>
                <a:moveTo>
                  <a:pt x="1350" y="5251"/>
                </a:moveTo>
                <a:cubicBezTo>
                  <a:pt x="1301" y="5293"/>
                  <a:pt x="1269" y="5353"/>
                  <a:pt x="1269" y="5423"/>
                </a:cubicBezTo>
                <a:cubicBezTo>
                  <a:pt x="1269" y="5474"/>
                  <a:pt x="1289" y="5520"/>
                  <a:pt x="1318" y="5558"/>
                </a:cubicBezTo>
                <a:cubicBezTo>
                  <a:pt x="1333" y="5574"/>
                  <a:pt x="1348" y="5589"/>
                  <a:pt x="1364" y="5604"/>
                </a:cubicBezTo>
                <a:cubicBezTo>
                  <a:pt x="1402" y="5633"/>
                  <a:pt x="1448" y="5653"/>
                  <a:pt x="1500" y="5653"/>
                </a:cubicBezTo>
                <a:cubicBezTo>
                  <a:pt x="1569" y="5653"/>
                  <a:pt x="1629" y="5621"/>
                  <a:pt x="1672" y="5573"/>
                </a:cubicBezTo>
                <a:moveTo>
                  <a:pt x="1672" y="5573"/>
                </a:moveTo>
                <a:cubicBezTo>
                  <a:pt x="1707" y="5532"/>
                  <a:pt x="1730" y="5481"/>
                  <a:pt x="1730" y="5423"/>
                </a:cubicBezTo>
                <a:cubicBezTo>
                  <a:pt x="1730" y="5295"/>
                  <a:pt x="1627" y="5192"/>
                  <a:pt x="1500" y="5192"/>
                </a:cubicBezTo>
                <a:cubicBezTo>
                  <a:pt x="1442" y="5192"/>
                  <a:pt x="1390" y="5215"/>
                  <a:pt x="1350" y="5251"/>
                </a:cubicBezTo>
              </a:path>
            </a:pathLst>
          </a:custGeom>
          <a:noFill/>
          <a:ln w="14288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32" name="Group 31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33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38" name="Picture 3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70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 5"/>
          <p:cNvSpPr>
            <a:spLocks noEditPoints="1"/>
          </p:cNvSpPr>
          <p:nvPr/>
        </p:nvSpPr>
        <p:spPr bwMode="auto">
          <a:xfrm>
            <a:off x="4999039" y="-325438"/>
            <a:ext cx="4473575" cy="4468813"/>
          </a:xfrm>
          <a:custGeom>
            <a:avLst/>
            <a:gdLst>
              <a:gd name="T0" fmla="*/ 807 w 6922"/>
              <a:gd name="T1" fmla="*/ 5423 h 6923"/>
              <a:gd name="T2" fmla="*/ 6691 w 6922"/>
              <a:gd name="T3" fmla="*/ 3461 h 6923"/>
              <a:gd name="T4" fmla="*/ 1088 w 6922"/>
              <a:gd name="T5" fmla="*/ 5976 h 6923"/>
              <a:gd name="T6" fmla="*/ 919 w 6922"/>
              <a:gd name="T7" fmla="*/ 5048 h 6923"/>
              <a:gd name="T8" fmla="*/ 3461 w 6922"/>
              <a:gd name="T9" fmla="*/ 6461 h 6923"/>
              <a:gd name="T10" fmla="*/ 6691 w 6922"/>
              <a:gd name="T11" fmla="*/ 3461 h 6923"/>
              <a:gd name="T12" fmla="*/ 1082 w 6922"/>
              <a:gd name="T13" fmla="*/ 4874 h 6923"/>
              <a:gd name="T14" fmla="*/ 3461 w 6922"/>
              <a:gd name="T15" fmla="*/ 6230 h 6923"/>
              <a:gd name="T16" fmla="*/ 6461 w 6922"/>
              <a:gd name="T17" fmla="*/ 3461 h 6923"/>
              <a:gd name="T18" fmla="*/ 1082 w 6922"/>
              <a:gd name="T19" fmla="*/ 4874 h 6923"/>
              <a:gd name="T20" fmla="*/ 3461 w 6922"/>
              <a:gd name="T21" fmla="*/ 692 h 6923"/>
              <a:gd name="T22" fmla="*/ 923 w 6922"/>
              <a:gd name="T23" fmla="*/ 3461 h 6923"/>
              <a:gd name="T24" fmla="*/ 2155 w 6922"/>
              <a:gd name="T25" fmla="*/ 5635 h 6923"/>
              <a:gd name="T26" fmla="*/ 3461 w 6922"/>
              <a:gd name="T27" fmla="*/ 923 h 6923"/>
              <a:gd name="T28" fmla="*/ 1537 w 6922"/>
              <a:gd name="T29" fmla="*/ 4734 h 6923"/>
              <a:gd name="T30" fmla="*/ 2188 w 6922"/>
              <a:gd name="T31" fmla="*/ 5385 h 6923"/>
              <a:gd name="T32" fmla="*/ 5999 w 6922"/>
              <a:gd name="T33" fmla="*/ 3461 h 6923"/>
              <a:gd name="T34" fmla="*/ 4035 w 6922"/>
              <a:gd name="T35" fmla="*/ 1229 h 6923"/>
              <a:gd name="T36" fmla="*/ 1384 w 6922"/>
              <a:gd name="T37" fmla="*/ 3461 h 6923"/>
              <a:gd name="T38" fmla="*/ 1537 w 6922"/>
              <a:gd name="T39" fmla="*/ 4734 h 6923"/>
              <a:gd name="T40" fmla="*/ 2780 w 6922"/>
              <a:gd name="T41" fmla="*/ 1501 h 6923"/>
              <a:gd name="T42" fmla="*/ 4142 w 6922"/>
              <a:gd name="T43" fmla="*/ 1501 h 6923"/>
              <a:gd name="T44" fmla="*/ 1615 w 6922"/>
              <a:gd name="T45" fmla="*/ 3461 h 6923"/>
              <a:gd name="T46" fmla="*/ 1846 w 6922"/>
              <a:gd name="T47" fmla="*/ 3461 h 6923"/>
              <a:gd name="T48" fmla="*/ 3461 w 6922"/>
              <a:gd name="T49" fmla="*/ 5307 h 6923"/>
              <a:gd name="T50" fmla="*/ 5076 w 6922"/>
              <a:gd name="T51" fmla="*/ 3461 h 6923"/>
              <a:gd name="T52" fmla="*/ 5076 w 6922"/>
              <a:gd name="T53" fmla="*/ 3461 h 6923"/>
              <a:gd name="T54" fmla="*/ 3024 w 6922"/>
              <a:gd name="T55" fmla="*/ 2148 h 6923"/>
              <a:gd name="T56" fmla="*/ 4057 w 6922"/>
              <a:gd name="T57" fmla="*/ 1961 h 6923"/>
              <a:gd name="T58" fmla="*/ 4382 w 6922"/>
              <a:gd name="T59" fmla="*/ 2769 h 6923"/>
              <a:gd name="T60" fmla="*/ 3461 w 6922"/>
              <a:gd name="T61" fmla="*/ 4615 h 6923"/>
              <a:gd name="T62" fmla="*/ 2076 w 6922"/>
              <a:gd name="T63" fmla="*/ 3461 h 6923"/>
              <a:gd name="T64" fmla="*/ 3461 w 6922"/>
              <a:gd name="T65" fmla="*/ 4615 h 6923"/>
              <a:gd name="T66" fmla="*/ 2538 w 6922"/>
              <a:gd name="T67" fmla="*/ 3461 h 6923"/>
              <a:gd name="T68" fmla="*/ 3461 w 6922"/>
              <a:gd name="T69" fmla="*/ 2308 h 6923"/>
              <a:gd name="T70" fmla="*/ 3461 w 6922"/>
              <a:gd name="T71" fmla="*/ 2538 h 6923"/>
              <a:gd name="T72" fmla="*/ 3692 w 6922"/>
              <a:gd name="T73" fmla="*/ 3461 h 6923"/>
              <a:gd name="T74" fmla="*/ 3233 w 6922"/>
              <a:gd name="T75" fmla="*/ 1631 h 6923"/>
              <a:gd name="T76" fmla="*/ 2999 w 6922"/>
              <a:gd name="T77" fmla="*/ 1615 h 6923"/>
              <a:gd name="T78" fmla="*/ 3882 w 6922"/>
              <a:gd name="T79" fmla="*/ 1427 h 6923"/>
              <a:gd name="T80" fmla="*/ 3005 w 6922"/>
              <a:gd name="T81" fmla="*/ 1674 h 6923"/>
              <a:gd name="T82" fmla="*/ 3830 w 6922"/>
              <a:gd name="T83" fmla="*/ 1890 h 6923"/>
              <a:gd name="T84" fmla="*/ 3092 w 6922"/>
              <a:gd name="T85" fmla="*/ 1890 h 6923"/>
              <a:gd name="T86" fmla="*/ 5076 w 6922"/>
              <a:gd name="T87" fmla="*/ 3461 h 6923"/>
              <a:gd name="T88" fmla="*/ 4529 w 6922"/>
              <a:gd name="T89" fmla="*/ 3897 h 6923"/>
              <a:gd name="T90" fmla="*/ 4384 w 6922"/>
              <a:gd name="T91" fmla="*/ 3692 h 6923"/>
              <a:gd name="T92" fmla="*/ 4529 w 6922"/>
              <a:gd name="T93" fmla="*/ 3897 h 6923"/>
              <a:gd name="T94" fmla="*/ 4353 w 6922"/>
              <a:gd name="T95" fmla="*/ 3237 h 6923"/>
              <a:gd name="T96" fmla="*/ 4153 w 6922"/>
              <a:gd name="T97" fmla="*/ 3461 h 6923"/>
              <a:gd name="T98" fmla="*/ 4265 w 6922"/>
              <a:gd name="T99" fmla="*/ 3905 h 6923"/>
              <a:gd name="T100" fmla="*/ 1116 w 6922"/>
              <a:gd name="T101" fmla="*/ 5679 h 6923"/>
              <a:gd name="T102" fmla="*/ 1318 w 6922"/>
              <a:gd name="T103" fmla="*/ 5558 h 6923"/>
              <a:gd name="T104" fmla="*/ 1068 w 6922"/>
              <a:gd name="T105" fmla="*/ 5264 h 6923"/>
              <a:gd name="T106" fmla="*/ 1269 w 6922"/>
              <a:gd name="T107" fmla="*/ 5423 h 6923"/>
              <a:gd name="T108" fmla="*/ 1658 w 6922"/>
              <a:gd name="T109" fmla="*/ 5855 h 6923"/>
              <a:gd name="T110" fmla="*/ 1364 w 6922"/>
              <a:gd name="T111" fmla="*/ 5604 h 6923"/>
              <a:gd name="T112" fmla="*/ 1953 w 6922"/>
              <a:gd name="T113" fmla="*/ 5500 h 6923"/>
              <a:gd name="T114" fmla="*/ 1672 w 6922"/>
              <a:gd name="T115" fmla="*/ 5573 h 6923"/>
              <a:gd name="T116" fmla="*/ 1422 w 6922"/>
              <a:gd name="T117" fmla="*/ 4969 h 6923"/>
              <a:gd name="T118" fmla="*/ 1350 w 6922"/>
              <a:gd name="T119" fmla="*/ 5251 h 6923"/>
              <a:gd name="T120" fmla="*/ 1500 w 6922"/>
              <a:gd name="T121" fmla="*/ 5653 h 6923"/>
              <a:gd name="T122" fmla="*/ 1500 w 6922"/>
              <a:gd name="T123" fmla="*/ 5192 h 6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22" h="6923">
                <a:moveTo>
                  <a:pt x="3461" y="0"/>
                </a:moveTo>
                <a:cubicBezTo>
                  <a:pt x="1549" y="0"/>
                  <a:pt x="0" y="1550"/>
                  <a:pt x="0" y="3461"/>
                </a:cubicBezTo>
                <a:cubicBezTo>
                  <a:pt x="0" y="4381"/>
                  <a:pt x="361" y="5215"/>
                  <a:pt x="946" y="5835"/>
                </a:cubicBezTo>
                <a:cubicBezTo>
                  <a:pt x="860" y="5719"/>
                  <a:pt x="807" y="5578"/>
                  <a:pt x="807" y="5423"/>
                </a:cubicBezTo>
                <a:cubicBezTo>
                  <a:pt x="807" y="5386"/>
                  <a:pt x="813" y="5351"/>
                  <a:pt x="818" y="5316"/>
                </a:cubicBezTo>
                <a:cubicBezTo>
                  <a:pt x="449" y="4790"/>
                  <a:pt x="230" y="4152"/>
                  <a:pt x="230" y="3461"/>
                </a:cubicBezTo>
                <a:cubicBezTo>
                  <a:pt x="230" y="1677"/>
                  <a:pt x="1677" y="231"/>
                  <a:pt x="3461" y="231"/>
                </a:cubicBezTo>
                <a:cubicBezTo>
                  <a:pt x="5245" y="231"/>
                  <a:pt x="6691" y="1677"/>
                  <a:pt x="6691" y="3461"/>
                </a:cubicBezTo>
                <a:cubicBezTo>
                  <a:pt x="6691" y="5245"/>
                  <a:pt x="5245" y="6692"/>
                  <a:pt x="3461" y="6692"/>
                </a:cubicBezTo>
                <a:cubicBezTo>
                  <a:pt x="2770" y="6692"/>
                  <a:pt x="2132" y="6473"/>
                  <a:pt x="1607" y="6104"/>
                </a:cubicBezTo>
                <a:cubicBezTo>
                  <a:pt x="1571" y="6110"/>
                  <a:pt x="1536" y="6115"/>
                  <a:pt x="1500" y="6115"/>
                </a:cubicBezTo>
                <a:cubicBezTo>
                  <a:pt x="1345" y="6115"/>
                  <a:pt x="1203" y="6062"/>
                  <a:pt x="1088" y="5976"/>
                </a:cubicBezTo>
                <a:cubicBezTo>
                  <a:pt x="1707" y="6561"/>
                  <a:pt x="2541" y="6923"/>
                  <a:pt x="3461" y="6923"/>
                </a:cubicBezTo>
                <a:cubicBezTo>
                  <a:pt x="5373" y="6923"/>
                  <a:pt x="6922" y="5373"/>
                  <a:pt x="6922" y="3461"/>
                </a:cubicBezTo>
                <a:cubicBezTo>
                  <a:pt x="6922" y="1550"/>
                  <a:pt x="5373" y="0"/>
                  <a:pt x="3461" y="0"/>
                </a:cubicBezTo>
                <a:close/>
                <a:moveTo>
                  <a:pt x="919" y="5048"/>
                </a:moveTo>
                <a:cubicBezTo>
                  <a:pt x="630" y="4588"/>
                  <a:pt x="461" y="4045"/>
                  <a:pt x="461" y="3461"/>
                </a:cubicBezTo>
                <a:cubicBezTo>
                  <a:pt x="461" y="1805"/>
                  <a:pt x="1804" y="462"/>
                  <a:pt x="3461" y="462"/>
                </a:cubicBezTo>
                <a:cubicBezTo>
                  <a:pt x="5118" y="462"/>
                  <a:pt x="6461" y="1805"/>
                  <a:pt x="6461" y="3461"/>
                </a:cubicBezTo>
                <a:cubicBezTo>
                  <a:pt x="6461" y="5118"/>
                  <a:pt x="5118" y="6461"/>
                  <a:pt x="3461" y="6461"/>
                </a:cubicBezTo>
                <a:cubicBezTo>
                  <a:pt x="2877" y="6461"/>
                  <a:pt x="2335" y="6292"/>
                  <a:pt x="1874" y="6004"/>
                </a:cubicBezTo>
                <a:moveTo>
                  <a:pt x="1607" y="6104"/>
                </a:moveTo>
                <a:cubicBezTo>
                  <a:pt x="2132" y="6473"/>
                  <a:pt x="2770" y="6692"/>
                  <a:pt x="3461" y="6692"/>
                </a:cubicBezTo>
                <a:cubicBezTo>
                  <a:pt x="5245" y="6692"/>
                  <a:pt x="6691" y="5245"/>
                  <a:pt x="6691" y="3461"/>
                </a:cubicBezTo>
                <a:cubicBezTo>
                  <a:pt x="6691" y="1677"/>
                  <a:pt x="5245" y="231"/>
                  <a:pt x="3461" y="231"/>
                </a:cubicBezTo>
                <a:cubicBezTo>
                  <a:pt x="1677" y="231"/>
                  <a:pt x="230" y="1677"/>
                  <a:pt x="230" y="3461"/>
                </a:cubicBezTo>
                <a:cubicBezTo>
                  <a:pt x="230" y="4152"/>
                  <a:pt x="449" y="4790"/>
                  <a:pt x="818" y="5316"/>
                </a:cubicBezTo>
                <a:moveTo>
                  <a:pt x="1082" y="4874"/>
                </a:moveTo>
                <a:cubicBezTo>
                  <a:pt x="836" y="4460"/>
                  <a:pt x="692" y="3978"/>
                  <a:pt x="692" y="3461"/>
                </a:cubicBezTo>
                <a:cubicBezTo>
                  <a:pt x="692" y="1932"/>
                  <a:pt x="1932" y="692"/>
                  <a:pt x="3461" y="692"/>
                </a:cubicBezTo>
                <a:cubicBezTo>
                  <a:pt x="4990" y="692"/>
                  <a:pt x="6230" y="1932"/>
                  <a:pt x="6230" y="3461"/>
                </a:cubicBezTo>
                <a:cubicBezTo>
                  <a:pt x="6230" y="4991"/>
                  <a:pt x="4990" y="6230"/>
                  <a:pt x="3461" y="6230"/>
                </a:cubicBezTo>
                <a:cubicBezTo>
                  <a:pt x="2944" y="6230"/>
                  <a:pt x="2462" y="6086"/>
                  <a:pt x="2049" y="5840"/>
                </a:cubicBezTo>
                <a:cubicBezTo>
                  <a:pt x="2000" y="5904"/>
                  <a:pt x="1942" y="5960"/>
                  <a:pt x="1874" y="6004"/>
                </a:cubicBezTo>
                <a:cubicBezTo>
                  <a:pt x="2335" y="6292"/>
                  <a:pt x="2877" y="6461"/>
                  <a:pt x="3461" y="6461"/>
                </a:cubicBezTo>
                <a:cubicBezTo>
                  <a:pt x="5118" y="6461"/>
                  <a:pt x="6461" y="5118"/>
                  <a:pt x="6461" y="3461"/>
                </a:cubicBezTo>
                <a:cubicBezTo>
                  <a:pt x="6461" y="1805"/>
                  <a:pt x="5118" y="462"/>
                  <a:pt x="3461" y="462"/>
                </a:cubicBezTo>
                <a:cubicBezTo>
                  <a:pt x="1804" y="462"/>
                  <a:pt x="461" y="1805"/>
                  <a:pt x="461" y="3461"/>
                </a:cubicBezTo>
                <a:cubicBezTo>
                  <a:pt x="461" y="4045"/>
                  <a:pt x="630" y="4588"/>
                  <a:pt x="919" y="5048"/>
                </a:cubicBezTo>
                <a:cubicBezTo>
                  <a:pt x="962" y="4981"/>
                  <a:pt x="1018" y="4922"/>
                  <a:pt x="1082" y="4874"/>
                </a:cubicBezTo>
                <a:close/>
                <a:moveTo>
                  <a:pt x="2049" y="5840"/>
                </a:moveTo>
                <a:cubicBezTo>
                  <a:pt x="2462" y="6086"/>
                  <a:pt x="2944" y="6230"/>
                  <a:pt x="3461" y="6230"/>
                </a:cubicBezTo>
                <a:cubicBezTo>
                  <a:pt x="4990" y="6230"/>
                  <a:pt x="6230" y="4991"/>
                  <a:pt x="6230" y="3461"/>
                </a:cubicBezTo>
                <a:cubicBezTo>
                  <a:pt x="6230" y="1932"/>
                  <a:pt x="4990" y="692"/>
                  <a:pt x="3461" y="692"/>
                </a:cubicBezTo>
                <a:cubicBezTo>
                  <a:pt x="1932" y="692"/>
                  <a:pt x="692" y="1932"/>
                  <a:pt x="692" y="3461"/>
                </a:cubicBezTo>
                <a:cubicBezTo>
                  <a:pt x="692" y="3978"/>
                  <a:pt x="836" y="4460"/>
                  <a:pt x="1082" y="4874"/>
                </a:cubicBezTo>
                <a:moveTo>
                  <a:pt x="1287" y="4767"/>
                </a:moveTo>
                <a:cubicBezTo>
                  <a:pt x="1057" y="4385"/>
                  <a:pt x="923" y="3939"/>
                  <a:pt x="923" y="3461"/>
                </a:cubicBezTo>
                <a:cubicBezTo>
                  <a:pt x="923" y="2059"/>
                  <a:pt x="2059" y="923"/>
                  <a:pt x="3461" y="923"/>
                </a:cubicBezTo>
                <a:cubicBezTo>
                  <a:pt x="4863" y="923"/>
                  <a:pt x="5999" y="2059"/>
                  <a:pt x="5999" y="3461"/>
                </a:cubicBezTo>
                <a:cubicBezTo>
                  <a:pt x="5999" y="4863"/>
                  <a:pt x="4863" y="6000"/>
                  <a:pt x="3461" y="6000"/>
                </a:cubicBezTo>
                <a:cubicBezTo>
                  <a:pt x="2983" y="6000"/>
                  <a:pt x="2537" y="5865"/>
                  <a:pt x="2155" y="5635"/>
                </a:cubicBezTo>
                <a:moveTo>
                  <a:pt x="1537" y="4734"/>
                </a:moveTo>
                <a:cubicBezTo>
                  <a:pt x="1295" y="4369"/>
                  <a:pt x="1153" y="3932"/>
                  <a:pt x="1153" y="3461"/>
                </a:cubicBezTo>
                <a:cubicBezTo>
                  <a:pt x="1153" y="2386"/>
                  <a:pt x="1891" y="1484"/>
                  <a:pt x="2887" y="1229"/>
                </a:cubicBezTo>
                <a:cubicBezTo>
                  <a:pt x="3011" y="1044"/>
                  <a:pt x="3222" y="923"/>
                  <a:pt x="3461" y="923"/>
                </a:cubicBezTo>
                <a:cubicBezTo>
                  <a:pt x="2059" y="923"/>
                  <a:pt x="923" y="2059"/>
                  <a:pt x="923" y="3461"/>
                </a:cubicBezTo>
                <a:cubicBezTo>
                  <a:pt x="923" y="3939"/>
                  <a:pt x="1057" y="4385"/>
                  <a:pt x="1287" y="4767"/>
                </a:cubicBezTo>
                <a:cubicBezTo>
                  <a:pt x="1355" y="4745"/>
                  <a:pt x="1425" y="4730"/>
                  <a:pt x="1500" y="4730"/>
                </a:cubicBezTo>
                <a:cubicBezTo>
                  <a:pt x="1512" y="4730"/>
                  <a:pt x="1524" y="4733"/>
                  <a:pt x="1537" y="4734"/>
                </a:cubicBezTo>
                <a:close/>
                <a:moveTo>
                  <a:pt x="4035" y="1229"/>
                </a:moveTo>
                <a:cubicBezTo>
                  <a:pt x="5031" y="1484"/>
                  <a:pt x="5768" y="2386"/>
                  <a:pt x="5768" y="3461"/>
                </a:cubicBezTo>
                <a:cubicBezTo>
                  <a:pt x="5768" y="4736"/>
                  <a:pt x="4735" y="5769"/>
                  <a:pt x="3461" y="5769"/>
                </a:cubicBezTo>
                <a:cubicBezTo>
                  <a:pt x="2990" y="5769"/>
                  <a:pt x="2553" y="5627"/>
                  <a:pt x="2188" y="5385"/>
                </a:cubicBezTo>
                <a:cubicBezTo>
                  <a:pt x="2189" y="5398"/>
                  <a:pt x="2192" y="5410"/>
                  <a:pt x="2192" y="5423"/>
                </a:cubicBezTo>
                <a:cubicBezTo>
                  <a:pt x="2192" y="5497"/>
                  <a:pt x="2177" y="5568"/>
                  <a:pt x="2155" y="5635"/>
                </a:cubicBezTo>
                <a:cubicBezTo>
                  <a:pt x="2537" y="5865"/>
                  <a:pt x="2983" y="6000"/>
                  <a:pt x="3461" y="6000"/>
                </a:cubicBezTo>
                <a:cubicBezTo>
                  <a:pt x="4863" y="6000"/>
                  <a:pt x="5999" y="4863"/>
                  <a:pt x="5999" y="3461"/>
                </a:cubicBezTo>
                <a:cubicBezTo>
                  <a:pt x="5999" y="2059"/>
                  <a:pt x="4863" y="923"/>
                  <a:pt x="3461" y="923"/>
                </a:cubicBezTo>
                <a:cubicBezTo>
                  <a:pt x="3700" y="923"/>
                  <a:pt x="3911" y="1044"/>
                  <a:pt x="4035" y="1229"/>
                </a:cubicBezTo>
                <a:close/>
                <a:moveTo>
                  <a:pt x="5768" y="3461"/>
                </a:moveTo>
                <a:cubicBezTo>
                  <a:pt x="5768" y="2386"/>
                  <a:pt x="5031" y="1484"/>
                  <a:pt x="4035" y="1229"/>
                </a:cubicBezTo>
                <a:cubicBezTo>
                  <a:pt x="4089" y="1309"/>
                  <a:pt x="4125" y="1402"/>
                  <a:pt x="4142" y="1501"/>
                </a:cubicBezTo>
                <a:cubicBezTo>
                  <a:pt x="4954" y="1783"/>
                  <a:pt x="5538" y="2553"/>
                  <a:pt x="5538" y="3461"/>
                </a:cubicBezTo>
                <a:cubicBezTo>
                  <a:pt x="5538" y="4608"/>
                  <a:pt x="4608" y="5538"/>
                  <a:pt x="3461" y="5538"/>
                </a:cubicBezTo>
                <a:cubicBezTo>
                  <a:pt x="2314" y="5538"/>
                  <a:pt x="1384" y="4608"/>
                  <a:pt x="1384" y="3461"/>
                </a:cubicBezTo>
                <a:cubicBezTo>
                  <a:pt x="1384" y="2553"/>
                  <a:pt x="1968" y="1783"/>
                  <a:pt x="2780" y="1501"/>
                </a:cubicBezTo>
                <a:cubicBezTo>
                  <a:pt x="2797" y="1402"/>
                  <a:pt x="2833" y="1309"/>
                  <a:pt x="2887" y="1229"/>
                </a:cubicBezTo>
                <a:cubicBezTo>
                  <a:pt x="1891" y="1484"/>
                  <a:pt x="1153" y="2386"/>
                  <a:pt x="1153" y="3461"/>
                </a:cubicBezTo>
                <a:cubicBezTo>
                  <a:pt x="1153" y="3932"/>
                  <a:pt x="1295" y="4369"/>
                  <a:pt x="1537" y="4734"/>
                </a:cubicBezTo>
                <a:cubicBezTo>
                  <a:pt x="1889" y="4753"/>
                  <a:pt x="2169" y="5033"/>
                  <a:pt x="2188" y="5385"/>
                </a:cubicBezTo>
                <a:cubicBezTo>
                  <a:pt x="2553" y="5627"/>
                  <a:pt x="2990" y="5769"/>
                  <a:pt x="3461" y="5769"/>
                </a:cubicBezTo>
                <a:cubicBezTo>
                  <a:pt x="4735" y="5769"/>
                  <a:pt x="5768" y="4736"/>
                  <a:pt x="5768" y="3461"/>
                </a:cubicBezTo>
                <a:close/>
                <a:moveTo>
                  <a:pt x="2780" y="1501"/>
                </a:moveTo>
                <a:cubicBezTo>
                  <a:pt x="1968" y="1783"/>
                  <a:pt x="1384" y="2553"/>
                  <a:pt x="1384" y="3461"/>
                </a:cubicBezTo>
                <a:cubicBezTo>
                  <a:pt x="1384" y="4608"/>
                  <a:pt x="2314" y="5538"/>
                  <a:pt x="3461" y="5538"/>
                </a:cubicBezTo>
                <a:cubicBezTo>
                  <a:pt x="4608" y="5538"/>
                  <a:pt x="5538" y="4608"/>
                  <a:pt x="5538" y="3461"/>
                </a:cubicBezTo>
                <a:cubicBezTo>
                  <a:pt x="5538" y="2553"/>
                  <a:pt x="4954" y="1783"/>
                  <a:pt x="4142" y="1501"/>
                </a:cubicBezTo>
                <a:moveTo>
                  <a:pt x="4140" y="1746"/>
                </a:moveTo>
                <a:cubicBezTo>
                  <a:pt x="4823" y="2017"/>
                  <a:pt x="5307" y="2682"/>
                  <a:pt x="5307" y="3461"/>
                </a:cubicBezTo>
                <a:cubicBezTo>
                  <a:pt x="5307" y="4481"/>
                  <a:pt x="4480" y="5307"/>
                  <a:pt x="3461" y="5307"/>
                </a:cubicBezTo>
                <a:cubicBezTo>
                  <a:pt x="2441" y="5307"/>
                  <a:pt x="1615" y="4481"/>
                  <a:pt x="1615" y="3461"/>
                </a:cubicBezTo>
                <a:cubicBezTo>
                  <a:pt x="1615" y="2682"/>
                  <a:pt x="2099" y="2017"/>
                  <a:pt x="2782" y="1746"/>
                </a:cubicBezTo>
                <a:moveTo>
                  <a:pt x="5076" y="3461"/>
                </a:moveTo>
                <a:cubicBezTo>
                  <a:pt x="5076" y="4353"/>
                  <a:pt x="4353" y="5077"/>
                  <a:pt x="3461" y="5077"/>
                </a:cubicBezTo>
                <a:cubicBezTo>
                  <a:pt x="2569" y="5077"/>
                  <a:pt x="1846" y="4353"/>
                  <a:pt x="1846" y="3461"/>
                </a:cubicBezTo>
                <a:cubicBezTo>
                  <a:pt x="1846" y="2780"/>
                  <a:pt x="2268" y="2199"/>
                  <a:pt x="2865" y="1961"/>
                </a:cubicBezTo>
                <a:cubicBezTo>
                  <a:pt x="2826" y="1895"/>
                  <a:pt x="2797" y="1823"/>
                  <a:pt x="2782" y="1746"/>
                </a:cubicBezTo>
                <a:cubicBezTo>
                  <a:pt x="2099" y="2017"/>
                  <a:pt x="1615" y="2682"/>
                  <a:pt x="1615" y="3461"/>
                </a:cubicBezTo>
                <a:cubicBezTo>
                  <a:pt x="1615" y="4481"/>
                  <a:pt x="2441" y="5307"/>
                  <a:pt x="3461" y="5307"/>
                </a:cubicBezTo>
                <a:cubicBezTo>
                  <a:pt x="4480" y="5307"/>
                  <a:pt x="5307" y="4481"/>
                  <a:pt x="5307" y="3461"/>
                </a:cubicBezTo>
                <a:cubicBezTo>
                  <a:pt x="5307" y="2682"/>
                  <a:pt x="4823" y="2017"/>
                  <a:pt x="4140" y="1746"/>
                </a:cubicBezTo>
                <a:cubicBezTo>
                  <a:pt x="4125" y="1823"/>
                  <a:pt x="4096" y="1895"/>
                  <a:pt x="4057" y="1961"/>
                </a:cubicBezTo>
                <a:cubicBezTo>
                  <a:pt x="4654" y="2199"/>
                  <a:pt x="5076" y="2780"/>
                  <a:pt x="5076" y="3461"/>
                </a:cubicBezTo>
                <a:close/>
                <a:moveTo>
                  <a:pt x="2865" y="1961"/>
                </a:moveTo>
                <a:cubicBezTo>
                  <a:pt x="2268" y="2199"/>
                  <a:pt x="1846" y="2780"/>
                  <a:pt x="1846" y="3461"/>
                </a:cubicBezTo>
                <a:cubicBezTo>
                  <a:pt x="1846" y="4353"/>
                  <a:pt x="2569" y="5077"/>
                  <a:pt x="3461" y="5077"/>
                </a:cubicBezTo>
                <a:cubicBezTo>
                  <a:pt x="4353" y="5077"/>
                  <a:pt x="5076" y="4353"/>
                  <a:pt x="5076" y="3461"/>
                </a:cubicBezTo>
                <a:cubicBezTo>
                  <a:pt x="5076" y="3728"/>
                  <a:pt x="4923" y="3958"/>
                  <a:pt x="4702" y="4073"/>
                </a:cubicBezTo>
                <a:cubicBezTo>
                  <a:pt x="4476" y="4530"/>
                  <a:pt x="4006" y="4846"/>
                  <a:pt x="3461" y="4846"/>
                </a:cubicBezTo>
                <a:cubicBezTo>
                  <a:pt x="2696" y="4846"/>
                  <a:pt x="2076" y="4226"/>
                  <a:pt x="2076" y="3461"/>
                </a:cubicBezTo>
                <a:cubicBezTo>
                  <a:pt x="2076" y="2849"/>
                  <a:pt x="2474" y="2331"/>
                  <a:pt x="3024" y="2148"/>
                </a:cubicBezTo>
                <a:moveTo>
                  <a:pt x="3898" y="2148"/>
                </a:moveTo>
                <a:cubicBezTo>
                  <a:pt x="4250" y="2265"/>
                  <a:pt x="4539" y="2520"/>
                  <a:pt x="4702" y="2850"/>
                </a:cubicBezTo>
                <a:cubicBezTo>
                  <a:pt x="4923" y="2965"/>
                  <a:pt x="5076" y="3194"/>
                  <a:pt x="5076" y="3461"/>
                </a:cubicBezTo>
                <a:cubicBezTo>
                  <a:pt x="5076" y="2780"/>
                  <a:pt x="4654" y="2199"/>
                  <a:pt x="4057" y="1961"/>
                </a:cubicBezTo>
                <a:moveTo>
                  <a:pt x="4702" y="2850"/>
                </a:moveTo>
                <a:cubicBezTo>
                  <a:pt x="4539" y="2520"/>
                  <a:pt x="4250" y="2265"/>
                  <a:pt x="3898" y="2148"/>
                </a:cubicBezTo>
                <a:cubicBezTo>
                  <a:pt x="3778" y="2246"/>
                  <a:pt x="3628" y="2308"/>
                  <a:pt x="3461" y="2308"/>
                </a:cubicBezTo>
                <a:cubicBezTo>
                  <a:pt x="3838" y="2308"/>
                  <a:pt x="4172" y="2489"/>
                  <a:pt x="4382" y="2769"/>
                </a:cubicBezTo>
                <a:cubicBezTo>
                  <a:pt x="4383" y="2769"/>
                  <a:pt x="4383" y="2769"/>
                  <a:pt x="4384" y="2769"/>
                </a:cubicBezTo>
                <a:moveTo>
                  <a:pt x="4384" y="4154"/>
                </a:moveTo>
                <a:cubicBezTo>
                  <a:pt x="4383" y="4154"/>
                  <a:pt x="4383" y="4153"/>
                  <a:pt x="4382" y="4153"/>
                </a:cubicBezTo>
                <a:cubicBezTo>
                  <a:pt x="4172" y="4433"/>
                  <a:pt x="3838" y="4615"/>
                  <a:pt x="3461" y="4615"/>
                </a:cubicBezTo>
                <a:cubicBezTo>
                  <a:pt x="2824" y="4615"/>
                  <a:pt x="2307" y="4098"/>
                  <a:pt x="2307" y="3461"/>
                </a:cubicBezTo>
                <a:cubicBezTo>
                  <a:pt x="2307" y="2824"/>
                  <a:pt x="2824" y="2308"/>
                  <a:pt x="3461" y="2308"/>
                </a:cubicBezTo>
                <a:cubicBezTo>
                  <a:pt x="3294" y="2308"/>
                  <a:pt x="3144" y="2246"/>
                  <a:pt x="3024" y="2148"/>
                </a:cubicBezTo>
                <a:cubicBezTo>
                  <a:pt x="2474" y="2331"/>
                  <a:pt x="2076" y="2849"/>
                  <a:pt x="2076" y="3461"/>
                </a:cubicBezTo>
                <a:cubicBezTo>
                  <a:pt x="2076" y="4226"/>
                  <a:pt x="2696" y="4846"/>
                  <a:pt x="3461" y="4846"/>
                </a:cubicBezTo>
                <a:cubicBezTo>
                  <a:pt x="4006" y="4846"/>
                  <a:pt x="4476" y="4530"/>
                  <a:pt x="4702" y="4073"/>
                </a:cubicBezTo>
                <a:moveTo>
                  <a:pt x="2307" y="3461"/>
                </a:moveTo>
                <a:cubicBezTo>
                  <a:pt x="2307" y="4098"/>
                  <a:pt x="2824" y="4615"/>
                  <a:pt x="3461" y="4615"/>
                </a:cubicBezTo>
                <a:cubicBezTo>
                  <a:pt x="3838" y="4615"/>
                  <a:pt x="4172" y="4433"/>
                  <a:pt x="4382" y="4153"/>
                </a:cubicBezTo>
                <a:cubicBezTo>
                  <a:pt x="4291" y="4153"/>
                  <a:pt x="4204" y="4135"/>
                  <a:pt x="4123" y="4102"/>
                </a:cubicBezTo>
                <a:cubicBezTo>
                  <a:pt x="3956" y="4275"/>
                  <a:pt x="3721" y="4384"/>
                  <a:pt x="3461" y="4384"/>
                </a:cubicBezTo>
                <a:cubicBezTo>
                  <a:pt x="2951" y="4384"/>
                  <a:pt x="2538" y="3971"/>
                  <a:pt x="2538" y="3461"/>
                </a:cubicBezTo>
                <a:cubicBezTo>
                  <a:pt x="2538" y="2952"/>
                  <a:pt x="2951" y="2538"/>
                  <a:pt x="3461" y="2538"/>
                </a:cubicBezTo>
                <a:cubicBezTo>
                  <a:pt x="3721" y="2538"/>
                  <a:pt x="3956" y="2647"/>
                  <a:pt x="4123" y="2821"/>
                </a:cubicBezTo>
                <a:cubicBezTo>
                  <a:pt x="4204" y="2788"/>
                  <a:pt x="4291" y="2769"/>
                  <a:pt x="4382" y="2769"/>
                </a:cubicBezTo>
                <a:cubicBezTo>
                  <a:pt x="4172" y="2489"/>
                  <a:pt x="3838" y="2308"/>
                  <a:pt x="3461" y="2308"/>
                </a:cubicBezTo>
                <a:cubicBezTo>
                  <a:pt x="2824" y="2308"/>
                  <a:pt x="2307" y="2824"/>
                  <a:pt x="2307" y="3461"/>
                </a:cubicBezTo>
                <a:close/>
                <a:moveTo>
                  <a:pt x="3692" y="3461"/>
                </a:moveTo>
                <a:cubicBezTo>
                  <a:pt x="3692" y="3171"/>
                  <a:pt x="3870" y="2924"/>
                  <a:pt x="4123" y="2821"/>
                </a:cubicBezTo>
                <a:cubicBezTo>
                  <a:pt x="3956" y="2647"/>
                  <a:pt x="3721" y="2538"/>
                  <a:pt x="3461" y="2538"/>
                </a:cubicBezTo>
                <a:cubicBezTo>
                  <a:pt x="2951" y="2538"/>
                  <a:pt x="2538" y="2952"/>
                  <a:pt x="2538" y="3461"/>
                </a:cubicBezTo>
                <a:cubicBezTo>
                  <a:pt x="2538" y="3971"/>
                  <a:pt x="2951" y="4384"/>
                  <a:pt x="3461" y="4384"/>
                </a:cubicBezTo>
                <a:cubicBezTo>
                  <a:pt x="3721" y="4384"/>
                  <a:pt x="3956" y="4275"/>
                  <a:pt x="4123" y="4102"/>
                </a:cubicBezTo>
                <a:cubicBezTo>
                  <a:pt x="3870" y="3999"/>
                  <a:pt x="3692" y="3751"/>
                  <a:pt x="3692" y="3461"/>
                </a:cubicBezTo>
                <a:close/>
                <a:moveTo>
                  <a:pt x="3882" y="1427"/>
                </a:moveTo>
                <a:cubicBezTo>
                  <a:pt x="3810" y="1266"/>
                  <a:pt x="3649" y="1154"/>
                  <a:pt x="3461" y="1154"/>
                </a:cubicBezTo>
                <a:cubicBezTo>
                  <a:pt x="3273" y="1154"/>
                  <a:pt x="3112" y="1266"/>
                  <a:pt x="3040" y="1427"/>
                </a:cubicBezTo>
                <a:moveTo>
                  <a:pt x="3233" y="1631"/>
                </a:moveTo>
                <a:cubicBezTo>
                  <a:pt x="3233" y="1625"/>
                  <a:pt x="3230" y="1621"/>
                  <a:pt x="3230" y="1615"/>
                </a:cubicBezTo>
                <a:cubicBezTo>
                  <a:pt x="3230" y="1488"/>
                  <a:pt x="3333" y="1385"/>
                  <a:pt x="3461" y="1385"/>
                </a:cubicBezTo>
                <a:moveTo>
                  <a:pt x="3040" y="1427"/>
                </a:moveTo>
                <a:cubicBezTo>
                  <a:pt x="3014" y="1485"/>
                  <a:pt x="2999" y="1548"/>
                  <a:pt x="2999" y="1615"/>
                </a:cubicBezTo>
                <a:cubicBezTo>
                  <a:pt x="2999" y="1635"/>
                  <a:pt x="3003" y="1655"/>
                  <a:pt x="3005" y="1674"/>
                </a:cubicBezTo>
                <a:moveTo>
                  <a:pt x="3916" y="1674"/>
                </a:moveTo>
                <a:cubicBezTo>
                  <a:pt x="3919" y="1655"/>
                  <a:pt x="3922" y="1635"/>
                  <a:pt x="3922" y="1615"/>
                </a:cubicBezTo>
                <a:cubicBezTo>
                  <a:pt x="3922" y="1548"/>
                  <a:pt x="3907" y="1485"/>
                  <a:pt x="3882" y="1427"/>
                </a:cubicBezTo>
                <a:moveTo>
                  <a:pt x="3461" y="1385"/>
                </a:moveTo>
                <a:cubicBezTo>
                  <a:pt x="3588" y="1385"/>
                  <a:pt x="3692" y="1488"/>
                  <a:pt x="3692" y="1615"/>
                </a:cubicBezTo>
                <a:cubicBezTo>
                  <a:pt x="3692" y="1621"/>
                  <a:pt x="3689" y="1625"/>
                  <a:pt x="3689" y="1631"/>
                </a:cubicBezTo>
                <a:moveTo>
                  <a:pt x="3005" y="1674"/>
                </a:moveTo>
                <a:cubicBezTo>
                  <a:pt x="3016" y="1755"/>
                  <a:pt x="3046" y="1828"/>
                  <a:pt x="3092" y="1890"/>
                </a:cubicBezTo>
                <a:moveTo>
                  <a:pt x="3461" y="1846"/>
                </a:moveTo>
                <a:cubicBezTo>
                  <a:pt x="3339" y="1846"/>
                  <a:pt x="3242" y="1751"/>
                  <a:pt x="3233" y="1631"/>
                </a:cubicBezTo>
                <a:moveTo>
                  <a:pt x="3830" y="1890"/>
                </a:moveTo>
                <a:cubicBezTo>
                  <a:pt x="3876" y="1828"/>
                  <a:pt x="3906" y="1755"/>
                  <a:pt x="3916" y="1674"/>
                </a:cubicBezTo>
                <a:moveTo>
                  <a:pt x="3689" y="1631"/>
                </a:moveTo>
                <a:cubicBezTo>
                  <a:pt x="3680" y="1751"/>
                  <a:pt x="3583" y="1846"/>
                  <a:pt x="3461" y="1846"/>
                </a:cubicBezTo>
                <a:moveTo>
                  <a:pt x="3092" y="1890"/>
                </a:moveTo>
                <a:cubicBezTo>
                  <a:pt x="3176" y="2003"/>
                  <a:pt x="3309" y="2077"/>
                  <a:pt x="3461" y="2077"/>
                </a:cubicBezTo>
                <a:cubicBezTo>
                  <a:pt x="3612" y="2077"/>
                  <a:pt x="3746" y="2003"/>
                  <a:pt x="3830" y="1890"/>
                </a:cubicBezTo>
                <a:moveTo>
                  <a:pt x="4702" y="4073"/>
                </a:moveTo>
                <a:cubicBezTo>
                  <a:pt x="4923" y="3958"/>
                  <a:pt x="5076" y="3728"/>
                  <a:pt x="5076" y="3461"/>
                </a:cubicBezTo>
                <a:cubicBezTo>
                  <a:pt x="5076" y="3194"/>
                  <a:pt x="4923" y="2965"/>
                  <a:pt x="4702" y="2850"/>
                </a:cubicBezTo>
                <a:moveTo>
                  <a:pt x="4529" y="3025"/>
                </a:moveTo>
                <a:cubicBezTo>
                  <a:pt x="4712" y="3086"/>
                  <a:pt x="4845" y="3257"/>
                  <a:pt x="4845" y="3461"/>
                </a:cubicBezTo>
                <a:moveTo>
                  <a:pt x="4529" y="3897"/>
                </a:moveTo>
                <a:cubicBezTo>
                  <a:pt x="4712" y="3836"/>
                  <a:pt x="4845" y="3665"/>
                  <a:pt x="4845" y="3461"/>
                </a:cubicBezTo>
                <a:cubicBezTo>
                  <a:pt x="4845" y="3257"/>
                  <a:pt x="4712" y="3086"/>
                  <a:pt x="4529" y="3025"/>
                </a:cubicBezTo>
                <a:moveTo>
                  <a:pt x="4615" y="3461"/>
                </a:moveTo>
                <a:cubicBezTo>
                  <a:pt x="4615" y="3589"/>
                  <a:pt x="4511" y="3692"/>
                  <a:pt x="4384" y="3692"/>
                </a:cubicBezTo>
                <a:cubicBezTo>
                  <a:pt x="4373" y="3692"/>
                  <a:pt x="4364" y="3687"/>
                  <a:pt x="4353" y="3686"/>
                </a:cubicBezTo>
                <a:moveTo>
                  <a:pt x="4265" y="3905"/>
                </a:moveTo>
                <a:cubicBezTo>
                  <a:pt x="4303" y="3916"/>
                  <a:pt x="4343" y="3923"/>
                  <a:pt x="4384" y="3923"/>
                </a:cubicBezTo>
                <a:cubicBezTo>
                  <a:pt x="4435" y="3923"/>
                  <a:pt x="4483" y="3913"/>
                  <a:pt x="4529" y="3897"/>
                </a:cubicBezTo>
                <a:moveTo>
                  <a:pt x="4529" y="3025"/>
                </a:moveTo>
                <a:cubicBezTo>
                  <a:pt x="4483" y="3010"/>
                  <a:pt x="4435" y="3000"/>
                  <a:pt x="4384" y="3000"/>
                </a:cubicBezTo>
                <a:cubicBezTo>
                  <a:pt x="4343" y="3000"/>
                  <a:pt x="4303" y="3007"/>
                  <a:pt x="4265" y="3017"/>
                </a:cubicBezTo>
                <a:moveTo>
                  <a:pt x="4353" y="3237"/>
                </a:moveTo>
                <a:cubicBezTo>
                  <a:pt x="4364" y="3235"/>
                  <a:pt x="4373" y="3231"/>
                  <a:pt x="4384" y="3231"/>
                </a:cubicBezTo>
                <a:cubicBezTo>
                  <a:pt x="4511" y="3231"/>
                  <a:pt x="4615" y="3334"/>
                  <a:pt x="4615" y="3461"/>
                </a:cubicBezTo>
                <a:moveTo>
                  <a:pt x="4353" y="3686"/>
                </a:moveTo>
                <a:cubicBezTo>
                  <a:pt x="4241" y="3670"/>
                  <a:pt x="4153" y="3578"/>
                  <a:pt x="4153" y="3461"/>
                </a:cubicBezTo>
                <a:cubicBezTo>
                  <a:pt x="4153" y="3345"/>
                  <a:pt x="4241" y="3252"/>
                  <a:pt x="4353" y="3237"/>
                </a:cubicBezTo>
                <a:moveTo>
                  <a:pt x="4265" y="3017"/>
                </a:moveTo>
                <a:cubicBezTo>
                  <a:pt x="4068" y="3070"/>
                  <a:pt x="3922" y="3248"/>
                  <a:pt x="3922" y="3461"/>
                </a:cubicBezTo>
                <a:cubicBezTo>
                  <a:pt x="3922" y="3675"/>
                  <a:pt x="4068" y="3853"/>
                  <a:pt x="4265" y="3905"/>
                </a:cubicBezTo>
                <a:moveTo>
                  <a:pt x="946" y="5835"/>
                </a:moveTo>
                <a:cubicBezTo>
                  <a:pt x="986" y="5888"/>
                  <a:pt x="1034" y="5936"/>
                  <a:pt x="1088" y="5976"/>
                </a:cubicBezTo>
                <a:cubicBezTo>
                  <a:pt x="1039" y="5930"/>
                  <a:pt x="992" y="5883"/>
                  <a:pt x="946" y="5835"/>
                </a:cubicBezTo>
                <a:close/>
                <a:moveTo>
                  <a:pt x="1116" y="5679"/>
                </a:moveTo>
                <a:cubicBezTo>
                  <a:pt x="1138" y="5712"/>
                  <a:pt x="1164" y="5742"/>
                  <a:pt x="1194" y="5768"/>
                </a:cubicBezTo>
                <a:cubicBezTo>
                  <a:pt x="1210" y="5782"/>
                  <a:pt x="1226" y="5795"/>
                  <a:pt x="1244" y="5806"/>
                </a:cubicBezTo>
                <a:moveTo>
                  <a:pt x="1364" y="5604"/>
                </a:moveTo>
                <a:cubicBezTo>
                  <a:pt x="1346" y="5591"/>
                  <a:pt x="1331" y="5576"/>
                  <a:pt x="1318" y="5558"/>
                </a:cubicBezTo>
                <a:moveTo>
                  <a:pt x="1244" y="5806"/>
                </a:moveTo>
                <a:cubicBezTo>
                  <a:pt x="1317" y="5855"/>
                  <a:pt x="1405" y="5884"/>
                  <a:pt x="1500" y="5884"/>
                </a:cubicBezTo>
                <a:cubicBezTo>
                  <a:pt x="1555" y="5884"/>
                  <a:pt x="1608" y="5873"/>
                  <a:pt x="1658" y="5855"/>
                </a:cubicBezTo>
                <a:moveTo>
                  <a:pt x="1068" y="5264"/>
                </a:moveTo>
                <a:cubicBezTo>
                  <a:pt x="1049" y="5314"/>
                  <a:pt x="1038" y="5367"/>
                  <a:pt x="1038" y="5423"/>
                </a:cubicBezTo>
                <a:cubicBezTo>
                  <a:pt x="1038" y="5517"/>
                  <a:pt x="1067" y="5605"/>
                  <a:pt x="1116" y="5679"/>
                </a:cubicBezTo>
                <a:moveTo>
                  <a:pt x="1318" y="5558"/>
                </a:moveTo>
                <a:cubicBezTo>
                  <a:pt x="1289" y="5520"/>
                  <a:pt x="1269" y="5474"/>
                  <a:pt x="1269" y="5423"/>
                </a:cubicBezTo>
                <a:cubicBezTo>
                  <a:pt x="1269" y="5353"/>
                  <a:pt x="1301" y="5293"/>
                  <a:pt x="1350" y="5251"/>
                </a:cubicBezTo>
                <a:moveTo>
                  <a:pt x="1208" y="5067"/>
                </a:moveTo>
                <a:cubicBezTo>
                  <a:pt x="1145" y="5119"/>
                  <a:pt x="1096" y="5186"/>
                  <a:pt x="1068" y="5264"/>
                </a:cubicBezTo>
                <a:moveTo>
                  <a:pt x="1658" y="5855"/>
                </a:moveTo>
                <a:cubicBezTo>
                  <a:pt x="1736" y="5826"/>
                  <a:pt x="1803" y="5777"/>
                  <a:pt x="1855" y="5714"/>
                </a:cubicBezTo>
                <a:moveTo>
                  <a:pt x="1672" y="5573"/>
                </a:moveTo>
                <a:cubicBezTo>
                  <a:pt x="1629" y="5621"/>
                  <a:pt x="1569" y="5653"/>
                  <a:pt x="1500" y="5653"/>
                </a:cubicBezTo>
                <a:cubicBezTo>
                  <a:pt x="1448" y="5653"/>
                  <a:pt x="1402" y="5633"/>
                  <a:pt x="1364" y="5604"/>
                </a:cubicBezTo>
                <a:moveTo>
                  <a:pt x="1422" y="4969"/>
                </a:moveTo>
                <a:cubicBezTo>
                  <a:pt x="1342" y="4983"/>
                  <a:pt x="1269" y="5018"/>
                  <a:pt x="1208" y="5067"/>
                </a:cubicBezTo>
                <a:moveTo>
                  <a:pt x="1855" y="5714"/>
                </a:moveTo>
                <a:cubicBezTo>
                  <a:pt x="1905" y="5653"/>
                  <a:pt x="1940" y="5581"/>
                  <a:pt x="1953" y="5500"/>
                </a:cubicBezTo>
                <a:moveTo>
                  <a:pt x="1350" y="5251"/>
                </a:moveTo>
                <a:cubicBezTo>
                  <a:pt x="1390" y="5215"/>
                  <a:pt x="1442" y="5192"/>
                  <a:pt x="1500" y="5192"/>
                </a:cubicBezTo>
                <a:cubicBezTo>
                  <a:pt x="1627" y="5192"/>
                  <a:pt x="1730" y="5295"/>
                  <a:pt x="1730" y="5423"/>
                </a:cubicBezTo>
                <a:cubicBezTo>
                  <a:pt x="1730" y="5481"/>
                  <a:pt x="1707" y="5532"/>
                  <a:pt x="1672" y="5573"/>
                </a:cubicBezTo>
                <a:moveTo>
                  <a:pt x="1953" y="5500"/>
                </a:moveTo>
                <a:cubicBezTo>
                  <a:pt x="1958" y="5475"/>
                  <a:pt x="1961" y="5449"/>
                  <a:pt x="1961" y="5423"/>
                </a:cubicBezTo>
                <a:cubicBezTo>
                  <a:pt x="1961" y="5168"/>
                  <a:pt x="1754" y="4961"/>
                  <a:pt x="1500" y="4961"/>
                </a:cubicBezTo>
                <a:cubicBezTo>
                  <a:pt x="1473" y="4961"/>
                  <a:pt x="1448" y="4965"/>
                  <a:pt x="1422" y="4969"/>
                </a:cubicBezTo>
                <a:moveTo>
                  <a:pt x="1318" y="5558"/>
                </a:moveTo>
                <a:cubicBezTo>
                  <a:pt x="1331" y="5576"/>
                  <a:pt x="1346" y="5591"/>
                  <a:pt x="1364" y="5604"/>
                </a:cubicBezTo>
                <a:cubicBezTo>
                  <a:pt x="1348" y="5589"/>
                  <a:pt x="1333" y="5574"/>
                  <a:pt x="1318" y="5558"/>
                </a:cubicBezTo>
                <a:close/>
                <a:moveTo>
                  <a:pt x="1350" y="5251"/>
                </a:moveTo>
                <a:cubicBezTo>
                  <a:pt x="1301" y="5293"/>
                  <a:pt x="1269" y="5353"/>
                  <a:pt x="1269" y="5423"/>
                </a:cubicBezTo>
                <a:cubicBezTo>
                  <a:pt x="1269" y="5474"/>
                  <a:pt x="1289" y="5520"/>
                  <a:pt x="1318" y="5558"/>
                </a:cubicBezTo>
                <a:cubicBezTo>
                  <a:pt x="1333" y="5574"/>
                  <a:pt x="1348" y="5589"/>
                  <a:pt x="1364" y="5604"/>
                </a:cubicBezTo>
                <a:cubicBezTo>
                  <a:pt x="1402" y="5633"/>
                  <a:pt x="1448" y="5653"/>
                  <a:pt x="1500" y="5653"/>
                </a:cubicBezTo>
                <a:cubicBezTo>
                  <a:pt x="1569" y="5653"/>
                  <a:pt x="1629" y="5621"/>
                  <a:pt x="1672" y="5573"/>
                </a:cubicBezTo>
                <a:moveTo>
                  <a:pt x="1672" y="5573"/>
                </a:moveTo>
                <a:cubicBezTo>
                  <a:pt x="1707" y="5532"/>
                  <a:pt x="1730" y="5481"/>
                  <a:pt x="1730" y="5423"/>
                </a:cubicBezTo>
                <a:cubicBezTo>
                  <a:pt x="1730" y="5295"/>
                  <a:pt x="1627" y="5192"/>
                  <a:pt x="1500" y="5192"/>
                </a:cubicBezTo>
                <a:cubicBezTo>
                  <a:pt x="1442" y="5192"/>
                  <a:pt x="1390" y="5215"/>
                  <a:pt x="1350" y="5251"/>
                </a:cubicBezTo>
              </a:path>
            </a:pathLst>
          </a:custGeom>
          <a:noFill/>
          <a:ln w="14288" cap="flat">
            <a:solidFill>
              <a:srgbClr val="F3E03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4147375" y="1151790"/>
            <a:ext cx="8691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0" noProof="0" dirty="0" smtClean="0">
                <a:solidFill>
                  <a:schemeClr val="accent1"/>
                </a:solidFill>
              </a:rPr>
              <a:t>CONTACT</a:t>
            </a:r>
            <a:endParaRPr lang="en-US" sz="1100" b="0" noProof="0" dirty="0">
              <a:solidFill>
                <a:schemeClr val="accent1"/>
              </a:solidFill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75831" y="139633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err="1" smtClean="0"/>
              <a:t>Firstname</a:t>
            </a:r>
            <a:r>
              <a:rPr lang="en-US" noProof="0" dirty="0" smtClean="0"/>
              <a:t> NAME</a:t>
            </a:r>
            <a:endParaRPr lang="en-US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175831" y="1567489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Job Title / Service</a:t>
            </a:r>
            <a:endParaRPr lang="en-US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831" y="1738648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Department</a:t>
            </a:r>
            <a:endParaRPr lang="en-US" noProof="0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175831" y="1988446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irstname.lastname@idemia.com</a:t>
            </a:r>
            <a:endParaRPr lang="en-US" noProof="0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75831" y="2241025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P. +33 (0) 00 00 00 00</a:t>
            </a:r>
            <a:endParaRPr lang="en-US" noProof="0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75831" y="2424947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M. +33 (0) 00 00 00 00</a:t>
            </a:r>
            <a:endParaRPr lang="en-US" noProof="0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175831" y="2608870"/>
            <a:ext cx="2812238" cy="257671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spcBef>
                <a:spcPts val="0"/>
              </a:spcBef>
              <a:buNone/>
              <a:defRPr sz="1000" b="0" baseline="0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 smtClean="0"/>
              <a:t>F. +33 (0) 00 00 00 00</a:t>
            </a:r>
            <a:endParaRPr lang="en-US" noProof="0" dirty="0"/>
          </a:p>
        </p:txBody>
      </p:sp>
      <p:grpSp>
        <p:nvGrpSpPr>
          <p:cNvPr id="32" name="Group 31"/>
          <p:cNvGrpSpPr/>
          <p:nvPr/>
        </p:nvGrpSpPr>
        <p:grpSpPr>
          <a:xfrm>
            <a:off x="3547269" y="3258727"/>
            <a:ext cx="2049463" cy="51752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33" name="Freeform 5"/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/>
            </a:p>
          </p:txBody>
        </p:sp>
      </p:grpSp>
      <p:pic>
        <p:nvPicPr>
          <p:cNvPr id="38" name="Picture 3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884" y="4187532"/>
            <a:ext cx="2144232" cy="5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140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for background picture">
    <p:bg>
      <p:bgPr>
        <a:solidFill>
          <a:srgbClr val="ADD5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5"/>
          <p:cNvSpPr>
            <a:spLocks noEditPoints="1"/>
          </p:cNvSpPr>
          <p:nvPr/>
        </p:nvSpPr>
        <p:spPr bwMode="auto">
          <a:xfrm>
            <a:off x="4359276" y="-327025"/>
            <a:ext cx="4581526" cy="4872038"/>
          </a:xfrm>
          <a:custGeom>
            <a:avLst/>
            <a:gdLst>
              <a:gd name="T0" fmla="*/ 4641 w 7350"/>
              <a:gd name="T1" fmla="*/ 6558 h 7827"/>
              <a:gd name="T2" fmla="*/ 5275 w 7350"/>
              <a:gd name="T3" fmla="*/ 6769 h 7827"/>
              <a:gd name="T4" fmla="*/ 4641 w 7350"/>
              <a:gd name="T5" fmla="*/ 6981 h 7827"/>
              <a:gd name="T6" fmla="*/ 5275 w 7350"/>
              <a:gd name="T7" fmla="*/ 7192 h 7827"/>
              <a:gd name="T8" fmla="*/ 5698 w 7350"/>
              <a:gd name="T9" fmla="*/ 5923 h 7827"/>
              <a:gd name="T10" fmla="*/ 4995 w 7350"/>
              <a:gd name="T11" fmla="*/ 1746 h 7827"/>
              <a:gd name="T12" fmla="*/ 5698 w 7350"/>
              <a:gd name="T13" fmla="*/ 4019 h 7827"/>
              <a:gd name="T14" fmla="*/ 5698 w 7350"/>
              <a:gd name="T15" fmla="*/ 5288 h 7827"/>
              <a:gd name="T16" fmla="*/ 5698 w 7350"/>
              <a:gd name="T17" fmla="*/ 5923 h 7827"/>
              <a:gd name="T18" fmla="*/ 6022 w 7350"/>
              <a:gd name="T19" fmla="*/ 2924 h 7827"/>
              <a:gd name="T20" fmla="*/ 5291 w 7350"/>
              <a:gd name="T21" fmla="*/ 1416 h 7827"/>
              <a:gd name="T22" fmla="*/ 3596 w 7350"/>
              <a:gd name="T23" fmla="*/ 637 h 7827"/>
              <a:gd name="T24" fmla="*/ 6346 w 7350"/>
              <a:gd name="T25" fmla="*/ 4019 h 7827"/>
              <a:gd name="T26" fmla="*/ 6629 w 7350"/>
              <a:gd name="T27" fmla="*/ 2691 h 7827"/>
              <a:gd name="T28" fmla="*/ 5637 w 7350"/>
              <a:gd name="T29" fmla="*/ 898 h 7827"/>
              <a:gd name="T30" fmla="*/ 3596 w 7350"/>
              <a:gd name="T31" fmla="*/ 1 h 7827"/>
              <a:gd name="T32" fmla="*/ 6980 w 7350"/>
              <a:gd name="T33" fmla="*/ 4019 h 7827"/>
              <a:gd name="T34" fmla="*/ 6241 w 7350"/>
              <a:gd name="T35" fmla="*/ 4972 h 7827"/>
              <a:gd name="T36" fmla="*/ 6007 w 7350"/>
              <a:gd name="T37" fmla="*/ 5626 h 7827"/>
              <a:gd name="T38" fmla="*/ 6137 w 7350"/>
              <a:gd name="T39" fmla="*/ 4014 h 7827"/>
              <a:gd name="T40" fmla="*/ 6225 w 7350"/>
              <a:gd name="T41" fmla="*/ 5288 h 7827"/>
              <a:gd name="T42" fmla="*/ 6200 w 7350"/>
              <a:gd name="T43" fmla="*/ 5791 h 7827"/>
              <a:gd name="T44" fmla="*/ 6346 w 7350"/>
              <a:gd name="T45" fmla="*/ 4019 h 7827"/>
              <a:gd name="T46" fmla="*/ 6331 w 7350"/>
              <a:gd name="T47" fmla="*/ 5289 h 7827"/>
              <a:gd name="T48" fmla="*/ 6346 w 7350"/>
              <a:gd name="T49" fmla="*/ 5923 h 7827"/>
              <a:gd name="T50" fmla="*/ 6875 w 7350"/>
              <a:gd name="T51" fmla="*/ 4972 h 7827"/>
              <a:gd name="T52" fmla="*/ 6642 w 7350"/>
              <a:gd name="T53" fmla="*/ 5626 h 7827"/>
              <a:gd name="T54" fmla="*/ 6771 w 7350"/>
              <a:gd name="T55" fmla="*/ 4014 h 7827"/>
              <a:gd name="T56" fmla="*/ 6859 w 7350"/>
              <a:gd name="T57" fmla="*/ 5288 h 7827"/>
              <a:gd name="T58" fmla="*/ 6835 w 7350"/>
              <a:gd name="T59" fmla="*/ 5791 h 7827"/>
              <a:gd name="T60" fmla="*/ 6980 w 7350"/>
              <a:gd name="T61" fmla="*/ 4019 h 7827"/>
              <a:gd name="T62" fmla="*/ 6965 w 7350"/>
              <a:gd name="T63" fmla="*/ 5289 h 7827"/>
              <a:gd name="T64" fmla="*/ 6980 w 7350"/>
              <a:gd name="T65" fmla="*/ 5923 h 7827"/>
              <a:gd name="T66" fmla="*/ 4429 w 7350"/>
              <a:gd name="T67" fmla="*/ 7192 h 7827"/>
              <a:gd name="T68" fmla="*/ 4641 w 7350"/>
              <a:gd name="T69" fmla="*/ 7827 h 7827"/>
              <a:gd name="T70" fmla="*/ 4641 w 7350"/>
              <a:gd name="T71" fmla="*/ 7615 h 7827"/>
              <a:gd name="T72" fmla="*/ 5275 w 7350"/>
              <a:gd name="T73" fmla="*/ 7615 h 7827"/>
              <a:gd name="T74" fmla="*/ 4217 w 7350"/>
              <a:gd name="T75" fmla="*/ 7192 h 7827"/>
              <a:gd name="T76" fmla="*/ 4641 w 7350"/>
              <a:gd name="T77" fmla="*/ 7404 h 7827"/>
              <a:gd name="T78" fmla="*/ 6134 w 7350"/>
              <a:gd name="T79" fmla="*/ 6135 h 7827"/>
              <a:gd name="T80" fmla="*/ 5275 w 7350"/>
              <a:gd name="T81" fmla="*/ 7192 h 7827"/>
              <a:gd name="T82" fmla="*/ 6769 w 7350"/>
              <a:gd name="T83" fmla="*/ 6135 h 7827"/>
              <a:gd name="T84" fmla="*/ 5275 w 7350"/>
              <a:gd name="T85" fmla="*/ 7827 h 7827"/>
              <a:gd name="T86" fmla="*/ 6134 w 7350"/>
              <a:gd name="T87" fmla="*/ 5923 h 7827"/>
              <a:gd name="T88" fmla="*/ 6346 w 7350"/>
              <a:gd name="T89" fmla="*/ 6135 h 7827"/>
              <a:gd name="T90" fmla="*/ 6769 w 7350"/>
              <a:gd name="T91" fmla="*/ 5923 h 7827"/>
              <a:gd name="T92" fmla="*/ 6980 w 7350"/>
              <a:gd name="T93" fmla="*/ 6135 h 7827"/>
              <a:gd name="T94" fmla="*/ 3596 w 7350"/>
              <a:gd name="T95" fmla="*/ 212 h 7827"/>
              <a:gd name="T96" fmla="*/ 1734 w 7350"/>
              <a:gd name="T97" fmla="*/ 6669 h 7827"/>
              <a:gd name="T98" fmla="*/ 1734 w 7350"/>
              <a:gd name="T99" fmla="*/ 6669 h 7827"/>
              <a:gd name="T100" fmla="*/ 423 w 7350"/>
              <a:gd name="T101" fmla="*/ 3599 h 7827"/>
              <a:gd name="T102" fmla="*/ 212 w 7350"/>
              <a:gd name="T103" fmla="*/ 3600 h 7827"/>
              <a:gd name="T104" fmla="*/ 1810 w 7350"/>
              <a:gd name="T105" fmla="*/ 5954 h 7827"/>
              <a:gd name="T106" fmla="*/ 1836 w 7350"/>
              <a:gd name="T107" fmla="*/ 5708 h 7827"/>
              <a:gd name="T108" fmla="*/ 3596 w 7350"/>
              <a:gd name="T109" fmla="*/ 637 h 7827"/>
              <a:gd name="T110" fmla="*/ 1810 w 7350"/>
              <a:gd name="T111" fmla="*/ 5954 h 7827"/>
              <a:gd name="T112" fmla="*/ 1836 w 7350"/>
              <a:gd name="T113" fmla="*/ 5708 h 7827"/>
              <a:gd name="T114" fmla="*/ 2174 w 7350"/>
              <a:gd name="T115" fmla="*/ 5699 h 7827"/>
              <a:gd name="T116" fmla="*/ 1058 w 7350"/>
              <a:gd name="T117" fmla="*/ 3597 h 7827"/>
              <a:gd name="T118" fmla="*/ 1269 w 7350"/>
              <a:gd name="T119" fmla="*/ 3597 h 7827"/>
              <a:gd name="T120" fmla="*/ 2174 w 7350"/>
              <a:gd name="T121" fmla="*/ 5699 h 7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350" h="7827">
                <a:moveTo>
                  <a:pt x="4006" y="7192"/>
                </a:moveTo>
                <a:cubicBezTo>
                  <a:pt x="4006" y="6842"/>
                  <a:pt x="4290" y="6558"/>
                  <a:pt x="4641" y="6558"/>
                </a:cubicBezTo>
                <a:moveTo>
                  <a:pt x="4641" y="6558"/>
                </a:moveTo>
                <a:cubicBezTo>
                  <a:pt x="5275" y="6558"/>
                  <a:pt x="5275" y="6558"/>
                  <a:pt x="5275" y="6558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981"/>
                </a:moveTo>
                <a:cubicBezTo>
                  <a:pt x="5275" y="6981"/>
                  <a:pt x="5275" y="6981"/>
                  <a:pt x="5275" y="6981"/>
                </a:cubicBezTo>
                <a:moveTo>
                  <a:pt x="4641" y="7192"/>
                </a:moveTo>
                <a:cubicBezTo>
                  <a:pt x="5275" y="7192"/>
                  <a:pt x="5275" y="7192"/>
                  <a:pt x="5275" y="7192"/>
                </a:cubicBezTo>
                <a:moveTo>
                  <a:pt x="5698" y="6135"/>
                </a:moveTo>
                <a:cubicBezTo>
                  <a:pt x="5698" y="6368"/>
                  <a:pt x="5509" y="6558"/>
                  <a:pt x="5275" y="6558"/>
                </a:cubicBezTo>
                <a:moveTo>
                  <a:pt x="5698" y="5923"/>
                </a:moveTo>
                <a:cubicBezTo>
                  <a:pt x="5698" y="6135"/>
                  <a:pt x="5698" y="6135"/>
                  <a:pt x="5698" y="6135"/>
                </a:cubicBezTo>
                <a:moveTo>
                  <a:pt x="3583" y="1270"/>
                </a:moveTo>
                <a:cubicBezTo>
                  <a:pt x="4083" y="1270"/>
                  <a:pt x="4583" y="1428"/>
                  <a:pt x="4995" y="1746"/>
                </a:cubicBezTo>
                <a:cubicBezTo>
                  <a:pt x="5410" y="2066"/>
                  <a:pt x="5684" y="2488"/>
                  <a:pt x="5816" y="2942"/>
                </a:cubicBezTo>
                <a:cubicBezTo>
                  <a:pt x="5920" y="3298"/>
                  <a:pt x="5866" y="3682"/>
                  <a:pt x="5700" y="4014"/>
                </a:cubicBezTo>
                <a:cubicBezTo>
                  <a:pt x="5698" y="4019"/>
                  <a:pt x="5698" y="4019"/>
                  <a:pt x="5698" y="4019"/>
                </a:cubicBezTo>
                <a:cubicBezTo>
                  <a:pt x="6016" y="4972"/>
                  <a:pt x="6016" y="4972"/>
                  <a:pt x="6016" y="4972"/>
                </a:cubicBezTo>
                <a:cubicBezTo>
                  <a:pt x="6068" y="5128"/>
                  <a:pt x="5952" y="5288"/>
                  <a:pt x="5789" y="5288"/>
                </a:cubicBezTo>
                <a:cubicBezTo>
                  <a:pt x="5698" y="5288"/>
                  <a:pt x="5698" y="5288"/>
                  <a:pt x="5698" y="5288"/>
                </a:cubicBezTo>
                <a:cubicBezTo>
                  <a:pt x="5782" y="5626"/>
                  <a:pt x="5782" y="5626"/>
                  <a:pt x="5782" y="5626"/>
                </a:cubicBezTo>
                <a:cubicBezTo>
                  <a:pt x="5796" y="5681"/>
                  <a:pt x="5790" y="5740"/>
                  <a:pt x="5764" y="5791"/>
                </a:cubicBezTo>
                <a:cubicBezTo>
                  <a:pt x="5698" y="5923"/>
                  <a:pt x="5698" y="5923"/>
                  <a:pt x="5698" y="5923"/>
                </a:cubicBezTo>
                <a:moveTo>
                  <a:pt x="3531" y="1058"/>
                </a:moveTo>
                <a:cubicBezTo>
                  <a:pt x="4088" y="1058"/>
                  <a:pt x="4646" y="1235"/>
                  <a:pt x="5106" y="1589"/>
                </a:cubicBezTo>
                <a:cubicBezTo>
                  <a:pt x="5569" y="1947"/>
                  <a:pt x="5874" y="2417"/>
                  <a:pt x="6022" y="2924"/>
                </a:cubicBezTo>
                <a:cubicBezTo>
                  <a:pt x="6138" y="3321"/>
                  <a:pt x="6108" y="3648"/>
                  <a:pt x="5923" y="4019"/>
                </a:cubicBezTo>
                <a:moveTo>
                  <a:pt x="3596" y="847"/>
                </a:moveTo>
                <a:cubicBezTo>
                  <a:pt x="4194" y="847"/>
                  <a:pt x="4798" y="1036"/>
                  <a:pt x="5291" y="1416"/>
                </a:cubicBezTo>
                <a:cubicBezTo>
                  <a:pt x="5787" y="1799"/>
                  <a:pt x="6114" y="2303"/>
                  <a:pt x="6272" y="2846"/>
                </a:cubicBezTo>
                <a:cubicBezTo>
                  <a:pt x="6397" y="3272"/>
                  <a:pt x="6333" y="3622"/>
                  <a:pt x="6134" y="4019"/>
                </a:cubicBezTo>
                <a:moveTo>
                  <a:pt x="3596" y="637"/>
                </a:moveTo>
                <a:cubicBezTo>
                  <a:pt x="4234" y="637"/>
                  <a:pt x="4878" y="838"/>
                  <a:pt x="5404" y="1243"/>
                </a:cubicBezTo>
                <a:cubicBezTo>
                  <a:pt x="5933" y="1651"/>
                  <a:pt x="6282" y="2189"/>
                  <a:pt x="6451" y="2769"/>
                </a:cubicBezTo>
                <a:cubicBezTo>
                  <a:pt x="6583" y="3223"/>
                  <a:pt x="6557" y="3596"/>
                  <a:pt x="6346" y="4019"/>
                </a:cubicBezTo>
                <a:moveTo>
                  <a:pt x="3581" y="424"/>
                </a:moveTo>
                <a:cubicBezTo>
                  <a:pt x="4258" y="424"/>
                  <a:pt x="4959" y="640"/>
                  <a:pt x="5517" y="1071"/>
                </a:cubicBezTo>
                <a:cubicBezTo>
                  <a:pt x="6079" y="1504"/>
                  <a:pt x="6450" y="2076"/>
                  <a:pt x="6629" y="2691"/>
                </a:cubicBezTo>
                <a:cubicBezTo>
                  <a:pt x="6770" y="3174"/>
                  <a:pt x="6782" y="3569"/>
                  <a:pt x="6557" y="4019"/>
                </a:cubicBezTo>
                <a:moveTo>
                  <a:pt x="3596" y="212"/>
                </a:moveTo>
                <a:cubicBezTo>
                  <a:pt x="4313" y="212"/>
                  <a:pt x="5046" y="442"/>
                  <a:pt x="5637" y="898"/>
                </a:cubicBezTo>
                <a:cubicBezTo>
                  <a:pt x="6233" y="1357"/>
                  <a:pt x="6625" y="1962"/>
                  <a:pt x="6816" y="2614"/>
                </a:cubicBezTo>
                <a:cubicBezTo>
                  <a:pt x="6965" y="3125"/>
                  <a:pt x="7007" y="3544"/>
                  <a:pt x="6769" y="4020"/>
                </a:cubicBezTo>
                <a:moveTo>
                  <a:pt x="3596" y="1"/>
                </a:moveTo>
                <a:cubicBezTo>
                  <a:pt x="4353" y="0"/>
                  <a:pt x="5119" y="240"/>
                  <a:pt x="5743" y="722"/>
                </a:cubicBezTo>
                <a:cubicBezTo>
                  <a:pt x="6371" y="1206"/>
                  <a:pt x="6786" y="1845"/>
                  <a:pt x="6987" y="2533"/>
                </a:cubicBezTo>
                <a:cubicBezTo>
                  <a:pt x="7144" y="3073"/>
                  <a:pt x="7232" y="3516"/>
                  <a:pt x="6980" y="4019"/>
                </a:cubicBezTo>
                <a:moveTo>
                  <a:pt x="5925" y="4014"/>
                </a:moveTo>
                <a:cubicBezTo>
                  <a:pt x="5923" y="4019"/>
                  <a:pt x="5923" y="4019"/>
                  <a:pt x="5923" y="4019"/>
                </a:cubicBezTo>
                <a:cubicBezTo>
                  <a:pt x="6241" y="4972"/>
                  <a:pt x="6241" y="4972"/>
                  <a:pt x="6241" y="4972"/>
                </a:cubicBezTo>
                <a:cubicBezTo>
                  <a:pt x="6292" y="5128"/>
                  <a:pt x="6177" y="5288"/>
                  <a:pt x="6013" y="5288"/>
                </a:cubicBezTo>
                <a:cubicBezTo>
                  <a:pt x="5908" y="5289"/>
                  <a:pt x="5908" y="5289"/>
                  <a:pt x="5908" y="5289"/>
                </a:cubicBezTo>
                <a:cubicBezTo>
                  <a:pt x="6007" y="5626"/>
                  <a:pt x="6007" y="5626"/>
                  <a:pt x="6007" y="5626"/>
                </a:cubicBezTo>
                <a:cubicBezTo>
                  <a:pt x="6021" y="5681"/>
                  <a:pt x="6014" y="5740"/>
                  <a:pt x="5989" y="5791"/>
                </a:cubicBezTo>
                <a:cubicBezTo>
                  <a:pt x="5923" y="5923"/>
                  <a:pt x="5923" y="5923"/>
                  <a:pt x="5923" y="5923"/>
                </a:cubicBezTo>
                <a:moveTo>
                  <a:pt x="6137" y="4014"/>
                </a:moveTo>
                <a:cubicBezTo>
                  <a:pt x="6134" y="4019"/>
                  <a:pt x="6134" y="4019"/>
                  <a:pt x="6134" y="4019"/>
                </a:cubicBezTo>
                <a:cubicBezTo>
                  <a:pt x="6452" y="4972"/>
                  <a:pt x="6452" y="4972"/>
                  <a:pt x="6452" y="4972"/>
                </a:cubicBezTo>
                <a:cubicBezTo>
                  <a:pt x="6504" y="5128"/>
                  <a:pt x="6388" y="5288"/>
                  <a:pt x="6225" y="5288"/>
                </a:cubicBezTo>
                <a:cubicBezTo>
                  <a:pt x="6119" y="5289"/>
                  <a:pt x="6119" y="5289"/>
                  <a:pt x="6119" y="5289"/>
                </a:cubicBezTo>
                <a:cubicBezTo>
                  <a:pt x="6219" y="5626"/>
                  <a:pt x="6219" y="5626"/>
                  <a:pt x="6219" y="5626"/>
                </a:cubicBezTo>
                <a:cubicBezTo>
                  <a:pt x="6232" y="5681"/>
                  <a:pt x="6226" y="5740"/>
                  <a:pt x="6200" y="5791"/>
                </a:cubicBezTo>
                <a:cubicBezTo>
                  <a:pt x="6134" y="5923"/>
                  <a:pt x="6134" y="5923"/>
                  <a:pt x="6134" y="5923"/>
                </a:cubicBezTo>
                <a:moveTo>
                  <a:pt x="6348" y="4014"/>
                </a:moveTo>
                <a:cubicBezTo>
                  <a:pt x="6346" y="4019"/>
                  <a:pt x="6346" y="4019"/>
                  <a:pt x="6346" y="4019"/>
                </a:cubicBezTo>
                <a:cubicBezTo>
                  <a:pt x="6664" y="4972"/>
                  <a:pt x="6664" y="4972"/>
                  <a:pt x="6664" y="4972"/>
                </a:cubicBezTo>
                <a:cubicBezTo>
                  <a:pt x="6715" y="5128"/>
                  <a:pt x="6600" y="5288"/>
                  <a:pt x="6436" y="5288"/>
                </a:cubicBezTo>
                <a:cubicBezTo>
                  <a:pt x="6331" y="5289"/>
                  <a:pt x="6331" y="5289"/>
                  <a:pt x="6331" y="5289"/>
                </a:cubicBezTo>
                <a:cubicBezTo>
                  <a:pt x="6430" y="5626"/>
                  <a:pt x="6430" y="5626"/>
                  <a:pt x="6430" y="5626"/>
                </a:cubicBezTo>
                <a:cubicBezTo>
                  <a:pt x="6444" y="5681"/>
                  <a:pt x="6438" y="5740"/>
                  <a:pt x="6412" y="5791"/>
                </a:cubicBezTo>
                <a:cubicBezTo>
                  <a:pt x="6346" y="5923"/>
                  <a:pt x="6346" y="5923"/>
                  <a:pt x="6346" y="5923"/>
                </a:cubicBezTo>
                <a:moveTo>
                  <a:pt x="6560" y="4014"/>
                </a:moveTo>
                <a:cubicBezTo>
                  <a:pt x="6557" y="4019"/>
                  <a:pt x="6557" y="4019"/>
                  <a:pt x="6557" y="4019"/>
                </a:cubicBezTo>
                <a:cubicBezTo>
                  <a:pt x="6875" y="4972"/>
                  <a:pt x="6875" y="4972"/>
                  <a:pt x="6875" y="4972"/>
                </a:cubicBezTo>
                <a:cubicBezTo>
                  <a:pt x="6927" y="5128"/>
                  <a:pt x="6811" y="5288"/>
                  <a:pt x="6648" y="5288"/>
                </a:cubicBezTo>
                <a:cubicBezTo>
                  <a:pt x="6542" y="5289"/>
                  <a:pt x="6542" y="5289"/>
                  <a:pt x="6542" y="5289"/>
                </a:cubicBezTo>
                <a:cubicBezTo>
                  <a:pt x="6642" y="5626"/>
                  <a:pt x="6642" y="5626"/>
                  <a:pt x="6642" y="5626"/>
                </a:cubicBezTo>
                <a:cubicBezTo>
                  <a:pt x="6655" y="5681"/>
                  <a:pt x="6649" y="5740"/>
                  <a:pt x="6623" y="5791"/>
                </a:cubicBezTo>
                <a:cubicBezTo>
                  <a:pt x="6557" y="5923"/>
                  <a:pt x="6557" y="5923"/>
                  <a:pt x="6557" y="5923"/>
                </a:cubicBezTo>
                <a:moveTo>
                  <a:pt x="6771" y="4014"/>
                </a:moveTo>
                <a:cubicBezTo>
                  <a:pt x="6769" y="4019"/>
                  <a:pt x="6769" y="4019"/>
                  <a:pt x="6769" y="4019"/>
                </a:cubicBezTo>
                <a:cubicBezTo>
                  <a:pt x="7087" y="4972"/>
                  <a:pt x="7087" y="4972"/>
                  <a:pt x="7087" y="4972"/>
                </a:cubicBezTo>
                <a:cubicBezTo>
                  <a:pt x="7138" y="5128"/>
                  <a:pt x="7023" y="5288"/>
                  <a:pt x="6859" y="5288"/>
                </a:cubicBezTo>
                <a:cubicBezTo>
                  <a:pt x="6754" y="5289"/>
                  <a:pt x="6754" y="5289"/>
                  <a:pt x="6754" y="5289"/>
                </a:cubicBezTo>
                <a:cubicBezTo>
                  <a:pt x="6853" y="5626"/>
                  <a:pt x="6853" y="5626"/>
                  <a:pt x="6853" y="5626"/>
                </a:cubicBezTo>
                <a:cubicBezTo>
                  <a:pt x="6867" y="5681"/>
                  <a:pt x="6861" y="5740"/>
                  <a:pt x="6835" y="5791"/>
                </a:cubicBezTo>
                <a:cubicBezTo>
                  <a:pt x="6769" y="5923"/>
                  <a:pt x="6769" y="5923"/>
                  <a:pt x="6769" y="5923"/>
                </a:cubicBezTo>
                <a:moveTo>
                  <a:pt x="6983" y="4014"/>
                </a:moveTo>
                <a:cubicBezTo>
                  <a:pt x="6980" y="4019"/>
                  <a:pt x="6980" y="4019"/>
                  <a:pt x="6980" y="4019"/>
                </a:cubicBezTo>
                <a:cubicBezTo>
                  <a:pt x="7298" y="4972"/>
                  <a:pt x="7298" y="4972"/>
                  <a:pt x="7298" y="4972"/>
                </a:cubicBezTo>
                <a:cubicBezTo>
                  <a:pt x="7350" y="5128"/>
                  <a:pt x="7234" y="5288"/>
                  <a:pt x="7071" y="5288"/>
                </a:cubicBezTo>
                <a:cubicBezTo>
                  <a:pt x="6965" y="5289"/>
                  <a:pt x="6965" y="5289"/>
                  <a:pt x="6965" y="5289"/>
                </a:cubicBezTo>
                <a:cubicBezTo>
                  <a:pt x="7065" y="5626"/>
                  <a:pt x="7065" y="5626"/>
                  <a:pt x="7065" y="5626"/>
                </a:cubicBezTo>
                <a:cubicBezTo>
                  <a:pt x="7079" y="5681"/>
                  <a:pt x="7072" y="5740"/>
                  <a:pt x="7047" y="5791"/>
                </a:cubicBezTo>
                <a:cubicBezTo>
                  <a:pt x="6980" y="5923"/>
                  <a:pt x="6980" y="5923"/>
                  <a:pt x="6980" y="5923"/>
                </a:cubicBezTo>
                <a:moveTo>
                  <a:pt x="4217" y="7192"/>
                </a:moveTo>
                <a:cubicBezTo>
                  <a:pt x="4217" y="6959"/>
                  <a:pt x="4407" y="6769"/>
                  <a:pt x="4641" y="6769"/>
                </a:cubicBezTo>
                <a:moveTo>
                  <a:pt x="4429" y="7192"/>
                </a:moveTo>
                <a:cubicBezTo>
                  <a:pt x="4429" y="7076"/>
                  <a:pt x="4524" y="6981"/>
                  <a:pt x="4641" y="6981"/>
                </a:cubicBezTo>
                <a:moveTo>
                  <a:pt x="4006" y="7192"/>
                </a:moveTo>
                <a:cubicBezTo>
                  <a:pt x="4006" y="7543"/>
                  <a:pt x="4290" y="7827"/>
                  <a:pt x="4641" y="7827"/>
                </a:cubicBezTo>
                <a:moveTo>
                  <a:pt x="4641" y="7827"/>
                </a:moveTo>
                <a:cubicBezTo>
                  <a:pt x="5275" y="7827"/>
                  <a:pt x="5275" y="7827"/>
                  <a:pt x="5275" y="7827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404"/>
                </a:moveTo>
                <a:cubicBezTo>
                  <a:pt x="5275" y="7404"/>
                  <a:pt x="5275" y="7404"/>
                  <a:pt x="5275" y="7404"/>
                </a:cubicBezTo>
                <a:moveTo>
                  <a:pt x="4217" y="7192"/>
                </a:moveTo>
                <a:cubicBezTo>
                  <a:pt x="4217" y="7426"/>
                  <a:pt x="4407" y="7615"/>
                  <a:pt x="4641" y="7615"/>
                </a:cubicBezTo>
                <a:moveTo>
                  <a:pt x="4429" y="7192"/>
                </a:moveTo>
                <a:cubicBezTo>
                  <a:pt x="4429" y="7309"/>
                  <a:pt x="4524" y="7404"/>
                  <a:pt x="4641" y="7404"/>
                </a:cubicBezTo>
                <a:moveTo>
                  <a:pt x="5923" y="6135"/>
                </a:moveTo>
                <a:cubicBezTo>
                  <a:pt x="5923" y="6485"/>
                  <a:pt x="5633" y="6769"/>
                  <a:pt x="5275" y="6769"/>
                </a:cubicBezTo>
                <a:moveTo>
                  <a:pt x="6134" y="6135"/>
                </a:moveTo>
                <a:cubicBezTo>
                  <a:pt x="6134" y="6602"/>
                  <a:pt x="5750" y="6981"/>
                  <a:pt x="5275" y="6981"/>
                </a:cubicBezTo>
                <a:moveTo>
                  <a:pt x="6346" y="6135"/>
                </a:moveTo>
                <a:cubicBezTo>
                  <a:pt x="6346" y="6719"/>
                  <a:pt x="5866" y="7192"/>
                  <a:pt x="5275" y="7192"/>
                </a:cubicBezTo>
                <a:moveTo>
                  <a:pt x="6557" y="6135"/>
                </a:moveTo>
                <a:cubicBezTo>
                  <a:pt x="6557" y="6836"/>
                  <a:pt x="5983" y="7404"/>
                  <a:pt x="5275" y="7404"/>
                </a:cubicBezTo>
                <a:moveTo>
                  <a:pt x="6769" y="6135"/>
                </a:moveTo>
                <a:cubicBezTo>
                  <a:pt x="6769" y="6953"/>
                  <a:pt x="6100" y="7615"/>
                  <a:pt x="5275" y="7615"/>
                </a:cubicBezTo>
                <a:moveTo>
                  <a:pt x="6980" y="6135"/>
                </a:moveTo>
                <a:cubicBezTo>
                  <a:pt x="6980" y="7069"/>
                  <a:pt x="6217" y="7827"/>
                  <a:pt x="5275" y="7827"/>
                </a:cubicBezTo>
                <a:moveTo>
                  <a:pt x="5923" y="5923"/>
                </a:moveTo>
                <a:cubicBezTo>
                  <a:pt x="5923" y="6135"/>
                  <a:pt x="5923" y="6135"/>
                  <a:pt x="5923" y="6135"/>
                </a:cubicBezTo>
                <a:moveTo>
                  <a:pt x="6134" y="5923"/>
                </a:moveTo>
                <a:cubicBezTo>
                  <a:pt x="6134" y="6135"/>
                  <a:pt x="6134" y="6135"/>
                  <a:pt x="6134" y="6135"/>
                </a:cubicBezTo>
                <a:moveTo>
                  <a:pt x="6346" y="5923"/>
                </a:moveTo>
                <a:cubicBezTo>
                  <a:pt x="6346" y="6135"/>
                  <a:pt x="6346" y="6135"/>
                  <a:pt x="6346" y="6135"/>
                </a:cubicBezTo>
                <a:moveTo>
                  <a:pt x="6557" y="5923"/>
                </a:moveTo>
                <a:cubicBezTo>
                  <a:pt x="6557" y="6135"/>
                  <a:pt x="6557" y="6135"/>
                  <a:pt x="6557" y="6135"/>
                </a:cubicBezTo>
                <a:moveTo>
                  <a:pt x="6769" y="5923"/>
                </a:moveTo>
                <a:cubicBezTo>
                  <a:pt x="6769" y="6135"/>
                  <a:pt x="6769" y="6135"/>
                  <a:pt x="6769" y="6135"/>
                </a:cubicBezTo>
                <a:moveTo>
                  <a:pt x="6980" y="5923"/>
                </a:moveTo>
                <a:cubicBezTo>
                  <a:pt x="6980" y="6135"/>
                  <a:pt x="6980" y="6135"/>
                  <a:pt x="6980" y="6135"/>
                </a:cubicBezTo>
                <a:moveTo>
                  <a:pt x="1759" y="6437"/>
                </a:moveTo>
                <a:cubicBezTo>
                  <a:pt x="829" y="5834"/>
                  <a:pt x="212" y="4790"/>
                  <a:pt x="212" y="3600"/>
                </a:cubicBezTo>
                <a:cubicBezTo>
                  <a:pt x="212" y="1733"/>
                  <a:pt x="1727" y="212"/>
                  <a:pt x="3596" y="212"/>
                </a:cubicBezTo>
                <a:moveTo>
                  <a:pt x="3596" y="1"/>
                </a:moveTo>
                <a:cubicBezTo>
                  <a:pt x="1610" y="1"/>
                  <a:pt x="0" y="1616"/>
                  <a:pt x="0" y="3600"/>
                </a:cubicBezTo>
                <a:cubicBezTo>
                  <a:pt x="0" y="4902"/>
                  <a:pt x="696" y="6039"/>
                  <a:pt x="1734" y="6669"/>
                </a:cubicBezTo>
                <a:moveTo>
                  <a:pt x="1902" y="6524"/>
                </a:moveTo>
                <a:cubicBezTo>
                  <a:pt x="1854" y="6496"/>
                  <a:pt x="1806" y="6467"/>
                  <a:pt x="1759" y="6437"/>
                </a:cubicBezTo>
                <a:moveTo>
                  <a:pt x="1734" y="6669"/>
                </a:moveTo>
                <a:cubicBezTo>
                  <a:pt x="1767" y="6689"/>
                  <a:pt x="1800" y="6710"/>
                  <a:pt x="1834" y="6729"/>
                </a:cubicBezTo>
                <a:moveTo>
                  <a:pt x="1784" y="6199"/>
                </a:moveTo>
                <a:cubicBezTo>
                  <a:pt x="962" y="5626"/>
                  <a:pt x="423" y="4676"/>
                  <a:pt x="423" y="3599"/>
                </a:cubicBezTo>
                <a:cubicBezTo>
                  <a:pt x="423" y="1848"/>
                  <a:pt x="1829" y="424"/>
                  <a:pt x="3581" y="424"/>
                </a:cubicBezTo>
                <a:moveTo>
                  <a:pt x="3596" y="212"/>
                </a:moveTo>
                <a:cubicBezTo>
                  <a:pt x="1727" y="212"/>
                  <a:pt x="212" y="1733"/>
                  <a:pt x="212" y="3600"/>
                </a:cubicBezTo>
                <a:cubicBezTo>
                  <a:pt x="212" y="4790"/>
                  <a:pt x="829" y="5834"/>
                  <a:pt x="1759" y="6437"/>
                </a:cubicBezTo>
                <a:moveTo>
                  <a:pt x="2039" y="6112"/>
                </a:moveTo>
                <a:cubicBezTo>
                  <a:pt x="1960" y="6063"/>
                  <a:pt x="1884" y="6011"/>
                  <a:pt x="1810" y="5954"/>
                </a:cubicBezTo>
                <a:moveTo>
                  <a:pt x="1784" y="6199"/>
                </a:moveTo>
                <a:cubicBezTo>
                  <a:pt x="1844" y="6241"/>
                  <a:pt x="1907" y="6280"/>
                  <a:pt x="1971" y="6318"/>
                </a:cubicBezTo>
                <a:moveTo>
                  <a:pt x="1836" y="5708"/>
                </a:moveTo>
                <a:cubicBezTo>
                  <a:pt x="1231" y="5204"/>
                  <a:pt x="846" y="4445"/>
                  <a:pt x="846" y="3597"/>
                </a:cubicBezTo>
                <a:cubicBezTo>
                  <a:pt x="846" y="2078"/>
                  <a:pt x="2078" y="847"/>
                  <a:pt x="3596" y="847"/>
                </a:cubicBezTo>
                <a:moveTo>
                  <a:pt x="3596" y="637"/>
                </a:moveTo>
                <a:cubicBezTo>
                  <a:pt x="1961" y="637"/>
                  <a:pt x="635" y="1963"/>
                  <a:pt x="635" y="3598"/>
                </a:cubicBezTo>
                <a:cubicBezTo>
                  <a:pt x="635" y="4561"/>
                  <a:pt x="1097" y="5414"/>
                  <a:pt x="1810" y="5954"/>
                </a:cubicBezTo>
                <a:moveTo>
                  <a:pt x="1810" y="5954"/>
                </a:moveTo>
                <a:cubicBezTo>
                  <a:pt x="1884" y="6011"/>
                  <a:pt x="1960" y="6063"/>
                  <a:pt x="2039" y="6112"/>
                </a:cubicBezTo>
                <a:moveTo>
                  <a:pt x="2108" y="5907"/>
                </a:moveTo>
                <a:cubicBezTo>
                  <a:pt x="2013" y="5845"/>
                  <a:pt x="1922" y="5780"/>
                  <a:pt x="1836" y="5708"/>
                </a:cubicBezTo>
                <a:moveTo>
                  <a:pt x="1836" y="5708"/>
                </a:moveTo>
                <a:cubicBezTo>
                  <a:pt x="1922" y="5780"/>
                  <a:pt x="2013" y="5845"/>
                  <a:pt x="2108" y="5907"/>
                </a:cubicBezTo>
                <a:moveTo>
                  <a:pt x="2174" y="5699"/>
                </a:moveTo>
                <a:cubicBezTo>
                  <a:pt x="2063" y="5624"/>
                  <a:pt x="1960" y="5539"/>
                  <a:pt x="1863" y="5447"/>
                </a:cubicBezTo>
                <a:moveTo>
                  <a:pt x="3596" y="1058"/>
                </a:moveTo>
                <a:cubicBezTo>
                  <a:pt x="2194" y="1058"/>
                  <a:pt x="1058" y="2195"/>
                  <a:pt x="1058" y="3597"/>
                </a:cubicBezTo>
                <a:cubicBezTo>
                  <a:pt x="1058" y="4327"/>
                  <a:pt x="1369" y="4984"/>
                  <a:pt x="1863" y="5447"/>
                </a:cubicBezTo>
                <a:moveTo>
                  <a:pt x="2259" y="5501"/>
                </a:moveTo>
                <a:cubicBezTo>
                  <a:pt x="1660" y="5080"/>
                  <a:pt x="1269" y="4384"/>
                  <a:pt x="1269" y="3597"/>
                </a:cubicBezTo>
                <a:cubicBezTo>
                  <a:pt x="1269" y="2312"/>
                  <a:pt x="2311" y="1270"/>
                  <a:pt x="3596" y="1270"/>
                </a:cubicBezTo>
                <a:moveTo>
                  <a:pt x="1863" y="5447"/>
                </a:moveTo>
                <a:cubicBezTo>
                  <a:pt x="1960" y="5539"/>
                  <a:pt x="2063" y="5624"/>
                  <a:pt x="2174" y="5699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0239" y="1245428"/>
            <a:ext cx="7872484" cy="445241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dirty="0" smtClean="0"/>
              <a:t>Insert subtitle here. Right click on slide background to set picture.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C8D48774-CFFB-4549-AFFC-C0BCBAD282ED}" type="datetime1">
              <a:rPr lang="en-GB" smtClean="0"/>
              <a:t>24/01/2018</a:t>
            </a:fld>
            <a:endParaRPr lang="en-GB"/>
          </a:p>
        </p:txBody>
      </p:sp>
      <p:cxnSp>
        <p:nvCxnSpPr>
          <p:cNvPr id="16" name="Straight Connector 15"/>
          <p:cNvCxnSpPr/>
          <p:nvPr/>
        </p:nvCxnSpPr>
        <p:spPr>
          <a:xfrm>
            <a:off x="646925" y="470735"/>
            <a:ext cx="7855798" cy="0"/>
          </a:xfrm>
          <a:prstGeom prst="line">
            <a:avLst/>
          </a:prstGeom>
          <a:ln w="381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239" y="470734"/>
            <a:ext cx="7872484" cy="698501"/>
          </a:xfrm>
        </p:spPr>
        <p:txBody>
          <a:bodyPr vert="horz" lIns="36000" tIns="0" rIns="36000" bIns="0" rtlCol="0" anchor="ctr">
            <a:normAutofit/>
          </a:bodyPr>
          <a:lstStyle>
            <a:lvl1pPr>
              <a:defRPr lang="en-US" sz="48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>
              <a:spcBef>
                <a:spcPts val="0"/>
              </a:spcBef>
              <a:buFont typeface="Arial" panose="020B0604020202020204" pitchFamily="34" charset="0"/>
            </a:pPr>
            <a:r>
              <a:rPr lang="en-US" dirty="0" smtClean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67811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36000" tIns="0" rIns="3600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BA3D1E01-88CB-4208-91F1-71F95327C4F9}" type="datetime1">
              <a:rPr lang="en-GB" smtClean="0"/>
              <a:t>24/01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209984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ADD5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4359276" y="-544511"/>
            <a:ext cx="4581526" cy="4872038"/>
          </a:xfrm>
          <a:custGeom>
            <a:avLst/>
            <a:gdLst>
              <a:gd name="T0" fmla="*/ 4641 w 7350"/>
              <a:gd name="T1" fmla="*/ 6558 h 7827"/>
              <a:gd name="T2" fmla="*/ 5275 w 7350"/>
              <a:gd name="T3" fmla="*/ 6769 h 7827"/>
              <a:gd name="T4" fmla="*/ 4641 w 7350"/>
              <a:gd name="T5" fmla="*/ 6981 h 7827"/>
              <a:gd name="T6" fmla="*/ 5275 w 7350"/>
              <a:gd name="T7" fmla="*/ 7192 h 7827"/>
              <a:gd name="T8" fmla="*/ 5698 w 7350"/>
              <a:gd name="T9" fmla="*/ 5923 h 7827"/>
              <a:gd name="T10" fmla="*/ 4995 w 7350"/>
              <a:gd name="T11" fmla="*/ 1746 h 7827"/>
              <a:gd name="T12" fmla="*/ 5698 w 7350"/>
              <a:gd name="T13" fmla="*/ 4019 h 7827"/>
              <a:gd name="T14" fmla="*/ 5698 w 7350"/>
              <a:gd name="T15" fmla="*/ 5288 h 7827"/>
              <a:gd name="T16" fmla="*/ 5698 w 7350"/>
              <a:gd name="T17" fmla="*/ 5923 h 7827"/>
              <a:gd name="T18" fmla="*/ 6022 w 7350"/>
              <a:gd name="T19" fmla="*/ 2924 h 7827"/>
              <a:gd name="T20" fmla="*/ 5291 w 7350"/>
              <a:gd name="T21" fmla="*/ 1416 h 7827"/>
              <a:gd name="T22" fmla="*/ 3596 w 7350"/>
              <a:gd name="T23" fmla="*/ 637 h 7827"/>
              <a:gd name="T24" fmla="*/ 6346 w 7350"/>
              <a:gd name="T25" fmla="*/ 4019 h 7827"/>
              <a:gd name="T26" fmla="*/ 6629 w 7350"/>
              <a:gd name="T27" fmla="*/ 2691 h 7827"/>
              <a:gd name="T28" fmla="*/ 5637 w 7350"/>
              <a:gd name="T29" fmla="*/ 898 h 7827"/>
              <a:gd name="T30" fmla="*/ 3596 w 7350"/>
              <a:gd name="T31" fmla="*/ 1 h 7827"/>
              <a:gd name="T32" fmla="*/ 6980 w 7350"/>
              <a:gd name="T33" fmla="*/ 4019 h 7827"/>
              <a:gd name="T34" fmla="*/ 6241 w 7350"/>
              <a:gd name="T35" fmla="*/ 4972 h 7827"/>
              <a:gd name="T36" fmla="*/ 6007 w 7350"/>
              <a:gd name="T37" fmla="*/ 5626 h 7827"/>
              <a:gd name="T38" fmla="*/ 6137 w 7350"/>
              <a:gd name="T39" fmla="*/ 4014 h 7827"/>
              <a:gd name="T40" fmla="*/ 6225 w 7350"/>
              <a:gd name="T41" fmla="*/ 5288 h 7827"/>
              <a:gd name="T42" fmla="*/ 6200 w 7350"/>
              <a:gd name="T43" fmla="*/ 5791 h 7827"/>
              <a:gd name="T44" fmla="*/ 6346 w 7350"/>
              <a:gd name="T45" fmla="*/ 4019 h 7827"/>
              <a:gd name="T46" fmla="*/ 6331 w 7350"/>
              <a:gd name="T47" fmla="*/ 5289 h 7827"/>
              <a:gd name="T48" fmla="*/ 6346 w 7350"/>
              <a:gd name="T49" fmla="*/ 5923 h 7827"/>
              <a:gd name="T50" fmla="*/ 6875 w 7350"/>
              <a:gd name="T51" fmla="*/ 4972 h 7827"/>
              <a:gd name="T52" fmla="*/ 6642 w 7350"/>
              <a:gd name="T53" fmla="*/ 5626 h 7827"/>
              <a:gd name="T54" fmla="*/ 6771 w 7350"/>
              <a:gd name="T55" fmla="*/ 4014 h 7827"/>
              <a:gd name="T56" fmla="*/ 6859 w 7350"/>
              <a:gd name="T57" fmla="*/ 5288 h 7827"/>
              <a:gd name="T58" fmla="*/ 6835 w 7350"/>
              <a:gd name="T59" fmla="*/ 5791 h 7827"/>
              <a:gd name="T60" fmla="*/ 6980 w 7350"/>
              <a:gd name="T61" fmla="*/ 4019 h 7827"/>
              <a:gd name="T62" fmla="*/ 6965 w 7350"/>
              <a:gd name="T63" fmla="*/ 5289 h 7827"/>
              <a:gd name="T64" fmla="*/ 6980 w 7350"/>
              <a:gd name="T65" fmla="*/ 5923 h 7827"/>
              <a:gd name="T66" fmla="*/ 4429 w 7350"/>
              <a:gd name="T67" fmla="*/ 7192 h 7827"/>
              <a:gd name="T68" fmla="*/ 4641 w 7350"/>
              <a:gd name="T69" fmla="*/ 7827 h 7827"/>
              <a:gd name="T70" fmla="*/ 4641 w 7350"/>
              <a:gd name="T71" fmla="*/ 7615 h 7827"/>
              <a:gd name="T72" fmla="*/ 5275 w 7350"/>
              <a:gd name="T73" fmla="*/ 7615 h 7827"/>
              <a:gd name="T74" fmla="*/ 4217 w 7350"/>
              <a:gd name="T75" fmla="*/ 7192 h 7827"/>
              <a:gd name="T76" fmla="*/ 4641 w 7350"/>
              <a:gd name="T77" fmla="*/ 7404 h 7827"/>
              <a:gd name="T78" fmla="*/ 6134 w 7350"/>
              <a:gd name="T79" fmla="*/ 6135 h 7827"/>
              <a:gd name="T80" fmla="*/ 5275 w 7350"/>
              <a:gd name="T81" fmla="*/ 7192 h 7827"/>
              <a:gd name="T82" fmla="*/ 6769 w 7350"/>
              <a:gd name="T83" fmla="*/ 6135 h 7827"/>
              <a:gd name="T84" fmla="*/ 5275 w 7350"/>
              <a:gd name="T85" fmla="*/ 7827 h 7827"/>
              <a:gd name="T86" fmla="*/ 6134 w 7350"/>
              <a:gd name="T87" fmla="*/ 5923 h 7827"/>
              <a:gd name="T88" fmla="*/ 6346 w 7350"/>
              <a:gd name="T89" fmla="*/ 6135 h 7827"/>
              <a:gd name="T90" fmla="*/ 6769 w 7350"/>
              <a:gd name="T91" fmla="*/ 5923 h 7827"/>
              <a:gd name="T92" fmla="*/ 6980 w 7350"/>
              <a:gd name="T93" fmla="*/ 6135 h 7827"/>
              <a:gd name="T94" fmla="*/ 3596 w 7350"/>
              <a:gd name="T95" fmla="*/ 212 h 7827"/>
              <a:gd name="T96" fmla="*/ 1734 w 7350"/>
              <a:gd name="T97" fmla="*/ 6669 h 7827"/>
              <a:gd name="T98" fmla="*/ 1734 w 7350"/>
              <a:gd name="T99" fmla="*/ 6669 h 7827"/>
              <a:gd name="T100" fmla="*/ 423 w 7350"/>
              <a:gd name="T101" fmla="*/ 3599 h 7827"/>
              <a:gd name="T102" fmla="*/ 212 w 7350"/>
              <a:gd name="T103" fmla="*/ 3600 h 7827"/>
              <a:gd name="T104" fmla="*/ 1810 w 7350"/>
              <a:gd name="T105" fmla="*/ 5954 h 7827"/>
              <a:gd name="T106" fmla="*/ 1836 w 7350"/>
              <a:gd name="T107" fmla="*/ 5708 h 7827"/>
              <a:gd name="T108" fmla="*/ 3596 w 7350"/>
              <a:gd name="T109" fmla="*/ 637 h 7827"/>
              <a:gd name="T110" fmla="*/ 1810 w 7350"/>
              <a:gd name="T111" fmla="*/ 5954 h 7827"/>
              <a:gd name="T112" fmla="*/ 1836 w 7350"/>
              <a:gd name="T113" fmla="*/ 5708 h 7827"/>
              <a:gd name="T114" fmla="*/ 2174 w 7350"/>
              <a:gd name="T115" fmla="*/ 5699 h 7827"/>
              <a:gd name="T116" fmla="*/ 1058 w 7350"/>
              <a:gd name="T117" fmla="*/ 3597 h 7827"/>
              <a:gd name="T118" fmla="*/ 1269 w 7350"/>
              <a:gd name="T119" fmla="*/ 3597 h 7827"/>
              <a:gd name="T120" fmla="*/ 2174 w 7350"/>
              <a:gd name="T121" fmla="*/ 5699 h 7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350" h="7827">
                <a:moveTo>
                  <a:pt x="4006" y="7192"/>
                </a:moveTo>
                <a:cubicBezTo>
                  <a:pt x="4006" y="6842"/>
                  <a:pt x="4290" y="6558"/>
                  <a:pt x="4641" y="6558"/>
                </a:cubicBezTo>
                <a:moveTo>
                  <a:pt x="4641" y="6558"/>
                </a:moveTo>
                <a:cubicBezTo>
                  <a:pt x="5275" y="6558"/>
                  <a:pt x="5275" y="6558"/>
                  <a:pt x="5275" y="6558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769"/>
                </a:moveTo>
                <a:cubicBezTo>
                  <a:pt x="5275" y="6769"/>
                  <a:pt x="5275" y="6769"/>
                  <a:pt x="5275" y="6769"/>
                </a:cubicBezTo>
                <a:moveTo>
                  <a:pt x="4641" y="6981"/>
                </a:moveTo>
                <a:cubicBezTo>
                  <a:pt x="5275" y="6981"/>
                  <a:pt x="5275" y="6981"/>
                  <a:pt x="5275" y="6981"/>
                </a:cubicBezTo>
                <a:moveTo>
                  <a:pt x="4641" y="7192"/>
                </a:moveTo>
                <a:cubicBezTo>
                  <a:pt x="5275" y="7192"/>
                  <a:pt x="5275" y="7192"/>
                  <a:pt x="5275" y="7192"/>
                </a:cubicBezTo>
                <a:moveTo>
                  <a:pt x="5698" y="6135"/>
                </a:moveTo>
                <a:cubicBezTo>
                  <a:pt x="5698" y="6368"/>
                  <a:pt x="5509" y="6558"/>
                  <a:pt x="5275" y="6558"/>
                </a:cubicBezTo>
                <a:moveTo>
                  <a:pt x="5698" y="5923"/>
                </a:moveTo>
                <a:cubicBezTo>
                  <a:pt x="5698" y="6135"/>
                  <a:pt x="5698" y="6135"/>
                  <a:pt x="5698" y="6135"/>
                </a:cubicBezTo>
                <a:moveTo>
                  <a:pt x="3583" y="1270"/>
                </a:moveTo>
                <a:cubicBezTo>
                  <a:pt x="4083" y="1270"/>
                  <a:pt x="4583" y="1428"/>
                  <a:pt x="4995" y="1746"/>
                </a:cubicBezTo>
                <a:cubicBezTo>
                  <a:pt x="5410" y="2066"/>
                  <a:pt x="5684" y="2488"/>
                  <a:pt x="5816" y="2942"/>
                </a:cubicBezTo>
                <a:cubicBezTo>
                  <a:pt x="5920" y="3298"/>
                  <a:pt x="5866" y="3682"/>
                  <a:pt x="5700" y="4014"/>
                </a:cubicBezTo>
                <a:cubicBezTo>
                  <a:pt x="5698" y="4019"/>
                  <a:pt x="5698" y="4019"/>
                  <a:pt x="5698" y="4019"/>
                </a:cubicBezTo>
                <a:cubicBezTo>
                  <a:pt x="6016" y="4972"/>
                  <a:pt x="6016" y="4972"/>
                  <a:pt x="6016" y="4972"/>
                </a:cubicBezTo>
                <a:cubicBezTo>
                  <a:pt x="6068" y="5128"/>
                  <a:pt x="5952" y="5288"/>
                  <a:pt x="5789" y="5288"/>
                </a:cubicBezTo>
                <a:cubicBezTo>
                  <a:pt x="5698" y="5288"/>
                  <a:pt x="5698" y="5288"/>
                  <a:pt x="5698" y="5288"/>
                </a:cubicBezTo>
                <a:cubicBezTo>
                  <a:pt x="5782" y="5626"/>
                  <a:pt x="5782" y="5626"/>
                  <a:pt x="5782" y="5626"/>
                </a:cubicBezTo>
                <a:cubicBezTo>
                  <a:pt x="5796" y="5681"/>
                  <a:pt x="5790" y="5740"/>
                  <a:pt x="5764" y="5791"/>
                </a:cubicBezTo>
                <a:cubicBezTo>
                  <a:pt x="5698" y="5923"/>
                  <a:pt x="5698" y="5923"/>
                  <a:pt x="5698" y="5923"/>
                </a:cubicBezTo>
                <a:moveTo>
                  <a:pt x="3531" y="1058"/>
                </a:moveTo>
                <a:cubicBezTo>
                  <a:pt x="4088" y="1058"/>
                  <a:pt x="4646" y="1235"/>
                  <a:pt x="5106" y="1589"/>
                </a:cubicBezTo>
                <a:cubicBezTo>
                  <a:pt x="5569" y="1947"/>
                  <a:pt x="5874" y="2417"/>
                  <a:pt x="6022" y="2924"/>
                </a:cubicBezTo>
                <a:cubicBezTo>
                  <a:pt x="6138" y="3321"/>
                  <a:pt x="6108" y="3648"/>
                  <a:pt x="5923" y="4019"/>
                </a:cubicBezTo>
                <a:moveTo>
                  <a:pt x="3596" y="847"/>
                </a:moveTo>
                <a:cubicBezTo>
                  <a:pt x="4194" y="847"/>
                  <a:pt x="4798" y="1036"/>
                  <a:pt x="5291" y="1416"/>
                </a:cubicBezTo>
                <a:cubicBezTo>
                  <a:pt x="5787" y="1799"/>
                  <a:pt x="6114" y="2303"/>
                  <a:pt x="6272" y="2846"/>
                </a:cubicBezTo>
                <a:cubicBezTo>
                  <a:pt x="6397" y="3272"/>
                  <a:pt x="6333" y="3622"/>
                  <a:pt x="6134" y="4019"/>
                </a:cubicBezTo>
                <a:moveTo>
                  <a:pt x="3596" y="637"/>
                </a:moveTo>
                <a:cubicBezTo>
                  <a:pt x="4234" y="637"/>
                  <a:pt x="4878" y="838"/>
                  <a:pt x="5404" y="1243"/>
                </a:cubicBezTo>
                <a:cubicBezTo>
                  <a:pt x="5933" y="1651"/>
                  <a:pt x="6282" y="2189"/>
                  <a:pt x="6451" y="2769"/>
                </a:cubicBezTo>
                <a:cubicBezTo>
                  <a:pt x="6583" y="3223"/>
                  <a:pt x="6557" y="3596"/>
                  <a:pt x="6346" y="4019"/>
                </a:cubicBezTo>
                <a:moveTo>
                  <a:pt x="3581" y="424"/>
                </a:moveTo>
                <a:cubicBezTo>
                  <a:pt x="4258" y="424"/>
                  <a:pt x="4959" y="640"/>
                  <a:pt x="5517" y="1071"/>
                </a:cubicBezTo>
                <a:cubicBezTo>
                  <a:pt x="6079" y="1504"/>
                  <a:pt x="6450" y="2076"/>
                  <a:pt x="6629" y="2691"/>
                </a:cubicBezTo>
                <a:cubicBezTo>
                  <a:pt x="6770" y="3174"/>
                  <a:pt x="6782" y="3569"/>
                  <a:pt x="6557" y="4019"/>
                </a:cubicBezTo>
                <a:moveTo>
                  <a:pt x="3596" y="212"/>
                </a:moveTo>
                <a:cubicBezTo>
                  <a:pt x="4313" y="212"/>
                  <a:pt x="5046" y="442"/>
                  <a:pt x="5637" y="898"/>
                </a:cubicBezTo>
                <a:cubicBezTo>
                  <a:pt x="6233" y="1357"/>
                  <a:pt x="6625" y="1962"/>
                  <a:pt x="6816" y="2614"/>
                </a:cubicBezTo>
                <a:cubicBezTo>
                  <a:pt x="6965" y="3125"/>
                  <a:pt x="7007" y="3544"/>
                  <a:pt x="6769" y="4020"/>
                </a:cubicBezTo>
                <a:moveTo>
                  <a:pt x="3596" y="1"/>
                </a:moveTo>
                <a:cubicBezTo>
                  <a:pt x="4353" y="0"/>
                  <a:pt x="5119" y="240"/>
                  <a:pt x="5743" y="722"/>
                </a:cubicBezTo>
                <a:cubicBezTo>
                  <a:pt x="6371" y="1206"/>
                  <a:pt x="6786" y="1845"/>
                  <a:pt x="6987" y="2533"/>
                </a:cubicBezTo>
                <a:cubicBezTo>
                  <a:pt x="7144" y="3073"/>
                  <a:pt x="7232" y="3516"/>
                  <a:pt x="6980" y="4019"/>
                </a:cubicBezTo>
                <a:moveTo>
                  <a:pt x="5925" y="4014"/>
                </a:moveTo>
                <a:cubicBezTo>
                  <a:pt x="5923" y="4019"/>
                  <a:pt x="5923" y="4019"/>
                  <a:pt x="5923" y="4019"/>
                </a:cubicBezTo>
                <a:cubicBezTo>
                  <a:pt x="6241" y="4972"/>
                  <a:pt x="6241" y="4972"/>
                  <a:pt x="6241" y="4972"/>
                </a:cubicBezTo>
                <a:cubicBezTo>
                  <a:pt x="6292" y="5128"/>
                  <a:pt x="6177" y="5288"/>
                  <a:pt x="6013" y="5288"/>
                </a:cubicBezTo>
                <a:cubicBezTo>
                  <a:pt x="5908" y="5289"/>
                  <a:pt x="5908" y="5289"/>
                  <a:pt x="5908" y="5289"/>
                </a:cubicBezTo>
                <a:cubicBezTo>
                  <a:pt x="6007" y="5626"/>
                  <a:pt x="6007" y="5626"/>
                  <a:pt x="6007" y="5626"/>
                </a:cubicBezTo>
                <a:cubicBezTo>
                  <a:pt x="6021" y="5681"/>
                  <a:pt x="6014" y="5740"/>
                  <a:pt x="5989" y="5791"/>
                </a:cubicBezTo>
                <a:cubicBezTo>
                  <a:pt x="5923" y="5923"/>
                  <a:pt x="5923" y="5923"/>
                  <a:pt x="5923" y="5923"/>
                </a:cubicBezTo>
                <a:moveTo>
                  <a:pt x="6137" y="4014"/>
                </a:moveTo>
                <a:cubicBezTo>
                  <a:pt x="6134" y="4019"/>
                  <a:pt x="6134" y="4019"/>
                  <a:pt x="6134" y="4019"/>
                </a:cubicBezTo>
                <a:cubicBezTo>
                  <a:pt x="6452" y="4972"/>
                  <a:pt x="6452" y="4972"/>
                  <a:pt x="6452" y="4972"/>
                </a:cubicBezTo>
                <a:cubicBezTo>
                  <a:pt x="6504" y="5128"/>
                  <a:pt x="6388" y="5288"/>
                  <a:pt x="6225" y="5288"/>
                </a:cubicBezTo>
                <a:cubicBezTo>
                  <a:pt x="6119" y="5289"/>
                  <a:pt x="6119" y="5289"/>
                  <a:pt x="6119" y="5289"/>
                </a:cubicBezTo>
                <a:cubicBezTo>
                  <a:pt x="6219" y="5626"/>
                  <a:pt x="6219" y="5626"/>
                  <a:pt x="6219" y="5626"/>
                </a:cubicBezTo>
                <a:cubicBezTo>
                  <a:pt x="6232" y="5681"/>
                  <a:pt x="6226" y="5740"/>
                  <a:pt x="6200" y="5791"/>
                </a:cubicBezTo>
                <a:cubicBezTo>
                  <a:pt x="6134" y="5923"/>
                  <a:pt x="6134" y="5923"/>
                  <a:pt x="6134" y="5923"/>
                </a:cubicBezTo>
                <a:moveTo>
                  <a:pt x="6348" y="4014"/>
                </a:moveTo>
                <a:cubicBezTo>
                  <a:pt x="6346" y="4019"/>
                  <a:pt x="6346" y="4019"/>
                  <a:pt x="6346" y="4019"/>
                </a:cubicBezTo>
                <a:cubicBezTo>
                  <a:pt x="6664" y="4972"/>
                  <a:pt x="6664" y="4972"/>
                  <a:pt x="6664" y="4972"/>
                </a:cubicBezTo>
                <a:cubicBezTo>
                  <a:pt x="6715" y="5128"/>
                  <a:pt x="6600" y="5288"/>
                  <a:pt x="6436" y="5288"/>
                </a:cubicBezTo>
                <a:cubicBezTo>
                  <a:pt x="6331" y="5289"/>
                  <a:pt x="6331" y="5289"/>
                  <a:pt x="6331" y="5289"/>
                </a:cubicBezTo>
                <a:cubicBezTo>
                  <a:pt x="6430" y="5626"/>
                  <a:pt x="6430" y="5626"/>
                  <a:pt x="6430" y="5626"/>
                </a:cubicBezTo>
                <a:cubicBezTo>
                  <a:pt x="6444" y="5681"/>
                  <a:pt x="6438" y="5740"/>
                  <a:pt x="6412" y="5791"/>
                </a:cubicBezTo>
                <a:cubicBezTo>
                  <a:pt x="6346" y="5923"/>
                  <a:pt x="6346" y="5923"/>
                  <a:pt x="6346" y="5923"/>
                </a:cubicBezTo>
                <a:moveTo>
                  <a:pt x="6560" y="4014"/>
                </a:moveTo>
                <a:cubicBezTo>
                  <a:pt x="6557" y="4019"/>
                  <a:pt x="6557" y="4019"/>
                  <a:pt x="6557" y="4019"/>
                </a:cubicBezTo>
                <a:cubicBezTo>
                  <a:pt x="6875" y="4972"/>
                  <a:pt x="6875" y="4972"/>
                  <a:pt x="6875" y="4972"/>
                </a:cubicBezTo>
                <a:cubicBezTo>
                  <a:pt x="6927" y="5128"/>
                  <a:pt x="6811" y="5288"/>
                  <a:pt x="6648" y="5288"/>
                </a:cubicBezTo>
                <a:cubicBezTo>
                  <a:pt x="6542" y="5289"/>
                  <a:pt x="6542" y="5289"/>
                  <a:pt x="6542" y="5289"/>
                </a:cubicBezTo>
                <a:cubicBezTo>
                  <a:pt x="6642" y="5626"/>
                  <a:pt x="6642" y="5626"/>
                  <a:pt x="6642" y="5626"/>
                </a:cubicBezTo>
                <a:cubicBezTo>
                  <a:pt x="6655" y="5681"/>
                  <a:pt x="6649" y="5740"/>
                  <a:pt x="6623" y="5791"/>
                </a:cubicBezTo>
                <a:cubicBezTo>
                  <a:pt x="6557" y="5923"/>
                  <a:pt x="6557" y="5923"/>
                  <a:pt x="6557" y="5923"/>
                </a:cubicBezTo>
                <a:moveTo>
                  <a:pt x="6771" y="4014"/>
                </a:moveTo>
                <a:cubicBezTo>
                  <a:pt x="6769" y="4019"/>
                  <a:pt x="6769" y="4019"/>
                  <a:pt x="6769" y="4019"/>
                </a:cubicBezTo>
                <a:cubicBezTo>
                  <a:pt x="7087" y="4972"/>
                  <a:pt x="7087" y="4972"/>
                  <a:pt x="7087" y="4972"/>
                </a:cubicBezTo>
                <a:cubicBezTo>
                  <a:pt x="7138" y="5128"/>
                  <a:pt x="7023" y="5288"/>
                  <a:pt x="6859" y="5288"/>
                </a:cubicBezTo>
                <a:cubicBezTo>
                  <a:pt x="6754" y="5289"/>
                  <a:pt x="6754" y="5289"/>
                  <a:pt x="6754" y="5289"/>
                </a:cubicBezTo>
                <a:cubicBezTo>
                  <a:pt x="6853" y="5626"/>
                  <a:pt x="6853" y="5626"/>
                  <a:pt x="6853" y="5626"/>
                </a:cubicBezTo>
                <a:cubicBezTo>
                  <a:pt x="6867" y="5681"/>
                  <a:pt x="6861" y="5740"/>
                  <a:pt x="6835" y="5791"/>
                </a:cubicBezTo>
                <a:cubicBezTo>
                  <a:pt x="6769" y="5923"/>
                  <a:pt x="6769" y="5923"/>
                  <a:pt x="6769" y="5923"/>
                </a:cubicBezTo>
                <a:moveTo>
                  <a:pt x="6983" y="4014"/>
                </a:moveTo>
                <a:cubicBezTo>
                  <a:pt x="6980" y="4019"/>
                  <a:pt x="6980" y="4019"/>
                  <a:pt x="6980" y="4019"/>
                </a:cubicBezTo>
                <a:cubicBezTo>
                  <a:pt x="7298" y="4972"/>
                  <a:pt x="7298" y="4972"/>
                  <a:pt x="7298" y="4972"/>
                </a:cubicBezTo>
                <a:cubicBezTo>
                  <a:pt x="7350" y="5128"/>
                  <a:pt x="7234" y="5288"/>
                  <a:pt x="7071" y="5288"/>
                </a:cubicBezTo>
                <a:cubicBezTo>
                  <a:pt x="6965" y="5289"/>
                  <a:pt x="6965" y="5289"/>
                  <a:pt x="6965" y="5289"/>
                </a:cubicBezTo>
                <a:cubicBezTo>
                  <a:pt x="7065" y="5626"/>
                  <a:pt x="7065" y="5626"/>
                  <a:pt x="7065" y="5626"/>
                </a:cubicBezTo>
                <a:cubicBezTo>
                  <a:pt x="7079" y="5681"/>
                  <a:pt x="7072" y="5740"/>
                  <a:pt x="7047" y="5791"/>
                </a:cubicBezTo>
                <a:cubicBezTo>
                  <a:pt x="6980" y="5923"/>
                  <a:pt x="6980" y="5923"/>
                  <a:pt x="6980" y="5923"/>
                </a:cubicBezTo>
                <a:moveTo>
                  <a:pt x="4217" y="7192"/>
                </a:moveTo>
                <a:cubicBezTo>
                  <a:pt x="4217" y="6959"/>
                  <a:pt x="4407" y="6769"/>
                  <a:pt x="4641" y="6769"/>
                </a:cubicBezTo>
                <a:moveTo>
                  <a:pt x="4429" y="7192"/>
                </a:moveTo>
                <a:cubicBezTo>
                  <a:pt x="4429" y="7076"/>
                  <a:pt x="4524" y="6981"/>
                  <a:pt x="4641" y="6981"/>
                </a:cubicBezTo>
                <a:moveTo>
                  <a:pt x="4006" y="7192"/>
                </a:moveTo>
                <a:cubicBezTo>
                  <a:pt x="4006" y="7543"/>
                  <a:pt x="4290" y="7827"/>
                  <a:pt x="4641" y="7827"/>
                </a:cubicBezTo>
                <a:moveTo>
                  <a:pt x="4641" y="7827"/>
                </a:moveTo>
                <a:cubicBezTo>
                  <a:pt x="5275" y="7827"/>
                  <a:pt x="5275" y="7827"/>
                  <a:pt x="5275" y="7827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615"/>
                </a:moveTo>
                <a:cubicBezTo>
                  <a:pt x="5275" y="7615"/>
                  <a:pt x="5275" y="7615"/>
                  <a:pt x="5275" y="7615"/>
                </a:cubicBezTo>
                <a:moveTo>
                  <a:pt x="4641" y="7404"/>
                </a:moveTo>
                <a:cubicBezTo>
                  <a:pt x="5275" y="7404"/>
                  <a:pt x="5275" y="7404"/>
                  <a:pt x="5275" y="7404"/>
                </a:cubicBezTo>
                <a:moveTo>
                  <a:pt x="4217" y="7192"/>
                </a:moveTo>
                <a:cubicBezTo>
                  <a:pt x="4217" y="7426"/>
                  <a:pt x="4407" y="7615"/>
                  <a:pt x="4641" y="7615"/>
                </a:cubicBezTo>
                <a:moveTo>
                  <a:pt x="4429" y="7192"/>
                </a:moveTo>
                <a:cubicBezTo>
                  <a:pt x="4429" y="7309"/>
                  <a:pt x="4524" y="7404"/>
                  <a:pt x="4641" y="7404"/>
                </a:cubicBezTo>
                <a:moveTo>
                  <a:pt x="5923" y="6135"/>
                </a:moveTo>
                <a:cubicBezTo>
                  <a:pt x="5923" y="6485"/>
                  <a:pt x="5633" y="6769"/>
                  <a:pt x="5275" y="6769"/>
                </a:cubicBezTo>
                <a:moveTo>
                  <a:pt x="6134" y="6135"/>
                </a:moveTo>
                <a:cubicBezTo>
                  <a:pt x="6134" y="6602"/>
                  <a:pt x="5750" y="6981"/>
                  <a:pt x="5275" y="6981"/>
                </a:cubicBezTo>
                <a:moveTo>
                  <a:pt x="6346" y="6135"/>
                </a:moveTo>
                <a:cubicBezTo>
                  <a:pt x="6346" y="6719"/>
                  <a:pt x="5866" y="7192"/>
                  <a:pt x="5275" y="7192"/>
                </a:cubicBezTo>
                <a:moveTo>
                  <a:pt x="6557" y="6135"/>
                </a:moveTo>
                <a:cubicBezTo>
                  <a:pt x="6557" y="6836"/>
                  <a:pt x="5983" y="7404"/>
                  <a:pt x="5275" y="7404"/>
                </a:cubicBezTo>
                <a:moveTo>
                  <a:pt x="6769" y="6135"/>
                </a:moveTo>
                <a:cubicBezTo>
                  <a:pt x="6769" y="6953"/>
                  <a:pt x="6100" y="7615"/>
                  <a:pt x="5275" y="7615"/>
                </a:cubicBezTo>
                <a:moveTo>
                  <a:pt x="6980" y="6135"/>
                </a:moveTo>
                <a:cubicBezTo>
                  <a:pt x="6980" y="7069"/>
                  <a:pt x="6217" y="7827"/>
                  <a:pt x="5275" y="7827"/>
                </a:cubicBezTo>
                <a:moveTo>
                  <a:pt x="5923" y="5923"/>
                </a:moveTo>
                <a:cubicBezTo>
                  <a:pt x="5923" y="6135"/>
                  <a:pt x="5923" y="6135"/>
                  <a:pt x="5923" y="6135"/>
                </a:cubicBezTo>
                <a:moveTo>
                  <a:pt x="6134" y="5923"/>
                </a:moveTo>
                <a:cubicBezTo>
                  <a:pt x="6134" y="6135"/>
                  <a:pt x="6134" y="6135"/>
                  <a:pt x="6134" y="6135"/>
                </a:cubicBezTo>
                <a:moveTo>
                  <a:pt x="6346" y="5923"/>
                </a:moveTo>
                <a:cubicBezTo>
                  <a:pt x="6346" y="6135"/>
                  <a:pt x="6346" y="6135"/>
                  <a:pt x="6346" y="6135"/>
                </a:cubicBezTo>
                <a:moveTo>
                  <a:pt x="6557" y="5923"/>
                </a:moveTo>
                <a:cubicBezTo>
                  <a:pt x="6557" y="6135"/>
                  <a:pt x="6557" y="6135"/>
                  <a:pt x="6557" y="6135"/>
                </a:cubicBezTo>
                <a:moveTo>
                  <a:pt x="6769" y="5923"/>
                </a:moveTo>
                <a:cubicBezTo>
                  <a:pt x="6769" y="6135"/>
                  <a:pt x="6769" y="6135"/>
                  <a:pt x="6769" y="6135"/>
                </a:cubicBezTo>
                <a:moveTo>
                  <a:pt x="6980" y="5923"/>
                </a:moveTo>
                <a:cubicBezTo>
                  <a:pt x="6980" y="6135"/>
                  <a:pt x="6980" y="6135"/>
                  <a:pt x="6980" y="6135"/>
                </a:cubicBezTo>
                <a:moveTo>
                  <a:pt x="1759" y="6437"/>
                </a:moveTo>
                <a:cubicBezTo>
                  <a:pt x="829" y="5834"/>
                  <a:pt x="212" y="4790"/>
                  <a:pt x="212" y="3600"/>
                </a:cubicBezTo>
                <a:cubicBezTo>
                  <a:pt x="212" y="1733"/>
                  <a:pt x="1727" y="212"/>
                  <a:pt x="3596" y="212"/>
                </a:cubicBezTo>
                <a:moveTo>
                  <a:pt x="3596" y="1"/>
                </a:moveTo>
                <a:cubicBezTo>
                  <a:pt x="1610" y="1"/>
                  <a:pt x="0" y="1616"/>
                  <a:pt x="0" y="3600"/>
                </a:cubicBezTo>
                <a:cubicBezTo>
                  <a:pt x="0" y="4902"/>
                  <a:pt x="696" y="6039"/>
                  <a:pt x="1734" y="6669"/>
                </a:cubicBezTo>
                <a:moveTo>
                  <a:pt x="1902" y="6524"/>
                </a:moveTo>
                <a:cubicBezTo>
                  <a:pt x="1854" y="6496"/>
                  <a:pt x="1806" y="6467"/>
                  <a:pt x="1759" y="6437"/>
                </a:cubicBezTo>
                <a:moveTo>
                  <a:pt x="1734" y="6669"/>
                </a:moveTo>
                <a:cubicBezTo>
                  <a:pt x="1767" y="6689"/>
                  <a:pt x="1800" y="6710"/>
                  <a:pt x="1834" y="6729"/>
                </a:cubicBezTo>
                <a:moveTo>
                  <a:pt x="1784" y="6199"/>
                </a:moveTo>
                <a:cubicBezTo>
                  <a:pt x="962" y="5626"/>
                  <a:pt x="423" y="4676"/>
                  <a:pt x="423" y="3599"/>
                </a:cubicBezTo>
                <a:cubicBezTo>
                  <a:pt x="423" y="1848"/>
                  <a:pt x="1829" y="424"/>
                  <a:pt x="3581" y="424"/>
                </a:cubicBezTo>
                <a:moveTo>
                  <a:pt x="3596" y="212"/>
                </a:moveTo>
                <a:cubicBezTo>
                  <a:pt x="1727" y="212"/>
                  <a:pt x="212" y="1733"/>
                  <a:pt x="212" y="3600"/>
                </a:cubicBezTo>
                <a:cubicBezTo>
                  <a:pt x="212" y="4790"/>
                  <a:pt x="829" y="5834"/>
                  <a:pt x="1759" y="6437"/>
                </a:cubicBezTo>
                <a:moveTo>
                  <a:pt x="2039" y="6112"/>
                </a:moveTo>
                <a:cubicBezTo>
                  <a:pt x="1960" y="6063"/>
                  <a:pt x="1884" y="6011"/>
                  <a:pt x="1810" y="5954"/>
                </a:cubicBezTo>
                <a:moveTo>
                  <a:pt x="1784" y="6199"/>
                </a:moveTo>
                <a:cubicBezTo>
                  <a:pt x="1844" y="6241"/>
                  <a:pt x="1907" y="6280"/>
                  <a:pt x="1971" y="6318"/>
                </a:cubicBezTo>
                <a:moveTo>
                  <a:pt x="1836" y="5708"/>
                </a:moveTo>
                <a:cubicBezTo>
                  <a:pt x="1231" y="5204"/>
                  <a:pt x="846" y="4445"/>
                  <a:pt x="846" y="3597"/>
                </a:cubicBezTo>
                <a:cubicBezTo>
                  <a:pt x="846" y="2078"/>
                  <a:pt x="2078" y="847"/>
                  <a:pt x="3596" y="847"/>
                </a:cubicBezTo>
                <a:moveTo>
                  <a:pt x="3596" y="637"/>
                </a:moveTo>
                <a:cubicBezTo>
                  <a:pt x="1961" y="637"/>
                  <a:pt x="635" y="1963"/>
                  <a:pt x="635" y="3598"/>
                </a:cubicBezTo>
                <a:cubicBezTo>
                  <a:pt x="635" y="4561"/>
                  <a:pt x="1097" y="5414"/>
                  <a:pt x="1810" y="5954"/>
                </a:cubicBezTo>
                <a:moveTo>
                  <a:pt x="1810" y="5954"/>
                </a:moveTo>
                <a:cubicBezTo>
                  <a:pt x="1884" y="6011"/>
                  <a:pt x="1960" y="6063"/>
                  <a:pt x="2039" y="6112"/>
                </a:cubicBezTo>
                <a:moveTo>
                  <a:pt x="2108" y="5907"/>
                </a:moveTo>
                <a:cubicBezTo>
                  <a:pt x="2013" y="5845"/>
                  <a:pt x="1922" y="5780"/>
                  <a:pt x="1836" y="5708"/>
                </a:cubicBezTo>
                <a:moveTo>
                  <a:pt x="1836" y="5708"/>
                </a:moveTo>
                <a:cubicBezTo>
                  <a:pt x="1922" y="5780"/>
                  <a:pt x="2013" y="5845"/>
                  <a:pt x="2108" y="5907"/>
                </a:cubicBezTo>
                <a:moveTo>
                  <a:pt x="2174" y="5699"/>
                </a:moveTo>
                <a:cubicBezTo>
                  <a:pt x="2063" y="5624"/>
                  <a:pt x="1960" y="5539"/>
                  <a:pt x="1863" y="5447"/>
                </a:cubicBezTo>
                <a:moveTo>
                  <a:pt x="3596" y="1058"/>
                </a:moveTo>
                <a:cubicBezTo>
                  <a:pt x="2194" y="1058"/>
                  <a:pt x="1058" y="2195"/>
                  <a:pt x="1058" y="3597"/>
                </a:cubicBezTo>
                <a:cubicBezTo>
                  <a:pt x="1058" y="4327"/>
                  <a:pt x="1369" y="4984"/>
                  <a:pt x="1863" y="5447"/>
                </a:cubicBezTo>
                <a:moveTo>
                  <a:pt x="2259" y="5501"/>
                </a:moveTo>
                <a:cubicBezTo>
                  <a:pt x="1660" y="5080"/>
                  <a:pt x="1269" y="4384"/>
                  <a:pt x="1269" y="3597"/>
                </a:cubicBezTo>
                <a:cubicBezTo>
                  <a:pt x="1269" y="2312"/>
                  <a:pt x="2311" y="1270"/>
                  <a:pt x="3596" y="1270"/>
                </a:cubicBezTo>
                <a:moveTo>
                  <a:pt x="1863" y="5447"/>
                </a:moveTo>
                <a:cubicBezTo>
                  <a:pt x="1960" y="5539"/>
                  <a:pt x="2063" y="5624"/>
                  <a:pt x="2174" y="5699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0" y="1401300"/>
            <a:ext cx="7857000" cy="1485000"/>
          </a:xfrm>
        </p:spPr>
        <p:txBody>
          <a:bodyPr vert="horz" lIns="36000" tIns="0" rIns="36000" bIns="0" rtlCol="0" anchor="b">
            <a:normAutofit/>
          </a:bodyPr>
          <a:lstStyle>
            <a:lvl1pPr>
              <a:defRPr lang="en-US" sz="48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defTabSz="457189">
              <a:lnSpc>
                <a:spcPct val="80000"/>
              </a:lnSpc>
              <a:spcBef>
                <a:spcPts val="0"/>
              </a:spcBef>
              <a:buSzPct val="100000"/>
              <a:buFont typeface="PingFangSC-Regular" charset="-122"/>
            </a:pPr>
            <a:r>
              <a:rPr lang="en-US" dirty="0" smtClean="0"/>
              <a:t>Public Securit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0238" y="2886300"/>
            <a:ext cx="7874762" cy="445500"/>
          </a:xfrm>
        </p:spPr>
        <p:txBody>
          <a:bodyPr vert="horz" lIns="36000" tIns="0" rIns="36000" bIns="0" rtlCol="0">
            <a:normAutofit/>
          </a:bodyPr>
          <a:lstStyle>
            <a:lvl1pPr marL="0" indent="0">
              <a:buNone/>
              <a:defRPr lang="en-US" sz="1800" baseline="0">
                <a:solidFill>
                  <a:srgbClr val="FFFFFF"/>
                </a:solidFill>
              </a:defRPr>
            </a:lvl1pPr>
          </a:lstStyle>
          <a:p>
            <a:pPr marL="171450" lvl="0" indent="-171450" defTabSz="457189">
              <a:spcBef>
                <a:spcPts val="0"/>
              </a:spcBef>
              <a:buSzPct val="100000"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black">
          <a:xfrm>
            <a:off x="447676" y="4187827"/>
            <a:ext cx="2049463" cy="517525"/>
            <a:chOff x="447675" y="4187826"/>
            <a:chExt cx="2049463" cy="517525"/>
          </a:xfrm>
          <a:solidFill>
            <a:srgbClr val="FFFFFF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 bwMode="black">
          <a:xfrm>
            <a:off x="6758100" y="4347000"/>
            <a:ext cx="1746900" cy="275400"/>
          </a:xfrm>
        </p:spPr>
        <p:txBody>
          <a:bodyPr vert="horz" lIns="36000" tIns="0" rIns="36000" bIns="0" rtlCol="0" anchor="ctr"/>
          <a:lstStyle>
            <a:lvl1pPr>
              <a:defRPr lang="en-GB" sz="1000" smtClean="0">
                <a:solidFill>
                  <a:srgbClr val="FFFFFF"/>
                </a:solidFill>
              </a:defRPr>
            </a:lvl1pPr>
          </a:lstStyle>
          <a:p>
            <a:pPr algn="r"/>
            <a:fld id="{408F92A7-A638-43D3-849F-5F60361A55A7}" type="datetime1">
              <a:rPr lang="en-GB" smtClean="0"/>
              <a:t>24/01/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2959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theme" Target="../theme/theme7.xml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slideLayout" Target="../slideLayouts/slideLayout1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 noEditPoints="1"/>
          </p:cNvSpPr>
          <p:nvPr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/>
          <a:p>
            <a:pPr lvl="0" defTabSz="457189"/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400" y="985500"/>
            <a:ext cx="8086500" cy="3739500"/>
          </a:xfrm>
          <a:prstGeom prst="rect">
            <a:avLst/>
          </a:prstGeom>
        </p:spPr>
        <p:txBody>
          <a:bodyPr vert="horz" lIns="36000" tIns="0" rIns="36000" bIns="0" rtlCol="0">
            <a:normAutofit/>
          </a:bodyPr>
          <a:lstStyle/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dirty="0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dirty="0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dirty="0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dirty="0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8" name="Group 4"/>
          <p:cNvGrpSpPr>
            <a:grpSpLocks noChangeAspect="1"/>
          </p:cNvGrpSpPr>
          <p:nvPr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3" name="Freeform 5"/>
          <p:cNvSpPr>
            <a:spLocks noEditPoints="1"/>
          </p:cNvSpPr>
          <p:nvPr/>
        </p:nvSpPr>
        <p:spPr bwMode="gray">
          <a:xfrm>
            <a:off x="237982" y="801688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237384" y="227981"/>
            <a:ext cx="463159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0800" y="3987900"/>
            <a:ext cx="907200" cy="273844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smtClean="0">
                <a:solidFill>
                  <a:schemeClr val="bg2"/>
                </a:solidFill>
              </a:defRPr>
            </a:lvl1pPr>
          </a:lstStyle>
          <a:p>
            <a:pPr algn="ctr"/>
            <a:fld id="{8BD4CE06-E5EE-4DB2-B442-2CFFEA7AE916}" type="datetime1">
              <a:rPr lang="en-GB" smtClean="0"/>
              <a:t>24/01/2018</a:t>
            </a:fld>
            <a:endParaRPr lang="en-GB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-251100" y="1352700"/>
            <a:ext cx="1433700" cy="2754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dirty="0">
                <a:solidFill>
                  <a:schemeClr val="bg2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40300" y="4779000"/>
            <a:ext cx="453600" cy="170100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>
              <a:defRPr lang="en-US" sz="1100" smtClean="0">
                <a:solidFill>
                  <a:schemeClr val="bg2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cxnSp>
        <p:nvCxnSpPr>
          <p:cNvPr id="31" name="Straight Connector 13"/>
          <p:cNvCxnSpPr/>
          <p:nvPr userDrawn="1"/>
        </p:nvCxnSpPr>
        <p:spPr>
          <a:xfrm>
            <a:off x="869672" y="807513"/>
            <a:ext cx="8064000" cy="0"/>
          </a:xfrm>
          <a:prstGeom prst="line">
            <a:avLst/>
          </a:prstGeom>
          <a:ln w="381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0152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  <p:sldLayoutId id="2147484013" r:id="rId12"/>
    <p:sldLayoutId id="2147484014" r:id="rId13"/>
    <p:sldLayoutId id="2147484015" r:id="rId14"/>
    <p:sldLayoutId id="2147484016" r:id="rId15"/>
    <p:sldLayoutId id="2147484017" r:id="rId16"/>
    <p:sldLayoutId id="2147484018" r:id="rId17"/>
    <p:sldLayoutId id="2147484019" r:id="rId18"/>
    <p:sldLayoutId id="2147484020" r:id="rId19"/>
    <p:sldLayoutId id="2147484021" r:id="rId20"/>
    <p:sldLayoutId id="2147484022" r:id="rId21"/>
    <p:sldLayoutId id="2147484023" r:id="rId22"/>
    <p:sldLayoutId id="2147484024" r:id="rId23"/>
    <p:sldLayoutId id="2147484025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1800" b="1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600" b="1" kern="120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b="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521">
          <p15:clr>
            <a:srgbClr val="F26B43"/>
          </p15:clr>
        </p15:guide>
        <p15:guide id="4" pos="5624">
          <p15:clr>
            <a:srgbClr val="F26B43"/>
          </p15:clr>
        </p15:guide>
        <p15:guide id="5" orient="horz" pos="622">
          <p15:clr>
            <a:srgbClr val="F26B43"/>
          </p15:clr>
        </p15:guide>
        <p15:guide id="6" orient="horz" pos="29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/>
          <p:cNvSpPr>
            <a:spLocks noEditPoints="1"/>
          </p:cNvSpPr>
          <p:nvPr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/>
          <a:p>
            <a:pPr lvl="0" defTabSz="457189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400" y="985500"/>
            <a:ext cx="8086500" cy="3739500"/>
          </a:xfrm>
          <a:prstGeom prst="rect">
            <a:avLst/>
          </a:prstGeom>
        </p:spPr>
        <p:txBody>
          <a:bodyPr vert="horz" lIns="36000" tIns="0" rIns="36000" bIns="0" rtlCol="0">
            <a:normAutofit/>
          </a:bodyPr>
          <a:lstStyle/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dirty="0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dirty="0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dirty="0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dirty="0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0800" y="3987900"/>
            <a:ext cx="907200" cy="273844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smtClean="0">
                <a:solidFill>
                  <a:schemeClr val="bg2"/>
                </a:solidFill>
              </a:defRPr>
            </a:lvl1pPr>
          </a:lstStyle>
          <a:p>
            <a:pPr algn="ctr"/>
            <a:fld id="{CEF0AA10-5957-4261-A233-8B35006D7B04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-251100" y="1352700"/>
            <a:ext cx="1433700" cy="2754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dirty="0">
                <a:solidFill>
                  <a:schemeClr val="bg2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40300" y="4779000"/>
            <a:ext cx="453600" cy="170100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>
              <a:defRPr lang="en-US" sz="1100" smtClean="0">
                <a:solidFill>
                  <a:schemeClr val="bg2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8" name="Group 4"/>
          <p:cNvGrpSpPr>
            <a:grpSpLocks noChangeAspect="1"/>
          </p:cNvGrpSpPr>
          <p:nvPr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13" name="Straight Connector 13"/>
          <p:cNvCxnSpPr/>
          <p:nvPr userDrawn="1"/>
        </p:nvCxnSpPr>
        <p:spPr>
          <a:xfrm>
            <a:off x="869672" y="807513"/>
            <a:ext cx="8064000" cy="0"/>
          </a:xfrm>
          <a:prstGeom prst="line">
            <a:avLst/>
          </a:prstGeom>
          <a:ln w="381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420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178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  <p:sldLayoutId id="2147484055" r:id="rId16"/>
    <p:sldLayoutId id="2147484056" r:id="rId17"/>
    <p:sldLayoutId id="2147484057" r:id="rId18"/>
    <p:sldLayoutId id="2147484058" r:id="rId19"/>
    <p:sldLayoutId id="2147484059" r:id="rId20"/>
    <p:sldLayoutId id="2147484060" r:id="rId21"/>
    <p:sldLayoutId id="2147484061" r:id="rId22"/>
    <p:sldLayoutId id="2147484062" r:id="rId23"/>
    <p:sldLayoutId id="214748417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1800" b="1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600" b="1" kern="120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b="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/>
          <p:cNvSpPr>
            <a:spLocks noEditPoints="1"/>
          </p:cNvSpPr>
          <p:nvPr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/>
          <a:p>
            <a:pPr lvl="0" defTabSz="457189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400" y="985500"/>
            <a:ext cx="8086500" cy="3739500"/>
          </a:xfrm>
          <a:prstGeom prst="rect">
            <a:avLst/>
          </a:prstGeom>
        </p:spPr>
        <p:txBody>
          <a:bodyPr vert="horz" lIns="36000" tIns="0" rIns="36000" bIns="0" rtlCol="0">
            <a:normAutofit/>
          </a:bodyPr>
          <a:lstStyle/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dirty="0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dirty="0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dirty="0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dirty="0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0800" y="3987900"/>
            <a:ext cx="907200" cy="273844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smtClean="0">
                <a:solidFill>
                  <a:schemeClr val="bg2"/>
                </a:solidFill>
              </a:defRPr>
            </a:lvl1pPr>
          </a:lstStyle>
          <a:p>
            <a:pPr algn="ctr"/>
            <a:fld id="{BBD4BD9C-C5D0-47B2-BC5A-74886D508F10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-251100" y="1352700"/>
            <a:ext cx="1433700" cy="2754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dirty="0">
                <a:solidFill>
                  <a:schemeClr val="bg2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40300" y="4779000"/>
            <a:ext cx="453600" cy="170100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>
              <a:defRPr lang="en-US" sz="1100" smtClean="0">
                <a:solidFill>
                  <a:schemeClr val="bg2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8" name="Group 4"/>
          <p:cNvGrpSpPr>
            <a:grpSpLocks noChangeAspect="1"/>
          </p:cNvGrpSpPr>
          <p:nvPr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13" name="Straight Connector 13"/>
          <p:cNvCxnSpPr/>
          <p:nvPr userDrawn="1"/>
        </p:nvCxnSpPr>
        <p:spPr>
          <a:xfrm>
            <a:off x="869672" y="807513"/>
            <a:ext cx="8064000" cy="0"/>
          </a:xfrm>
          <a:prstGeom prst="line">
            <a:avLst/>
          </a:prstGeom>
          <a:ln w="381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5932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180" r:id="rId4"/>
    <p:sldLayoutId id="2147484067" r:id="rId5"/>
    <p:sldLayoutId id="2147484068" r:id="rId6"/>
    <p:sldLayoutId id="2147484069" r:id="rId7"/>
    <p:sldLayoutId id="2147484070" r:id="rId8"/>
    <p:sldLayoutId id="2147484071" r:id="rId9"/>
    <p:sldLayoutId id="2147484072" r:id="rId10"/>
    <p:sldLayoutId id="2147484073" r:id="rId11"/>
    <p:sldLayoutId id="2147484074" r:id="rId12"/>
    <p:sldLayoutId id="2147484075" r:id="rId13"/>
    <p:sldLayoutId id="2147484076" r:id="rId14"/>
    <p:sldLayoutId id="2147484077" r:id="rId15"/>
    <p:sldLayoutId id="2147484078" r:id="rId16"/>
    <p:sldLayoutId id="2147484079" r:id="rId17"/>
    <p:sldLayoutId id="2147484080" r:id="rId18"/>
    <p:sldLayoutId id="2147484081" r:id="rId19"/>
    <p:sldLayoutId id="2147484082" r:id="rId20"/>
    <p:sldLayoutId id="2147484083" r:id="rId21"/>
    <p:sldLayoutId id="2147484084" r:id="rId22"/>
    <p:sldLayoutId id="2147484085" r:id="rId23"/>
    <p:sldLayoutId id="2147484181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1800" b="1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600" b="1" kern="120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b="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/>
          <p:cNvSpPr>
            <a:spLocks noEditPoints="1"/>
          </p:cNvSpPr>
          <p:nvPr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/>
          <a:p>
            <a:pPr lvl="0" defTabSz="457189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400" y="985500"/>
            <a:ext cx="8086500" cy="3739500"/>
          </a:xfrm>
          <a:prstGeom prst="rect">
            <a:avLst/>
          </a:prstGeom>
        </p:spPr>
        <p:txBody>
          <a:bodyPr vert="horz" lIns="36000" tIns="0" rIns="36000" bIns="0" rtlCol="0">
            <a:normAutofit/>
          </a:bodyPr>
          <a:lstStyle/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dirty="0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dirty="0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dirty="0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dirty="0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0800" y="3987900"/>
            <a:ext cx="907200" cy="273844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smtClean="0">
                <a:solidFill>
                  <a:schemeClr val="bg2"/>
                </a:solidFill>
              </a:defRPr>
            </a:lvl1pPr>
          </a:lstStyle>
          <a:p>
            <a:pPr algn="ctr"/>
            <a:fld id="{FC72A5C9-A8D8-4141-8274-20A07A824C0D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-251100" y="1352700"/>
            <a:ext cx="1433700" cy="2754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dirty="0">
                <a:solidFill>
                  <a:schemeClr val="bg2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40300" y="4779000"/>
            <a:ext cx="453600" cy="170100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>
              <a:defRPr lang="en-US" sz="1100" smtClean="0">
                <a:solidFill>
                  <a:schemeClr val="bg2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8" name="Group 4"/>
          <p:cNvGrpSpPr>
            <a:grpSpLocks noChangeAspect="1"/>
          </p:cNvGrpSpPr>
          <p:nvPr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13" name="Straight Connector 13"/>
          <p:cNvCxnSpPr/>
          <p:nvPr userDrawn="1"/>
        </p:nvCxnSpPr>
        <p:spPr>
          <a:xfrm>
            <a:off x="869672" y="807513"/>
            <a:ext cx="8064000" cy="0"/>
          </a:xfrm>
          <a:prstGeom prst="line">
            <a:avLst/>
          </a:prstGeom>
          <a:ln w="381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6861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182" r:id="rId4"/>
    <p:sldLayoutId id="2147484090" r:id="rId5"/>
    <p:sldLayoutId id="2147484091" r:id="rId6"/>
    <p:sldLayoutId id="2147484092" r:id="rId7"/>
    <p:sldLayoutId id="2147484093" r:id="rId8"/>
    <p:sldLayoutId id="2147484094" r:id="rId9"/>
    <p:sldLayoutId id="2147484095" r:id="rId10"/>
    <p:sldLayoutId id="2147484096" r:id="rId11"/>
    <p:sldLayoutId id="2147484097" r:id="rId12"/>
    <p:sldLayoutId id="2147484098" r:id="rId13"/>
    <p:sldLayoutId id="2147484099" r:id="rId14"/>
    <p:sldLayoutId id="2147484100" r:id="rId15"/>
    <p:sldLayoutId id="2147484101" r:id="rId16"/>
    <p:sldLayoutId id="2147484102" r:id="rId17"/>
    <p:sldLayoutId id="2147484103" r:id="rId18"/>
    <p:sldLayoutId id="2147484104" r:id="rId19"/>
    <p:sldLayoutId id="2147484105" r:id="rId20"/>
    <p:sldLayoutId id="2147484106" r:id="rId21"/>
    <p:sldLayoutId id="2147484107" r:id="rId22"/>
    <p:sldLayoutId id="2147484108" r:id="rId23"/>
    <p:sldLayoutId id="2147484183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1800" b="1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600" b="1" kern="120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b="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/>
          <p:cNvSpPr>
            <a:spLocks noEditPoints="1"/>
          </p:cNvSpPr>
          <p:nvPr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/>
          <a:p>
            <a:pPr lvl="0" defTabSz="457189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400" y="985500"/>
            <a:ext cx="8086500" cy="3739500"/>
          </a:xfrm>
          <a:prstGeom prst="rect">
            <a:avLst/>
          </a:prstGeom>
        </p:spPr>
        <p:txBody>
          <a:bodyPr vert="horz" lIns="36000" tIns="0" rIns="36000" bIns="0" rtlCol="0">
            <a:normAutofit/>
          </a:bodyPr>
          <a:lstStyle/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dirty="0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dirty="0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dirty="0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dirty="0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0800" y="3987900"/>
            <a:ext cx="907200" cy="273844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smtClean="0">
                <a:solidFill>
                  <a:schemeClr val="bg2"/>
                </a:solidFill>
              </a:defRPr>
            </a:lvl1pPr>
          </a:lstStyle>
          <a:p>
            <a:pPr algn="ctr"/>
            <a:fld id="{7F8F8E3A-36C5-4520-9FE3-57A8E6738D0C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-251100" y="1352700"/>
            <a:ext cx="1433700" cy="2754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dirty="0">
                <a:solidFill>
                  <a:schemeClr val="bg2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40300" y="4779000"/>
            <a:ext cx="453600" cy="170100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>
              <a:defRPr lang="en-US" sz="1100" smtClean="0">
                <a:solidFill>
                  <a:schemeClr val="bg2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8" name="Group 4"/>
          <p:cNvGrpSpPr>
            <a:grpSpLocks noChangeAspect="1"/>
          </p:cNvGrpSpPr>
          <p:nvPr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13" name="Straight Connector 13"/>
          <p:cNvCxnSpPr/>
          <p:nvPr userDrawn="1"/>
        </p:nvCxnSpPr>
        <p:spPr>
          <a:xfrm>
            <a:off x="869672" y="807513"/>
            <a:ext cx="8064000" cy="0"/>
          </a:xfrm>
          <a:prstGeom prst="line">
            <a:avLst/>
          </a:prstGeom>
          <a:ln w="381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8223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84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  <p:sldLayoutId id="2147484119" r:id="rId11"/>
    <p:sldLayoutId id="2147484120" r:id="rId12"/>
    <p:sldLayoutId id="2147484121" r:id="rId13"/>
    <p:sldLayoutId id="2147484122" r:id="rId14"/>
    <p:sldLayoutId id="2147484123" r:id="rId15"/>
    <p:sldLayoutId id="2147484124" r:id="rId16"/>
    <p:sldLayoutId id="2147484125" r:id="rId17"/>
    <p:sldLayoutId id="2147484126" r:id="rId18"/>
    <p:sldLayoutId id="2147484127" r:id="rId19"/>
    <p:sldLayoutId id="2147484128" r:id="rId20"/>
    <p:sldLayoutId id="2147484129" r:id="rId21"/>
    <p:sldLayoutId id="2147484130" r:id="rId22"/>
    <p:sldLayoutId id="2147484131" r:id="rId23"/>
    <p:sldLayoutId id="2147484185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1800" b="1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600" b="1" kern="120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b="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 noEditPoints="1"/>
          </p:cNvSpPr>
          <p:nvPr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/>
          <a:p>
            <a:pPr lvl="0" defTabSz="457189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400" y="985500"/>
            <a:ext cx="8086500" cy="3739500"/>
          </a:xfrm>
          <a:prstGeom prst="rect">
            <a:avLst/>
          </a:prstGeom>
        </p:spPr>
        <p:txBody>
          <a:bodyPr vert="horz" lIns="36000" tIns="0" rIns="36000" bIns="0" rtlCol="0">
            <a:normAutofit/>
          </a:bodyPr>
          <a:lstStyle/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dirty="0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dirty="0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dirty="0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dirty="0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0800" y="3987900"/>
            <a:ext cx="907200" cy="273844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smtClean="0">
                <a:solidFill>
                  <a:schemeClr val="bg2"/>
                </a:solidFill>
              </a:defRPr>
            </a:lvl1pPr>
          </a:lstStyle>
          <a:p>
            <a:pPr algn="ctr"/>
            <a:fld id="{74B549AF-D87F-4318-8F94-056E20B97E4F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-251100" y="1352700"/>
            <a:ext cx="1433700" cy="2754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dirty="0">
                <a:solidFill>
                  <a:schemeClr val="bg2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40300" y="4779000"/>
            <a:ext cx="453600" cy="170100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>
              <a:defRPr lang="en-US" sz="1100" smtClean="0">
                <a:solidFill>
                  <a:schemeClr val="bg2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8" name="Group 4"/>
          <p:cNvGrpSpPr>
            <a:grpSpLocks noChangeAspect="1"/>
          </p:cNvGrpSpPr>
          <p:nvPr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13" name="Straight Connector 13"/>
          <p:cNvCxnSpPr/>
          <p:nvPr userDrawn="1"/>
        </p:nvCxnSpPr>
        <p:spPr>
          <a:xfrm>
            <a:off x="869672" y="807513"/>
            <a:ext cx="8064000" cy="0"/>
          </a:xfrm>
          <a:prstGeom prst="line">
            <a:avLst/>
          </a:prstGeom>
          <a:ln w="381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2905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35" r:id="rId3"/>
    <p:sldLayoutId id="2147484186" r:id="rId4"/>
    <p:sldLayoutId id="2147484136" r:id="rId5"/>
    <p:sldLayoutId id="2147484137" r:id="rId6"/>
    <p:sldLayoutId id="2147484138" r:id="rId7"/>
    <p:sldLayoutId id="2147484139" r:id="rId8"/>
    <p:sldLayoutId id="2147484140" r:id="rId9"/>
    <p:sldLayoutId id="2147484141" r:id="rId10"/>
    <p:sldLayoutId id="2147484142" r:id="rId11"/>
    <p:sldLayoutId id="2147484143" r:id="rId12"/>
    <p:sldLayoutId id="2147484144" r:id="rId13"/>
    <p:sldLayoutId id="2147484145" r:id="rId14"/>
    <p:sldLayoutId id="2147484146" r:id="rId15"/>
    <p:sldLayoutId id="2147484147" r:id="rId16"/>
    <p:sldLayoutId id="2147484148" r:id="rId17"/>
    <p:sldLayoutId id="2147484149" r:id="rId18"/>
    <p:sldLayoutId id="2147484150" r:id="rId19"/>
    <p:sldLayoutId id="2147484151" r:id="rId20"/>
    <p:sldLayoutId id="2147484152" r:id="rId21"/>
    <p:sldLayoutId id="2147484153" r:id="rId22"/>
    <p:sldLayoutId id="2147484154" r:id="rId23"/>
    <p:sldLayoutId id="2147484187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1800" b="1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600" b="1" kern="120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b="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/>
          <p:cNvSpPr>
            <a:spLocks noEditPoints="1"/>
          </p:cNvSpPr>
          <p:nvPr/>
        </p:nvSpPr>
        <p:spPr bwMode="gray">
          <a:xfrm>
            <a:off x="237983" y="801689"/>
            <a:ext cx="461962" cy="3779837"/>
          </a:xfrm>
          <a:custGeom>
            <a:avLst/>
            <a:gdLst>
              <a:gd name="T0" fmla="*/ 0 w 291"/>
              <a:gd name="T1" fmla="*/ 70 h 2381"/>
              <a:gd name="T2" fmla="*/ 143 w 291"/>
              <a:gd name="T3" fmla="*/ 0 h 2381"/>
              <a:gd name="T4" fmla="*/ 289 w 291"/>
              <a:gd name="T5" fmla="*/ 70 h 2381"/>
              <a:gd name="T6" fmla="*/ 0 w 291"/>
              <a:gd name="T7" fmla="*/ 877 h 2381"/>
              <a:gd name="T8" fmla="*/ 143 w 291"/>
              <a:gd name="T9" fmla="*/ 819 h 2381"/>
              <a:gd name="T10" fmla="*/ 291 w 291"/>
              <a:gd name="T11" fmla="*/ 877 h 2381"/>
              <a:gd name="T12" fmla="*/ 0 w 291"/>
              <a:gd name="T13" fmla="*/ 1338 h 2381"/>
              <a:gd name="T14" fmla="*/ 143 w 291"/>
              <a:gd name="T15" fmla="*/ 1306 h 2381"/>
              <a:gd name="T16" fmla="*/ 291 w 291"/>
              <a:gd name="T17" fmla="*/ 1336 h 2381"/>
              <a:gd name="T18" fmla="*/ 0 w 291"/>
              <a:gd name="T19" fmla="*/ 1802 h 2381"/>
              <a:gd name="T20" fmla="*/ 143 w 291"/>
              <a:gd name="T21" fmla="*/ 1790 h 2381"/>
              <a:gd name="T22" fmla="*/ 291 w 291"/>
              <a:gd name="T23" fmla="*/ 1802 h 2381"/>
              <a:gd name="T24" fmla="*/ 0 w 291"/>
              <a:gd name="T25" fmla="*/ 2381 h 2381"/>
              <a:gd name="T26" fmla="*/ 143 w 291"/>
              <a:gd name="T27" fmla="*/ 2381 h 2381"/>
              <a:gd name="T28" fmla="*/ 291 w 291"/>
              <a:gd name="T29" fmla="*/ 2381 h 2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91" h="2381">
                <a:moveTo>
                  <a:pt x="0" y="70"/>
                </a:moveTo>
                <a:lnTo>
                  <a:pt x="143" y="0"/>
                </a:lnTo>
                <a:lnTo>
                  <a:pt x="289" y="70"/>
                </a:lnTo>
                <a:moveTo>
                  <a:pt x="0" y="877"/>
                </a:moveTo>
                <a:lnTo>
                  <a:pt x="143" y="819"/>
                </a:lnTo>
                <a:lnTo>
                  <a:pt x="291" y="877"/>
                </a:lnTo>
                <a:moveTo>
                  <a:pt x="0" y="1338"/>
                </a:moveTo>
                <a:lnTo>
                  <a:pt x="143" y="1306"/>
                </a:lnTo>
                <a:lnTo>
                  <a:pt x="291" y="1336"/>
                </a:lnTo>
                <a:moveTo>
                  <a:pt x="0" y="1802"/>
                </a:moveTo>
                <a:lnTo>
                  <a:pt x="143" y="1790"/>
                </a:lnTo>
                <a:lnTo>
                  <a:pt x="291" y="1802"/>
                </a:lnTo>
                <a:moveTo>
                  <a:pt x="0" y="2381"/>
                </a:moveTo>
                <a:lnTo>
                  <a:pt x="143" y="2381"/>
                </a:lnTo>
                <a:lnTo>
                  <a:pt x="291" y="2381"/>
                </a:lnTo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2400" y="226800"/>
            <a:ext cx="808650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/>
          <a:p>
            <a:pPr lvl="0" defTabSz="457189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2400" y="985500"/>
            <a:ext cx="8086500" cy="3739500"/>
          </a:xfrm>
          <a:prstGeom prst="rect">
            <a:avLst/>
          </a:prstGeom>
        </p:spPr>
        <p:txBody>
          <a:bodyPr vert="horz" lIns="36000" tIns="0" rIns="36000" bIns="0" rtlCol="0">
            <a:normAutofit/>
          </a:bodyPr>
          <a:lstStyle/>
          <a:p>
            <a:pPr marL="179996" lvl="0" indent="-179996" defTabSz="457189">
              <a:spcBef>
                <a:spcPts val="1800"/>
              </a:spcBef>
              <a:buSzPct val="100000"/>
              <a:buFont typeface="PingFangSC-Regular" charset="-122"/>
              <a:buChar char="〉"/>
            </a:pPr>
            <a:r>
              <a:rPr lang="en-US" dirty="0" smtClean="0"/>
              <a:t>Edit Master text styles</a:t>
            </a:r>
          </a:p>
          <a:p>
            <a:pPr marL="467988" lvl="1" indent="-179996" defTabSz="457189"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anose="05050102010706020507" pitchFamily="18" charset="2"/>
              <a:buChar char="·"/>
            </a:pPr>
            <a:r>
              <a:rPr lang="en-US" dirty="0" smtClean="0"/>
              <a:t>Second level</a:t>
            </a:r>
          </a:p>
          <a:p>
            <a:pPr marL="719982" lvl="2" indent="-215995" defTabSz="457189">
              <a:spcBef>
                <a:spcPts val="300"/>
              </a:spcBef>
              <a:buSzPct val="100000"/>
              <a:buFont typeface="Symbol" panose="05050102010706020507" pitchFamily="18" charset="2"/>
              <a:buChar char="®"/>
            </a:pPr>
            <a:r>
              <a:rPr lang="en-US" dirty="0" smtClean="0"/>
              <a:t>Third level</a:t>
            </a:r>
          </a:p>
          <a:p>
            <a:pPr marL="1007975" lvl="3" indent="-143996" defTabSz="457189">
              <a:spcBef>
                <a:spcPts val="300"/>
              </a:spcBef>
              <a:buClr>
                <a:schemeClr val="bg2"/>
              </a:buClr>
              <a:buSzPct val="90000"/>
              <a:buFont typeface="Wingdings 2" panose="05020102010507070707" pitchFamily="18" charset="2"/>
              <a:buChar char=""/>
              <a:tabLst/>
            </a:pPr>
            <a:r>
              <a:rPr lang="en-US" dirty="0" smtClean="0"/>
              <a:t>Fourth level</a:t>
            </a:r>
          </a:p>
          <a:p>
            <a:pPr marL="1223969" lvl="4" indent="-107997" defTabSz="457189">
              <a:spcBef>
                <a:spcPts val="300"/>
              </a:spcBef>
              <a:buClr>
                <a:schemeClr val="bg2"/>
              </a:buClr>
              <a:buFont typeface="Symbol" panose="05050102010706020507" pitchFamily="18" charset="2"/>
              <a:buChar char="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0800" y="3987900"/>
            <a:ext cx="907200" cy="273844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smtClean="0">
                <a:solidFill>
                  <a:schemeClr val="bg2"/>
                </a:solidFill>
              </a:defRPr>
            </a:lvl1pPr>
          </a:lstStyle>
          <a:p>
            <a:pPr algn="ctr"/>
            <a:fld id="{C8C273D8-7DFA-4D4F-BB01-9399CD187441}" type="datetime1">
              <a:rPr lang="en-GB" smtClean="0"/>
              <a:t>24/0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-251100" y="1352700"/>
            <a:ext cx="1433700" cy="2754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>
              <a:defRPr lang="en-US" sz="700" dirty="0">
                <a:solidFill>
                  <a:schemeClr val="bg2"/>
                </a:solidFill>
              </a:defRPr>
            </a:lvl1pPr>
          </a:lstStyle>
          <a:p>
            <a:pPr algn="ctr"/>
            <a:r>
              <a:rPr lang="en-US" smtClean="0"/>
              <a:t>Confidential / Restricted / Public Presentation or part tit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40300" y="4779000"/>
            <a:ext cx="453600" cy="170100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>
              <a:defRPr lang="en-US" sz="1100" smtClean="0">
                <a:solidFill>
                  <a:schemeClr val="bg2"/>
                </a:solidFill>
              </a:defRPr>
            </a:lvl1pPr>
          </a:lstStyle>
          <a:p>
            <a:pPr algn="ctr"/>
            <a:fld id="{22AC7BF3-41A4-4F34-8455-176B8EEB8387}" type="slidenum">
              <a:rPr lang="en-GB" smtClean="0"/>
              <a:pPr algn="ctr"/>
              <a:t>‹#›</a:t>
            </a:fld>
            <a:endParaRPr lang="en-GB"/>
          </a:p>
        </p:txBody>
      </p:sp>
      <p:grpSp>
        <p:nvGrpSpPr>
          <p:cNvPr id="8" name="Group 4"/>
          <p:cNvGrpSpPr>
            <a:grpSpLocks noChangeAspect="1"/>
          </p:cNvGrpSpPr>
          <p:nvPr/>
        </p:nvGrpSpPr>
        <p:grpSpPr bwMode="auto">
          <a:xfrm>
            <a:off x="238227" y="227982"/>
            <a:ext cx="463158" cy="390254"/>
            <a:chOff x="4455" y="391"/>
            <a:chExt cx="1188" cy="1001"/>
          </a:xfrm>
          <a:solidFill>
            <a:schemeClr val="bg2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4811" y="391"/>
              <a:ext cx="184" cy="1001"/>
            </a:xfrm>
            <a:custGeom>
              <a:avLst/>
              <a:gdLst>
                <a:gd name="T0" fmla="*/ 84 w 184"/>
                <a:gd name="T1" fmla="*/ 501 h 1001"/>
                <a:gd name="T2" fmla="*/ 184 w 184"/>
                <a:gd name="T3" fmla="*/ 0 h 1001"/>
                <a:gd name="T4" fmla="*/ 101 w 184"/>
                <a:gd name="T5" fmla="*/ 0 h 1001"/>
                <a:gd name="T6" fmla="*/ 0 w 184"/>
                <a:gd name="T7" fmla="*/ 501 h 1001"/>
                <a:gd name="T8" fmla="*/ 101 w 184"/>
                <a:gd name="T9" fmla="*/ 1001 h 1001"/>
                <a:gd name="T10" fmla="*/ 184 w 184"/>
                <a:gd name="T11" fmla="*/ 1001 h 1001"/>
                <a:gd name="T12" fmla="*/ 84 w 184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001">
                  <a:moveTo>
                    <a:pt x="84" y="501"/>
                  </a:moveTo>
                  <a:lnTo>
                    <a:pt x="184" y="0"/>
                  </a:lnTo>
                  <a:lnTo>
                    <a:pt x="101" y="0"/>
                  </a:lnTo>
                  <a:lnTo>
                    <a:pt x="0" y="501"/>
                  </a:lnTo>
                  <a:lnTo>
                    <a:pt x="101" y="1001"/>
                  </a:lnTo>
                  <a:lnTo>
                    <a:pt x="184" y="1001"/>
                  </a:lnTo>
                  <a:lnTo>
                    <a:pt x="84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4455" y="391"/>
              <a:ext cx="359" cy="1001"/>
            </a:xfrm>
            <a:custGeom>
              <a:avLst/>
              <a:gdLst>
                <a:gd name="T0" fmla="*/ 92 w 359"/>
                <a:gd name="T1" fmla="*/ 501 h 1001"/>
                <a:gd name="T2" fmla="*/ 359 w 359"/>
                <a:gd name="T3" fmla="*/ 0 h 1001"/>
                <a:gd name="T4" fmla="*/ 267 w 359"/>
                <a:gd name="T5" fmla="*/ 0 h 1001"/>
                <a:gd name="T6" fmla="*/ 0 w 359"/>
                <a:gd name="T7" fmla="*/ 501 h 1001"/>
                <a:gd name="T8" fmla="*/ 267 w 359"/>
                <a:gd name="T9" fmla="*/ 1001 h 1001"/>
                <a:gd name="T10" fmla="*/ 359 w 359"/>
                <a:gd name="T11" fmla="*/ 1001 h 1001"/>
                <a:gd name="T12" fmla="*/ 92 w 359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1001">
                  <a:moveTo>
                    <a:pt x="92" y="501"/>
                  </a:moveTo>
                  <a:lnTo>
                    <a:pt x="359" y="0"/>
                  </a:lnTo>
                  <a:lnTo>
                    <a:pt x="267" y="0"/>
                  </a:lnTo>
                  <a:lnTo>
                    <a:pt x="0" y="501"/>
                  </a:lnTo>
                  <a:lnTo>
                    <a:pt x="267" y="1001"/>
                  </a:lnTo>
                  <a:lnTo>
                    <a:pt x="359" y="1001"/>
                  </a:lnTo>
                  <a:lnTo>
                    <a:pt x="92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5101" y="391"/>
              <a:ext cx="186" cy="1001"/>
            </a:xfrm>
            <a:custGeom>
              <a:avLst/>
              <a:gdLst>
                <a:gd name="T0" fmla="*/ 186 w 186"/>
                <a:gd name="T1" fmla="*/ 501 h 1001"/>
                <a:gd name="T2" fmla="*/ 86 w 186"/>
                <a:gd name="T3" fmla="*/ 0 h 1001"/>
                <a:gd name="T4" fmla="*/ 0 w 186"/>
                <a:gd name="T5" fmla="*/ 0 h 1001"/>
                <a:gd name="T6" fmla="*/ 100 w 186"/>
                <a:gd name="T7" fmla="*/ 501 h 1001"/>
                <a:gd name="T8" fmla="*/ 0 w 186"/>
                <a:gd name="T9" fmla="*/ 1001 h 1001"/>
                <a:gd name="T10" fmla="*/ 86 w 186"/>
                <a:gd name="T11" fmla="*/ 1001 h 1001"/>
                <a:gd name="T12" fmla="*/ 186 w 186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001">
                  <a:moveTo>
                    <a:pt x="186" y="501"/>
                  </a:moveTo>
                  <a:lnTo>
                    <a:pt x="86" y="0"/>
                  </a:lnTo>
                  <a:lnTo>
                    <a:pt x="0" y="0"/>
                  </a:lnTo>
                  <a:lnTo>
                    <a:pt x="100" y="501"/>
                  </a:lnTo>
                  <a:lnTo>
                    <a:pt x="0" y="1001"/>
                  </a:lnTo>
                  <a:lnTo>
                    <a:pt x="86" y="1001"/>
                  </a:lnTo>
                  <a:lnTo>
                    <a:pt x="186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5282" y="391"/>
              <a:ext cx="361" cy="1001"/>
            </a:xfrm>
            <a:custGeom>
              <a:avLst/>
              <a:gdLst>
                <a:gd name="T0" fmla="*/ 361 w 361"/>
                <a:gd name="T1" fmla="*/ 501 h 1001"/>
                <a:gd name="T2" fmla="*/ 94 w 361"/>
                <a:gd name="T3" fmla="*/ 0 h 1001"/>
                <a:gd name="T4" fmla="*/ 0 w 361"/>
                <a:gd name="T5" fmla="*/ 0 h 1001"/>
                <a:gd name="T6" fmla="*/ 269 w 361"/>
                <a:gd name="T7" fmla="*/ 501 h 1001"/>
                <a:gd name="T8" fmla="*/ 3 w 361"/>
                <a:gd name="T9" fmla="*/ 1001 h 1001"/>
                <a:gd name="T10" fmla="*/ 94 w 361"/>
                <a:gd name="T11" fmla="*/ 1001 h 1001"/>
                <a:gd name="T12" fmla="*/ 361 w 361"/>
                <a:gd name="T13" fmla="*/ 5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1" h="1001">
                  <a:moveTo>
                    <a:pt x="361" y="501"/>
                  </a:moveTo>
                  <a:lnTo>
                    <a:pt x="94" y="0"/>
                  </a:lnTo>
                  <a:lnTo>
                    <a:pt x="0" y="0"/>
                  </a:lnTo>
                  <a:lnTo>
                    <a:pt x="269" y="501"/>
                  </a:lnTo>
                  <a:lnTo>
                    <a:pt x="3" y="1001"/>
                  </a:lnTo>
                  <a:lnTo>
                    <a:pt x="94" y="1001"/>
                  </a:lnTo>
                  <a:lnTo>
                    <a:pt x="361" y="501"/>
                  </a:lnTo>
                  <a:close/>
                </a:path>
              </a:pathLst>
            </a:custGeom>
            <a:grpFill/>
            <a:extLst/>
          </p:spPr>
          <p:txBody>
            <a:bodyPr vert="horz" lIns="36000" tIns="0" rIns="36000" bIns="0" rtlCol="0" anchor="b">
              <a:normAutofit fontScale="85000" lnSpcReduction="20000"/>
            </a:bodyPr>
            <a:lstStyle/>
            <a:p>
              <a:pPr lvl="0" indent="0" defTabSz="457189">
                <a:lnSpc>
                  <a:spcPct val="80000"/>
                </a:lnSpc>
                <a:spcBef>
                  <a:spcPts val="0"/>
                </a:spcBef>
                <a:buSzPct val="100000"/>
                <a:buFont typeface="PingFangSC-Regular" charset="-122"/>
                <a:buNone/>
              </a:pPr>
              <a:endParaRPr lang="en-US" sz="4800" b="1" baseline="0" noProof="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13" name="Straight Connector 13"/>
          <p:cNvCxnSpPr/>
          <p:nvPr userDrawn="1"/>
        </p:nvCxnSpPr>
        <p:spPr>
          <a:xfrm>
            <a:off x="869672" y="807513"/>
            <a:ext cx="8064000" cy="0"/>
          </a:xfrm>
          <a:prstGeom prst="line">
            <a:avLst/>
          </a:prstGeom>
          <a:ln w="381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927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4157" r:id="rId2"/>
    <p:sldLayoutId id="2147484158" r:id="rId3"/>
    <p:sldLayoutId id="2147484188" r:id="rId4"/>
    <p:sldLayoutId id="2147484159" r:id="rId5"/>
    <p:sldLayoutId id="2147484160" r:id="rId6"/>
    <p:sldLayoutId id="2147484161" r:id="rId7"/>
    <p:sldLayoutId id="2147484162" r:id="rId8"/>
    <p:sldLayoutId id="2147484163" r:id="rId9"/>
    <p:sldLayoutId id="2147484164" r:id="rId10"/>
    <p:sldLayoutId id="2147484165" r:id="rId11"/>
    <p:sldLayoutId id="2147484166" r:id="rId12"/>
    <p:sldLayoutId id="2147484167" r:id="rId13"/>
    <p:sldLayoutId id="2147484168" r:id="rId14"/>
    <p:sldLayoutId id="2147484169" r:id="rId15"/>
    <p:sldLayoutId id="2147484170" r:id="rId16"/>
    <p:sldLayoutId id="2147484171" r:id="rId17"/>
    <p:sldLayoutId id="2147484172" r:id="rId18"/>
    <p:sldLayoutId id="2147484173" r:id="rId19"/>
    <p:sldLayoutId id="2147484174" r:id="rId20"/>
    <p:sldLayoutId id="2147484175" r:id="rId21"/>
    <p:sldLayoutId id="2147484176" r:id="rId22"/>
    <p:sldLayoutId id="2147484177" r:id="rId23"/>
    <p:sldLayoutId id="214748418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1800" b="1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600" b="1" kern="120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200" kern="1200" baseline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b="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lang="en-US"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4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630239" y="2410676"/>
            <a:ext cx="7872484" cy="445241"/>
          </a:xfrm>
        </p:spPr>
        <p:txBody>
          <a:bodyPr/>
          <a:lstStyle/>
          <a:p>
            <a:r>
              <a:rPr lang="pl-PL" dirty="0" smtClean="0"/>
              <a:t>Damian </a:t>
            </a:r>
            <a:r>
              <a:rPr lang="pl-PL" dirty="0" err="1" smtClean="0"/>
              <a:t>Sińczak</a:t>
            </a:r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6E2A7D-CF43-40E3-90FA-87778DD65CEB}" type="datetime1">
              <a:rPr lang="en-GB" smtClean="0"/>
              <a:t>24/01/201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239" y="470734"/>
            <a:ext cx="7872484" cy="1835496"/>
          </a:xfrm>
        </p:spPr>
        <p:txBody>
          <a:bodyPr>
            <a:normAutofit fontScale="90000"/>
          </a:bodyPr>
          <a:lstStyle/>
          <a:p>
            <a:r>
              <a:rPr lang="pl-PL" dirty="0"/>
              <a:t>Do czego służą sagi i w czym może nam pomóc event </a:t>
            </a:r>
            <a:r>
              <a:rPr lang="pl-PL" dirty="0" err="1"/>
              <a:t>sourcing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231758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10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cxnSp>
        <p:nvCxnSpPr>
          <p:cNvPr id="97" name="Elbow Connector 96"/>
          <p:cNvCxnSpPr>
            <a:stCxn id="8" idx="3"/>
            <a:endCxn id="11" idx="1"/>
          </p:cNvCxnSpPr>
          <p:nvPr/>
        </p:nvCxnSpPr>
        <p:spPr>
          <a:xfrm flipV="1">
            <a:off x="1575717" y="198569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794660" y="1491616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</a:t>
            </a:r>
            <a:r>
              <a:rPr lang="pl-PL" sz="1000" dirty="0" err="1" smtClean="0">
                <a:solidFill>
                  <a:srgbClr val="00B050"/>
                </a:solidFill>
              </a:rPr>
              <a:t>currentSmsrId</a:t>
            </a:r>
            <a:r>
              <a:rPr lang="pl-PL" sz="1000" dirty="0" smtClean="0">
                <a:solidFill>
                  <a:srgbClr val="00B050"/>
                </a:solidFill>
              </a:rPr>
              <a:t>)</a:t>
            </a:r>
            <a:endParaRPr lang="pl-PL" sz="1000" dirty="0">
              <a:solidFill>
                <a:srgbClr val="00B050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endParaRPr lang="pl-PL" sz="800" dirty="0">
              <a:solidFill>
                <a:srgbClr val="00B050"/>
              </a:solidFill>
            </a:endParaRPr>
          </a:p>
        </p:txBody>
      </p:sp>
      <p:cxnSp>
        <p:nvCxnSpPr>
          <p:cNvPr id="104" name="Elbow Connector 103"/>
          <p:cNvCxnSpPr/>
          <p:nvPr/>
        </p:nvCxnSpPr>
        <p:spPr>
          <a:xfrm rot="10800000" flipV="1">
            <a:off x="1575717" y="2123257"/>
            <a:ext cx="731292" cy="872264"/>
          </a:xfrm>
          <a:prstGeom prst="bentConnector3">
            <a:avLst>
              <a:gd name="adj1" fmla="val 22336"/>
            </a:avLst>
          </a:prstGeom>
          <a:ln>
            <a:prstDash val="sys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0564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 smtClean="0"/>
              <a:t>Pytani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7397750" y="4346575"/>
            <a:ext cx="1746250" cy="274638"/>
          </a:xfrm>
        </p:spPr>
        <p:txBody>
          <a:bodyPr/>
          <a:lstStyle/>
          <a:p>
            <a:fld id="{B66DC712-81CA-499C-994D-5056AA16CC09}" type="datetime1">
              <a:rPr lang="en-GB" smtClean="0"/>
              <a:t>24/0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684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l-PL" dirty="0" smtClean="0"/>
              <a:t>Damian </a:t>
            </a:r>
            <a:r>
              <a:rPr lang="pl-PL" dirty="0" err="1" smtClean="0"/>
              <a:t>Sińczak</a:t>
            </a:r>
            <a:endParaRPr lang="en-US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l-PL" dirty="0" smtClean="0"/>
              <a:t>Scala Developer</a:t>
            </a:r>
            <a:endParaRPr lang="en-US" dirty="0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l-PL" dirty="0" err="1" smtClean="0"/>
              <a:t>Włodars</a:t>
            </a:r>
            <a:r>
              <a:rPr lang="pl-PL" dirty="0" smtClean="0"/>
              <a:t> </a:t>
            </a:r>
            <a:r>
              <a:rPr lang="pl-PL" dirty="0" err="1" smtClean="0"/>
              <a:t>Padawan</a:t>
            </a:r>
            <a:endParaRPr lang="en-US" dirty="0"/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l-PL" dirty="0" smtClean="0"/>
              <a:t>damian.sinczak@gmail.com</a:t>
            </a: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smtClean="0"/>
              <a:t>www.linkedin.com/in/dsinczak</a:t>
            </a:r>
            <a:endParaRPr lang="en-US" dirty="0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https://twitter.com/dsinczak</a:t>
            </a:r>
          </a:p>
        </p:txBody>
      </p:sp>
    </p:spTree>
    <p:extLst>
      <p:ext uri="{BB962C8B-B14F-4D97-AF65-F5344CB8AC3E}">
        <p14:creationId xmlns:p14="http://schemas.microsoft.com/office/powerpoint/2010/main" val="86844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11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cxnSp>
        <p:nvCxnSpPr>
          <p:cNvPr id="97" name="Elbow Connector 96"/>
          <p:cNvCxnSpPr>
            <a:stCxn id="8" idx="2"/>
          </p:cNvCxnSpPr>
          <p:nvPr/>
        </p:nvCxnSpPr>
        <p:spPr>
          <a:xfrm rot="16200000" flipH="1">
            <a:off x="1194072" y="3171001"/>
            <a:ext cx="1186870" cy="981567"/>
          </a:xfrm>
          <a:prstGeom prst="bentConnector3">
            <a:avLst>
              <a:gd name="adj1" fmla="val 99771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794660" y="4355944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chemeClr val="tx2"/>
                </a:solidFill>
              </a:rPr>
              <a:t>SMSRChange</a:t>
            </a:r>
            <a:endParaRPr lang="pl-PL" sz="1000" dirty="0" smtClean="0">
              <a:solidFill>
                <a:schemeClr val="tx2"/>
              </a:solidFill>
            </a:endParaRPr>
          </a:p>
          <a:p>
            <a:r>
              <a:rPr lang="pl-PL" sz="1000" dirty="0" smtClean="0">
                <a:solidFill>
                  <a:schemeClr val="tx2"/>
                </a:solidFill>
              </a:rPr>
              <a:t>(EID, </a:t>
            </a:r>
            <a:r>
              <a:rPr lang="pl-PL" sz="1000" dirty="0" err="1" smtClean="0">
                <a:solidFill>
                  <a:schemeClr val="tx2"/>
                </a:solidFill>
              </a:rPr>
              <a:t>targetSmsrId</a:t>
            </a:r>
            <a:r>
              <a:rPr lang="pl-PL" sz="1000" dirty="0" smtClean="0">
                <a:solidFill>
                  <a:schemeClr val="tx2"/>
                </a:solidFill>
              </a:rPr>
              <a:t>)</a:t>
            </a:r>
            <a:endParaRPr lang="pl-PL" sz="1000" dirty="0">
              <a:solidFill>
                <a:schemeClr val="tx2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Validity</a:t>
            </a:r>
            <a:r>
              <a:rPr lang="pl-PL" sz="800" dirty="0" smtClean="0">
                <a:solidFill>
                  <a:srgbClr val="00B050"/>
                </a:solidFill>
              </a:rPr>
              <a:t> Period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9603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  <a:endParaRPr lang="pl-PL" sz="800" dirty="0">
              <a:solidFill>
                <a:schemeClr val="tx2"/>
              </a:solidFill>
            </a:endParaRPr>
          </a:p>
        </p:txBody>
      </p:sp>
      <p:cxnSp>
        <p:nvCxnSpPr>
          <p:cNvPr id="60" name="Elbow Connector 59"/>
          <p:cNvCxnSpPr>
            <a:stCxn id="3" idx="1"/>
          </p:cNvCxnSpPr>
          <p:nvPr/>
        </p:nvCxnSpPr>
        <p:spPr>
          <a:xfrm rot="10800000">
            <a:off x="1467887" y="3077617"/>
            <a:ext cx="810404" cy="1072409"/>
          </a:xfrm>
          <a:prstGeom prst="bentConnector2">
            <a:avLst/>
          </a:prstGeom>
          <a:ln w="9525">
            <a:solidFill>
              <a:srgbClr val="FF0000"/>
            </a:solidFill>
            <a:prstDash val="lgDash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660709" y="4051572"/>
            <a:ext cx="2535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800" dirty="0" smtClean="0">
                <a:solidFill>
                  <a:srgbClr val="FF0000"/>
                </a:solidFill>
              </a:rPr>
              <a:t>X</a:t>
            </a:r>
            <a:endParaRPr lang="pl-PL" sz="800" dirty="0">
              <a:solidFill>
                <a:srgbClr val="FF0000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342408" y="3349641"/>
            <a:ext cx="2535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800" dirty="0" smtClean="0">
                <a:solidFill>
                  <a:srgbClr val="FF0000"/>
                </a:solidFill>
              </a:rPr>
              <a:t>X</a:t>
            </a:r>
            <a:endParaRPr lang="pl-PL" sz="800" dirty="0">
              <a:solidFill>
                <a:srgbClr val="FF0000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456925" y="3753176"/>
            <a:ext cx="76976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800" dirty="0" smtClean="0">
                <a:solidFill>
                  <a:srgbClr val="FF0000"/>
                </a:solidFill>
              </a:rPr>
              <a:t>No </a:t>
            </a:r>
            <a:r>
              <a:rPr lang="pl-PL" sz="800" dirty="0" err="1" smtClean="0">
                <a:solidFill>
                  <a:srgbClr val="FF0000"/>
                </a:solidFill>
              </a:rPr>
              <a:t>response</a:t>
            </a:r>
            <a:endParaRPr lang="pl-PL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91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12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98" name="TextBox 97"/>
          <p:cNvSpPr txBox="1"/>
          <p:nvPr/>
        </p:nvSpPr>
        <p:spPr>
          <a:xfrm>
            <a:off x="3048005" y="2835580"/>
            <a:ext cx="16339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chemeClr val="tx2"/>
                </a:solidFill>
              </a:rPr>
              <a:t>HandoverEUICC</a:t>
            </a:r>
            <a:endParaRPr lang="pl-PL" sz="1000" dirty="0" smtClean="0">
              <a:solidFill>
                <a:schemeClr val="tx2"/>
              </a:solidFill>
            </a:endParaRPr>
          </a:p>
          <a:p>
            <a:r>
              <a:rPr lang="pl-PL" sz="1000" dirty="0" smtClean="0">
                <a:solidFill>
                  <a:schemeClr val="tx2"/>
                </a:solidFill>
              </a:rPr>
              <a:t>(EIS[</a:t>
            </a:r>
            <a:r>
              <a:rPr lang="pl-PL" sz="1000" dirty="0" err="1" smtClean="0">
                <a:solidFill>
                  <a:schemeClr val="tx2"/>
                </a:solidFill>
              </a:rPr>
              <a:t>eid</a:t>
            </a:r>
            <a:r>
              <a:rPr lang="pl-PL" sz="1000" dirty="0" smtClean="0">
                <a:solidFill>
                  <a:schemeClr val="tx2"/>
                </a:solidFill>
              </a:rPr>
              <a:t>, </a:t>
            </a:r>
            <a:r>
              <a:rPr lang="pl-PL" sz="1000" dirty="0" err="1" smtClean="0">
                <a:solidFill>
                  <a:schemeClr val="tx2"/>
                </a:solidFill>
              </a:rPr>
              <a:t>isdr</a:t>
            </a:r>
            <a:r>
              <a:rPr lang="pl-PL" sz="1000" dirty="0" smtClean="0">
                <a:solidFill>
                  <a:schemeClr val="tx2"/>
                </a:solidFill>
              </a:rPr>
              <a:t>, </a:t>
            </a:r>
            <a:r>
              <a:rPr lang="pl-PL" sz="1000" dirty="0" err="1" smtClean="0">
                <a:solidFill>
                  <a:schemeClr val="tx2"/>
                </a:solidFill>
              </a:rPr>
              <a:t>ecasd</a:t>
            </a:r>
            <a:r>
              <a:rPr lang="pl-PL" sz="1000" dirty="0" smtClean="0">
                <a:solidFill>
                  <a:schemeClr val="tx2"/>
                </a:solidFill>
              </a:rPr>
              <a:t>,…])</a:t>
            </a:r>
            <a:endParaRPr lang="pl-PL" sz="1000" dirty="0">
              <a:solidFill>
                <a:schemeClr val="tx2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960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endParaRPr lang="pl-PL" sz="800" dirty="0">
              <a:solidFill>
                <a:schemeClr val="tx2"/>
              </a:solidFill>
            </a:endParaRPr>
          </a:p>
        </p:txBody>
      </p:sp>
      <p:cxnSp>
        <p:nvCxnSpPr>
          <p:cNvPr id="18" name="Straight Arrow Connector 17"/>
          <p:cNvCxnSpPr>
            <a:endCxn id="11" idx="2"/>
          </p:cNvCxnSpPr>
          <p:nvPr/>
        </p:nvCxnSpPr>
        <p:spPr>
          <a:xfrm flipV="1">
            <a:off x="3038951" y="2796571"/>
            <a:ext cx="0" cy="4619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67"/>
          <p:cNvCxnSpPr/>
          <p:nvPr/>
        </p:nvCxnSpPr>
        <p:spPr>
          <a:xfrm rot="5400000">
            <a:off x="2575390" y="3031686"/>
            <a:ext cx="470234" cy="2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prstDash val="lgDash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2686845" y="2903437"/>
            <a:ext cx="2122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FF0000"/>
                </a:solidFill>
              </a:rPr>
              <a:t>X</a:t>
            </a:r>
            <a:endParaRPr lang="pl-PL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65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13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endParaRPr lang="pl-PL" sz="800" dirty="0">
              <a:solidFill>
                <a:schemeClr val="tx2"/>
              </a:solidFill>
            </a:endParaRPr>
          </a:p>
        </p:txBody>
      </p:sp>
      <p:cxnSp>
        <p:nvCxnSpPr>
          <p:cNvPr id="58" name="Elbow Connector 57"/>
          <p:cNvCxnSpPr>
            <a:endCxn id="3" idx="0"/>
          </p:cNvCxnSpPr>
          <p:nvPr/>
        </p:nvCxnSpPr>
        <p:spPr>
          <a:xfrm rot="16200000" flipH="1">
            <a:off x="2766715" y="3000834"/>
            <a:ext cx="438483" cy="9345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3037577" y="2828291"/>
            <a:ext cx="16443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AuthenticateSMSR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CERT.SR.ECDSA)</a:t>
            </a:r>
            <a:endParaRPr lang="pl-PL" sz="10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843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14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cxnSp>
        <p:nvCxnSpPr>
          <p:cNvPr id="60" name="Elbow Connector 59"/>
          <p:cNvCxnSpPr>
            <a:stCxn id="3" idx="3"/>
          </p:cNvCxnSpPr>
          <p:nvPr/>
        </p:nvCxnSpPr>
        <p:spPr>
          <a:xfrm flipV="1">
            <a:off x="3787077" y="3116661"/>
            <a:ext cx="1739783" cy="103336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5052965" y="2694941"/>
            <a:ext cx="16339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chemeClr val="tx2"/>
                </a:solidFill>
              </a:rPr>
              <a:t>EstablishISDRKeySet</a:t>
            </a:r>
            <a:endParaRPr lang="pl-PL" sz="1000" dirty="0" smtClean="0">
              <a:solidFill>
                <a:schemeClr val="tx2"/>
              </a:solidFill>
            </a:endParaRPr>
          </a:p>
          <a:p>
            <a:r>
              <a:rPr lang="pl-PL" sz="1000" dirty="0" smtClean="0">
                <a:solidFill>
                  <a:schemeClr val="tx2"/>
                </a:solidFill>
              </a:rPr>
              <a:t>(CERT.SR.ECDSA)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107715" y="2510276"/>
            <a:ext cx="876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PK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5642328" y="3106576"/>
            <a:ext cx="318765" cy="320456"/>
            <a:chOff x="5805488" y="1651001"/>
            <a:chExt cx="598488" cy="601663"/>
          </a:xfrm>
          <a:solidFill>
            <a:schemeClr val="tx2"/>
          </a:solidFill>
        </p:grpSpPr>
        <p:sp>
          <p:nvSpPr>
            <p:cNvPr id="68" name="Freeform 258"/>
            <p:cNvSpPr>
              <a:spLocks/>
            </p:cNvSpPr>
            <p:nvPr/>
          </p:nvSpPr>
          <p:spPr bwMode="auto">
            <a:xfrm>
              <a:off x="5856288" y="2074864"/>
              <a:ext cx="127000" cy="127000"/>
            </a:xfrm>
            <a:custGeom>
              <a:avLst/>
              <a:gdLst>
                <a:gd name="T0" fmla="*/ 62 w 62"/>
                <a:gd name="T1" fmla="*/ 62 h 62"/>
                <a:gd name="T2" fmla="*/ 0 w 62"/>
                <a:gd name="T3" fmla="*/ 0 h 62"/>
                <a:gd name="T4" fmla="*/ 4 w 62"/>
                <a:gd name="T5" fmla="*/ 0 h 62"/>
                <a:gd name="T6" fmla="*/ 62 w 62"/>
                <a:gd name="T7" fmla="*/ 58 h 62"/>
                <a:gd name="T8" fmla="*/ 62 w 62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2">
                  <a:moveTo>
                    <a:pt x="62" y="62"/>
                  </a:moveTo>
                  <a:cubicBezTo>
                    <a:pt x="27" y="62"/>
                    <a:pt x="0" y="34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2"/>
                    <a:pt x="30" y="58"/>
                    <a:pt x="62" y="58"/>
                  </a:cubicBezTo>
                  <a:lnTo>
                    <a:pt x="62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59"/>
            <p:cNvSpPr>
              <a:spLocks/>
            </p:cNvSpPr>
            <p:nvPr/>
          </p:nvSpPr>
          <p:spPr bwMode="auto">
            <a:xfrm>
              <a:off x="5880101" y="2074864"/>
              <a:ext cx="103188" cy="103188"/>
            </a:xfrm>
            <a:custGeom>
              <a:avLst/>
              <a:gdLst>
                <a:gd name="T0" fmla="*/ 50 w 50"/>
                <a:gd name="T1" fmla="*/ 50 h 50"/>
                <a:gd name="T2" fmla="*/ 0 w 50"/>
                <a:gd name="T3" fmla="*/ 0 h 50"/>
                <a:gd name="T4" fmla="*/ 4 w 50"/>
                <a:gd name="T5" fmla="*/ 0 h 50"/>
                <a:gd name="T6" fmla="*/ 50 w 50"/>
                <a:gd name="T7" fmla="*/ 46 h 50"/>
                <a:gd name="T8" fmla="*/ 50 w 50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50" y="50"/>
                  </a:moveTo>
                  <a:cubicBezTo>
                    <a:pt x="22" y="50"/>
                    <a:pt x="0" y="28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5"/>
                    <a:pt x="24" y="46"/>
                    <a:pt x="50" y="46"/>
                  </a:cubicBezTo>
                  <a:lnTo>
                    <a:pt x="5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60"/>
            <p:cNvSpPr>
              <a:spLocks/>
            </p:cNvSpPr>
            <p:nvPr/>
          </p:nvSpPr>
          <p:spPr bwMode="auto">
            <a:xfrm>
              <a:off x="5905501" y="2074864"/>
              <a:ext cx="77788" cy="7778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0 h 38"/>
                <a:gd name="T4" fmla="*/ 4 w 38"/>
                <a:gd name="T5" fmla="*/ 0 h 38"/>
                <a:gd name="T6" fmla="*/ 38 w 38"/>
                <a:gd name="T7" fmla="*/ 34 h 38"/>
                <a:gd name="T8" fmla="*/ 38 w 38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cubicBezTo>
                    <a:pt x="17" y="38"/>
                    <a:pt x="0" y="21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9"/>
                    <a:pt x="19" y="34"/>
                    <a:pt x="38" y="34"/>
                  </a:cubicBez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61"/>
            <p:cNvSpPr>
              <a:spLocks/>
            </p:cNvSpPr>
            <p:nvPr/>
          </p:nvSpPr>
          <p:spPr bwMode="auto">
            <a:xfrm>
              <a:off x="5929313" y="2074864"/>
              <a:ext cx="53975" cy="53975"/>
            </a:xfrm>
            <a:custGeom>
              <a:avLst/>
              <a:gdLst>
                <a:gd name="T0" fmla="*/ 26 w 26"/>
                <a:gd name="T1" fmla="*/ 26 h 26"/>
                <a:gd name="T2" fmla="*/ 0 w 26"/>
                <a:gd name="T3" fmla="*/ 0 h 26"/>
                <a:gd name="T4" fmla="*/ 4 w 26"/>
                <a:gd name="T5" fmla="*/ 0 h 26"/>
                <a:gd name="T6" fmla="*/ 26 w 26"/>
                <a:gd name="T7" fmla="*/ 22 h 26"/>
                <a:gd name="T8" fmla="*/ 26 w 26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">
                  <a:moveTo>
                    <a:pt x="26" y="26"/>
                  </a:moveTo>
                  <a:cubicBezTo>
                    <a:pt x="11" y="26"/>
                    <a:pt x="0" y="14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2"/>
                    <a:pt x="13" y="22"/>
                    <a:pt x="26" y="22"/>
                  </a:cubicBezTo>
                  <a:lnTo>
                    <a:pt x="2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62"/>
            <p:cNvSpPr>
              <a:spLocks noEditPoints="1"/>
            </p:cNvSpPr>
            <p:nvPr/>
          </p:nvSpPr>
          <p:spPr bwMode="auto">
            <a:xfrm>
              <a:off x="5805488" y="1651001"/>
              <a:ext cx="304800" cy="307975"/>
            </a:xfrm>
            <a:custGeom>
              <a:avLst/>
              <a:gdLst>
                <a:gd name="T0" fmla="*/ 127 w 192"/>
                <a:gd name="T1" fmla="*/ 194 h 194"/>
                <a:gd name="T2" fmla="*/ 0 w 192"/>
                <a:gd name="T3" fmla="*/ 66 h 194"/>
                <a:gd name="T4" fmla="*/ 65 w 192"/>
                <a:gd name="T5" fmla="*/ 0 h 194"/>
                <a:gd name="T6" fmla="*/ 192 w 192"/>
                <a:gd name="T7" fmla="*/ 128 h 194"/>
                <a:gd name="T8" fmla="*/ 127 w 192"/>
                <a:gd name="T9" fmla="*/ 194 h 194"/>
                <a:gd name="T10" fmla="*/ 6 w 192"/>
                <a:gd name="T11" fmla="*/ 66 h 194"/>
                <a:gd name="T12" fmla="*/ 127 w 192"/>
                <a:gd name="T13" fmla="*/ 186 h 194"/>
                <a:gd name="T14" fmla="*/ 185 w 192"/>
                <a:gd name="T15" fmla="*/ 128 h 194"/>
                <a:gd name="T16" fmla="*/ 65 w 192"/>
                <a:gd name="T17" fmla="*/ 8 h 194"/>
                <a:gd name="T18" fmla="*/ 6 w 192"/>
                <a:gd name="T19" fmla="*/ 66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4">
                  <a:moveTo>
                    <a:pt x="127" y="194"/>
                  </a:moveTo>
                  <a:lnTo>
                    <a:pt x="0" y="66"/>
                  </a:lnTo>
                  <a:lnTo>
                    <a:pt x="65" y="0"/>
                  </a:lnTo>
                  <a:lnTo>
                    <a:pt x="192" y="128"/>
                  </a:lnTo>
                  <a:lnTo>
                    <a:pt x="127" y="194"/>
                  </a:lnTo>
                  <a:close/>
                  <a:moveTo>
                    <a:pt x="6" y="66"/>
                  </a:moveTo>
                  <a:lnTo>
                    <a:pt x="127" y="186"/>
                  </a:lnTo>
                  <a:lnTo>
                    <a:pt x="185" y="128"/>
                  </a:lnTo>
                  <a:lnTo>
                    <a:pt x="65" y="8"/>
                  </a:lnTo>
                  <a:lnTo>
                    <a:pt x="6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63"/>
            <p:cNvSpPr>
              <a:spLocks noEditPoints="1"/>
            </p:cNvSpPr>
            <p:nvPr/>
          </p:nvSpPr>
          <p:spPr bwMode="auto">
            <a:xfrm>
              <a:off x="6099176" y="1946276"/>
              <a:ext cx="304800" cy="306388"/>
            </a:xfrm>
            <a:custGeom>
              <a:avLst/>
              <a:gdLst>
                <a:gd name="T0" fmla="*/ 128 w 192"/>
                <a:gd name="T1" fmla="*/ 193 h 193"/>
                <a:gd name="T2" fmla="*/ 0 w 192"/>
                <a:gd name="T3" fmla="*/ 66 h 193"/>
                <a:gd name="T4" fmla="*/ 66 w 192"/>
                <a:gd name="T5" fmla="*/ 0 h 193"/>
                <a:gd name="T6" fmla="*/ 192 w 192"/>
                <a:gd name="T7" fmla="*/ 128 h 193"/>
                <a:gd name="T8" fmla="*/ 128 w 192"/>
                <a:gd name="T9" fmla="*/ 193 h 193"/>
                <a:gd name="T10" fmla="*/ 7 w 192"/>
                <a:gd name="T11" fmla="*/ 66 h 193"/>
                <a:gd name="T12" fmla="*/ 128 w 192"/>
                <a:gd name="T13" fmla="*/ 186 h 193"/>
                <a:gd name="T14" fmla="*/ 186 w 192"/>
                <a:gd name="T15" fmla="*/ 128 h 193"/>
                <a:gd name="T16" fmla="*/ 66 w 192"/>
                <a:gd name="T17" fmla="*/ 8 h 193"/>
                <a:gd name="T18" fmla="*/ 7 w 192"/>
                <a:gd name="T19" fmla="*/ 66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3">
                  <a:moveTo>
                    <a:pt x="128" y="193"/>
                  </a:moveTo>
                  <a:lnTo>
                    <a:pt x="0" y="66"/>
                  </a:lnTo>
                  <a:lnTo>
                    <a:pt x="66" y="0"/>
                  </a:lnTo>
                  <a:lnTo>
                    <a:pt x="192" y="128"/>
                  </a:lnTo>
                  <a:lnTo>
                    <a:pt x="128" y="193"/>
                  </a:lnTo>
                  <a:close/>
                  <a:moveTo>
                    <a:pt x="7" y="66"/>
                  </a:moveTo>
                  <a:lnTo>
                    <a:pt x="128" y="186"/>
                  </a:lnTo>
                  <a:lnTo>
                    <a:pt x="186" y="128"/>
                  </a:lnTo>
                  <a:lnTo>
                    <a:pt x="66" y="8"/>
                  </a:lnTo>
                  <a:lnTo>
                    <a:pt x="7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64"/>
            <p:cNvSpPr>
              <a:spLocks noEditPoints="1"/>
            </p:cNvSpPr>
            <p:nvPr/>
          </p:nvSpPr>
          <p:spPr bwMode="auto">
            <a:xfrm>
              <a:off x="5951538" y="1798639"/>
              <a:ext cx="306388" cy="307975"/>
            </a:xfrm>
            <a:custGeom>
              <a:avLst/>
              <a:gdLst>
                <a:gd name="T0" fmla="*/ 35 w 193"/>
                <a:gd name="T1" fmla="*/ 194 h 194"/>
                <a:gd name="T2" fmla="*/ 0 w 193"/>
                <a:gd name="T3" fmla="*/ 159 h 194"/>
                <a:gd name="T4" fmla="*/ 159 w 193"/>
                <a:gd name="T5" fmla="*/ 0 h 194"/>
                <a:gd name="T6" fmla="*/ 193 w 193"/>
                <a:gd name="T7" fmla="*/ 35 h 194"/>
                <a:gd name="T8" fmla="*/ 35 w 193"/>
                <a:gd name="T9" fmla="*/ 194 h 194"/>
                <a:gd name="T10" fmla="*/ 7 w 193"/>
                <a:gd name="T11" fmla="*/ 159 h 194"/>
                <a:gd name="T12" fmla="*/ 35 w 193"/>
                <a:gd name="T13" fmla="*/ 186 h 194"/>
                <a:gd name="T14" fmla="*/ 186 w 193"/>
                <a:gd name="T15" fmla="*/ 35 h 194"/>
                <a:gd name="T16" fmla="*/ 159 w 193"/>
                <a:gd name="T17" fmla="*/ 8 h 194"/>
                <a:gd name="T18" fmla="*/ 7 w 193"/>
                <a:gd name="T19" fmla="*/ 15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4">
                  <a:moveTo>
                    <a:pt x="35" y="194"/>
                  </a:moveTo>
                  <a:lnTo>
                    <a:pt x="0" y="159"/>
                  </a:lnTo>
                  <a:lnTo>
                    <a:pt x="159" y="0"/>
                  </a:lnTo>
                  <a:lnTo>
                    <a:pt x="193" y="35"/>
                  </a:lnTo>
                  <a:lnTo>
                    <a:pt x="35" y="194"/>
                  </a:lnTo>
                  <a:close/>
                  <a:moveTo>
                    <a:pt x="7" y="159"/>
                  </a:moveTo>
                  <a:lnTo>
                    <a:pt x="35" y="186"/>
                  </a:lnTo>
                  <a:lnTo>
                    <a:pt x="186" y="35"/>
                  </a:lnTo>
                  <a:lnTo>
                    <a:pt x="159" y="8"/>
                  </a:lnTo>
                  <a:lnTo>
                    <a:pt x="7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65"/>
            <p:cNvSpPr>
              <a:spLocks/>
            </p:cNvSpPr>
            <p:nvPr/>
          </p:nvSpPr>
          <p:spPr bwMode="auto">
            <a:xfrm>
              <a:off x="6053138" y="1901826"/>
              <a:ext cx="30163" cy="28575"/>
            </a:xfrm>
            <a:custGeom>
              <a:avLst/>
              <a:gdLst>
                <a:gd name="T0" fmla="*/ 15 w 19"/>
                <a:gd name="T1" fmla="*/ 18 h 18"/>
                <a:gd name="T2" fmla="*/ 0 w 19"/>
                <a:gd name="T3" fmla="*/ 2 h 18"/>
                <a:gd name="T4" fmla="*/ 3 w 19"/>
                <a:gd name="T5" fmla="*/ 0 h 18"/>
                <a:gd name="T6" fmla="*/ 19 w 19"/>
                <a:gd name="T7" fmla="*/ 15 h 18"/>
                <a:gd name="T8" fmla="*/ 15 w 1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5" y="18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19" y="15"/>
                  </a:lnTo>
                  <a:lnTo>
                    <a:pt x="15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66"/>
            <p:cNvSpPr>
              <a:spLocks/>
            </p:cNvSpPr>
            <p:nvPr/>
          </p:nvSpPr>
          <p:spPr bwMode="auto">
            <a:xfrm>
              <a:off x="6126163" y="1974851"/>
              <a:ext cx="30163" cy="28575"/>
            </a:xfrm>
            <a:custGeom>
              <a:avLst/>
              <a:gdLst>
                <a:gd name="T0" fmla="*/ 16 w 19"/>
                <a:gd name="T1" fmla="*/ 18 h 18"/>
                <a:gd name="T2" fmla="*/ 0 w 19"/>
                <a:gd name="T3" fmla="*/ 3 h 18"/>
                <a:gd name="T4" fmla="*/ 4 w 19"/>
                <a:gd name="T5" fmla="*/ 0 h 18"/>
                <a:gd name="T6" fmla="*/ 19 w 19"/>
                <a:gd name="T7" fmla="*/ 16 h 18"/>
                <a:gd name="T8" fmla="*/ 16 w 1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6" y="18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19" y="16"/>
                  </a:lnTo>
                  <a:lnTo>
                    <a:pt x="1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5" name="Elbow Connector 104"/>
          <p:cNvCxnSpPr>
            <a:stCxn id="62" idx="2"/>
            <a:endCxn id="100" idx="1"/>
          </p:cNvCxnSpPr>
          <p:nvPr/>
        </p:nvCxnSpPr>
        <p:spPr>
          <a:xfrm rot="16200000" flipH="1">
            <a:off x="6649461" y="2315530"/>
            <a:ext cx="7317" cy="1566358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/>
          <p:nvPr/>
        </p:nvCxnSpPr>
        <p:spPr>
          <a:xfrm rot="10800000" flipV="1">
            <a:off x="6020477" y="3332333"/>
            <a:ext cx="1415820" cy="2"/>
          </a:xfrm>
          <a:prstGeom prst="bentConnector3">
            <a:avLst>
              <a:gd name="adj1" fmla="val 50000"/>
            </a:avLst>
          </a:prstGeom>
          <a:ln>
            <a:prstDash val="dash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107"/>
          <p:cNvCxnSpPr/>
          <p:nvPr/>
        </p:nvCxnSpPr>
        <p:spPr>
          <a:xfrm rot="10800000" flipV="1">
            <a:off x="3770893" y="3332332"/>
            <a:ext cx="1871437" cy="1246092"/>
          </a:xfrm>
          <a:prstGeom prst="bentConnector3">
            <a:avLst>
              <a:gd name="adj1" fmla="val 34434"/>
            </a:avLst>
          </a:prstGeom>
          <a:ln>
            <a:prstDash val="dash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>
            <a:off x="5098896" y="3470664"/>
            <a:ext cx="16339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chemeClr val="tx2"/>
                </a:solidFill>
              </a:rPr>
              <a:t>Response</a:t>
            </a:r>
            <a:endParaRPr lang="pl-PL" sz="1000" dirty="0" smtClean="0">
              <a:solidFill>
                <a:schemeClr val="tx2"/>
              </a:solidFill>
            </a:endParaRPr>
          </a:p>
          <a:p>
            <a:r>
              <a:rPr lang="pl-PL" sz="1000" dirty="0" smtClean="0">
                <a:solidFill>
                  <a:schemeClr val="tx2"/>
                </a:solidFill>
              </a:rPr>
              <a:t>(</a:t>
            </a:r>
            <a:r>
              <a:rPr lang="pl-PL" sz="1000" dirty="0" err="1" smtClean="0">
                <a:solidFill>
                  <a:schemeClr val="tx2"/>
                </a:solidFill>
              </a:rPr>
              <a:t>Random</a:t>
            </a:r>
            <a:r>
              <a:rPr lang="pl-PL" sz="1000" dirty="0" smtClean="0">
                <a:solidFill>
                  <a:schemeClr val="tx2"/>
                </a:solidFill>
              </a:rPr>
              <a:t> </a:t>
            </a:r>
            <a:r>
              <a:rPr lang="pl-PL" sz="1000" dirty="0" err="1" smtClean="0">
                <a:solidFill>
                  <a:schemeClr val="tx2"/>
                </a:solidFill>
              </a:rPr>
              <a:t>Challendge</a:t>
            </a:r>
            <a:r>
              <a:rPr lang="pl-PL" sz="1000" dirty="0" smtClean="0">
                <a:solidFill>
                  <a:schemeClr val="tx2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19940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15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cxnSp>
        <p:nvCxnSpPr>
          <p:cNvPr id="60" name="Elbow Connector 59"/>
          <p:cNvCxnSpPr>
            <a:stCxn id="3" idx="0"/>
          </p:cNvCxnSpPr>
          <p:nvPr/>
        </p:nvCxnSpPr>
        <p:spPr>
          <a:xfrm rot="5400000" flipH="1" flipV="1">
            <a:off x="2859174" y="2970082"/>
            <a:ext cx="470233" cy="123213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8107715" y="2510276"/>
            <a:ext cx="876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PK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3134680" y="2828291"/>
            <a:ext cx="1890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chemeClr val="tx2"/>
                </a:solidFill>
              </a:rPr>
              <a:t>AuthenticateSMSRResponse</a:t>
            </a:r>
            <a:endParaRPr lang="pl-PL" sz="1000" dirty="0" smtClean="0">
              <a:solidFill>
                <a:schemeClr val="tx2"/>
              </a:solidFill>
            </a:endParaRPr>
          </a:p>
          <a:p>
            <a:r>
              <a:rPr lang="pl-PL" sz="1000" dirty="0" smtClean="0">
                <a:solidFill>
                  <a:schemeClr val="tx2"/>
                </a:solidFill>
              </a:rPr>
              <a:t>(</a:t>
            </a:r>
            <a:r>
              <a:rPr lang="pl-PL" sz="1000" dirty="0" err="1" smtClean="0">
                <a:solidFill>
                  <a:schemeClr val="tx2"/>
                </a:solidFill>
              </a:rPr>
              <a:t>Random</a:t>
            </a:r>
            <a:r>
              <a:rPr lang="pl-PL" sz="1000" dirty="0" smtClean="0">
                <a:solidFill>
                  <a:schemeClr val="tx2"/>
                </a:solidFill>
              </a:rPr>
              <a:t> Challenge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15840" y="3614036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err="1" smtClean="0">
                <a:solidFill>
                  <a:srgbClr val="FF0000"/>
                </a:solidFill>
              </a:rPr>
              <a:t>Notice</a:t>
            </a:r>
            <a:r>
              <a:rPr lang="pl-PL" dirty="0" smtClean="0">
                <a:solidFill>
                  <a:srgbClr val="FF0000"/>
                </a:solidFill>
              </a:rPr>
              <a:t> no EID</a:t>
            </a:r>
            <a:endParaRPr lang="pl-PL" dirty="0">
              <a:solidFill>
                <a:srgbClr val="FF0000"/>
              </a:solidFill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 flipH="1" flipV="1">
            <a:off x="4490720" y="3228401"/>
            <a:ext cx="406400" cy="442821"/>
          </a:xfrm>
          <a:prstGeom prst="straightConnector1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1738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117"/>
          <p:cNvSpPr/>
          <p:nvPr/>
        </p:nvSpPr>
        <p:spPr>
          <a:xfrm>
            <a:off x="5068799" y="900812"/>
            <a:ext cx="2612890" cy="916901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16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07715" y="2510276"/>
            <a:ext cx="876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PK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170186" y="1174814"/>
            <a:ext cx="600075" cy="403226"/>
            <a:chOff x="4469146" y="1244924"/>
            <a:chExt cx="600075" cy="403226"/>
          </a:xfrm>
        </p:grpSpPr>
        <p:sp>
          <p:nvSpPr>
            <p:cNvPr id="61" name="Freeform 257"/>
            <p:cNvSpPr>
              <a:spLocks/>
            </p:cNvSpPr>
            <p:nvPr/>
          </p:nvSpPr>
          <p:spPr bwMode="auto">
            <a:xfrm>
              <a:off x="4618371" y="1244924"/>
              <a:ext cx="303213" cy="233363"/>
            </a:xfrm>
            <a:custGeom>
              <a:avLst/>
              <a:gdLst>
                <a:gd name="T0" fmla="*/ 191 w 191"/>
                <a:gd name="T1" fmla="*/ 147 h 147"/>
                <a:gd name="T2" fmla="*/ 186 w 191"/>
                <a:gd name="T3" fmla="*/ 147 h 147"/>
                <a:gd name="T4" fmla="*/ 186 w 191"/>
                <a:gd name="T5" fmla="*/ 45 h 147"/>
                <a:gd name="T6" fmla="*/ 95 w 191"/>
                <a:gd name="T7" fmla="*/ 5 h 147"/>
                <a:gd name="T8" fmla="*/ 5 w 191"/>
                <a:gd name="T9" fmla="*/ 45 h 147"/>
                <a:gd name="T10" fmla="*/ 5 w 191"/>
                <a:gd name="T11" fmla="*/ 147 h 147"/>
                <a:gd name="T12" fmla="*/ 0 w 191"/>
                <a:gd name="T13" fmla="*/ 147 h 147"/>
                <a:gd name="T14" fmla="*/ 0 w 191"/>
                <a:gd name="T15" fmla="*/ 43 h 147"/>
                <a:gd name="T16" fmla="*/ 95 w 191"/>
                <a:gd name="T17" fmla="*/ 0 h 147"/>
                <a:gd name="T18" fmla="*/ 191 w 191"/>
                <a:gd name="T19" fmla="*/ 43 h 147"/>
                <a:gd name="T20" fmla="*/ 191 w 191"/>
                <a:gd name="T21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" h="147">
                  <a:moveTo>
                    <a:pt x="191" y="147"/>
                  </a:moveTo>
                  <a:lnTo>
                    <a:pt x="186" y="147"/>
                  </a:lnTo>
                  <a:lnTo>
                    <a:pt x="186" y="45"/>
                  </a:lnTo>
                  <a:lnTo>
                    <a:pt x="95" y="5"/>
                  </a:lnTo>
                  <a:lnTo>
                    <a:pt x="5" y="45"/>
                  </a:lnTo>
                  <a:lnTo>
                    <a:pt x="5" y="147"/>
                  </a:lnTo>
                  <a:lnTo>
                    <a:pt x="0" y="147"/>
                  </a:lnTo>
                  <a:lnTo>
                    <a:pt x="0" y="43"/>
                  </a:lnTo>
                  <a:lnTo>
                    <a:pt x="95" y="0"/>
                  </a:lnTo>
                  <a:lnTo>
                    <a:pt x="191" y="43"/>
                  </a:lnTo>
                  <a:lnTo>
                    <a:pt x="191" y="147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8"/>
            <p:cNvSpPr>
              <a:spLocks/>
            </p:cNvSpPr>
            <p:nvPr/>
          </p:nvSpPr>
          <p:spPr bwMode="auto">
            <a:xfrm>
              <a:off x="4618371" y="1478287"/>
              <a:ext cx="303213" cy="169863"/>
            </a:xfrm>
            <a:custGeom>
              <a:avLst/>
              <a:gdLst>
                <a:gd name="T0" fmla="*/ 74 w 148"/>
                <a:gd name="T1" fmla="*/ 83 h 83"/>
                <a:gd name="T2" fmla="*/ 73 w 148"/>
                <a:gd name="T3" fmla="*/ 82 h 83"/>
                <a:gd name="T4" fmla="*/ 5 w 148"/>
                <a:gd name="T5" fmla="*/ 21 h 83"/>
                <a:gd name="T6" fmla="*/ 0 w 148"/>
                <a:gd name="T7" fmla="*/ 0 h 83"/>
                <a:gd name="T8" fmla="*/ 4 w 148"/>
                <a:gd name="T9" fmla="*/ 0 h 83"/>
                <a:gd name="T10" fmla="*/ 9 w 148"/>
                <a:gd name="T11" fmla="*/ 19 h 83"/>
                <a:gd name="T12" fmla="*/ 74 w 148"/>
                <a:gd name="T13" fmla="*/ 77 h 83"/>
                <a:gd name="T14" fmla="*/ 139 w 148"/>
                <a:gd name="T15" fmla="*/ 19 h 83"/>
                <a:gd name="T16" fmla="*/ 144 w 148"/>
                <a:gd name="T17" fmla="*/ 0 h 83"/>
                <a:gd name="T18" fmla="*/ 148 w 148"/>
                <a:gd name="T19" fmla="*/ 0 h 83"/>
                <a:gd name="T20" fmla="*/ 143 w 148"/>
                <a:gd name="T21" fmla="*/ 21 h 83"/>
                <a:gd name="T22" fmla="*/ 75 w 148"/>
                <a:gd name="T23" fmla="*/ 82 h 83"/>
                <a:gd name="T24" fmla="*/ 74 w 148"/>
                <a:gd name="T2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83">
                  <a:moveTo>
                    <a:pt x="74" y="83"/>
                  </a:moveTo>
                  <a:cubicBezTo>
                    <a:pt x="73" y="82"/>
                    <a:pt x="73" y="82"/>
                    <a:pt x="73" y="82"/>
                  </a:cubicBezTo>
                  <a:cubicBezTo>
                    <a:pt x="70" y="80"/>
                    <a:pt x="12" y="35"/>
                    <a:pt x="5" y="21"/>
                  </a:cubicBezTo>
                  <a:cubicBezTo>
                    <a:pt x="2" y="14"/>
                    <a:pt x="0" y="7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6" y="13"/>
                    <a:pt x="9" y="19"/>
                  </a:cubicBezTo>
                  <a:cubicBezTo>
                    <a:pt x="15" y="32"/>
                    <a:pt x="65" y="71"/>
                    <a:pt x="74" y="77"/>
                  </a:cubicBezTo>
                  <a:cubicBezTo>
                    <a:pt x="83" y="71"/>
                    <a:pt x="133" y="32"/>
                    <a:pt x="139" y="19"/>
                  </a:cubicBezTo>
                  <a:cubicBezTo>
                    <a:pt x="142" y="13"/>
                    <a:pt x="144" y="7"/>
                    <a:pt x="144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7"/>
                    <a:pt x="146" y="14"/>
                    <a:pt x="143" y="21"/>
                  </a:cubicBezTo>
                  <a:cubicBezTo>
                    <a:pt x="136" y="35"/>
                    <a:pt x="78" y="80"/>
                    <a:pt x="75" y="82"/>
                  </a:cubicBezTo>
                  <a:lnTo>
                    <a:pt x="74" y="83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9"/>
            <p:cNvSpPr>
              <a:spLocks/>
            </p:cNvSpPr>
            <p:nvPr/>
          </p:nvSpPr>
          <p:spPr bwMode="auto">
            <a:xfrm>
              <a:off x="4469146" y="1244924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0"/>
            <p:cNvSpPr>
              <a:spLocks noEditPoints="1"/>
            </p:cNvSpPr>
            <p:nvPr/>
          </p:nvSpPr>
          <p:spPr bwMode="auto">
            <a:xfrm>
              <a:off x="4519946" y="1244924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1"/>
            <p:cNvSpPr>
              <a:spLocks/>
            </p:cNvSpPr>
            <p:nvPr/>
          </p:nvSpPr>
          <p:spPr bwMode="auto">
            <a:xfrm>
              <a:off x="4469146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62"/>
            <p:cNvSpPr>
              <a:spLocks/>
            </p:cNvSpPr>
            <p:nvPr/>
          </p:nvSpPr>
          <p:spPr bwMode="auto">
            <a:xfrm>
              <a:off x="4604084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63"/>
            <p:cNvSpPr>
              <a:spLocks noEditPoints="1"/>
            </p:cNvSpPr>
            <p:nvPr/>
          </p:nvSpPr>
          <p:spPr bwMode="auto">
            <a:xfrm>
              <a:off x="4519946" y="1540199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64"/>
            <p:cNvSpPr>
              <a:spLocks/>
            </p:cNvSpPr>
            <p:nvPr/>
          </p:nvSpPr>
          <p:spPr bwMode="auto">
            <a:xfrm>
              <a:off x="4567571" y="1392562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65"/>
            <p:cNvSpPr>
              <a:spLocks noEditPoints="1"/>
            </p:cNvSpPr>
            <p:nvPr/>
          </p:nvSpPr>
          <p:spPr bwMode="auto">
            <a:xfrm>
              <a:off x="4470734" y="1392562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66"/>
            <p:cNvSpPr>
              <a:spLocks/>
            </p:cNvSpPr>
            <p:nvPr/>
          </p:nvSpPr>
          <p:spPr bwMode="auto">
            <a:xfrm>
              <a:off x="4935871" y="1244924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67"/>
            <p:cNvSpPr>
              <a:spLocks noEditPoints="1"/>
            </p:cNvSpPr>
            <p:nvPr/>
          </p:nvSpPr>
          <p:spPr bwMode="auto">
            <a:xfrm>
              <a:off x="4986671" y="1244924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68"/>
            <p:cNvSpPr>
              <a:spLocks/>
            </p:cNvSpPr>
            <p:nvPr/>
          </p:nvSpPr>
          <p:spPr bwMode="auto">
            <a:xfrm>
              <a:off x="4935871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269"/>
            <p:cNvSpPr>
              <a:spLocks/>
            </p:cNvSpPr>
            <p:nvPr/>
          </p:nvSpPr>
          <p:spPr bwMode="auto">
            <a:xfrm>
              <a:off x="4886659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70"/>
            <p:cNvSpPr>
              <a:spLocks noEditPoints="1"/>
            </p:cNvSpPr>
            <p:nvPr/>
          </p:nvSpPr>
          <p:spPr bwMode="auto">
            <a:xfrm>
              <a:off x="4986671" y="1540199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71"/>
            <p:cNvSpPr>
              <a:spLocks/>
            </p:cNvSpPr>
            <p:nvPr/>
          </p:nvSpPr>
          <p:spPr bwMode="auto">
            <a:xfrm>
              <a:off x="5034296" y="1392562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72"/>
            <p:cNvSpPr>
              <a:spLocks noEditPoints="1"/>
            </p:cNvSpPr>
            <p:nvPr/>
          </p:nvSpPr>
          <p:spPr bwMode="auto">
            <a:xfrm>
              <a:off x="4937459" y="1392562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273"/>
            <p:cNvSpPr>
              <a:spLocks noEditPoints="1"/>
            </p:cNvSpPr>
            <p:nvPr/>
          </p:nvSpPr>
          <p:spPr bwMode="auto">
            <a:xfrm>
              <a:off x="4696159" y="1427487"/>
              <a:ext cx="147638" cy="115888"/>
            </a:xfrm>
            <a:custGeom>
              <a:avLst/>
              <a:gdLst>
                <a:gd name="T0" fmla="*/ 67 w 72"/>
                <a:gd name="T1" fmla="*/ 4 h 57"/>
                <a:gd name="T2" fmla="*/ 68 w 72"/>
                <a:gd name="T3" fmla="*/ 5 h 57"/>
                <a:gd name="T4" fmla="*/ 68 w 72"/>
                <a:gd name="T5" fmla="*/ 21 h 57"/>
                <a:gd name="T6" fmla="*/ 36 w 72"/>
                <a:gd name="T7" fmla="*/ 53 h 57"/>
                <a:gd name="T8" fmla="*/ 4 w 72"/>
                <a:gd name="T9" fmla="*/ 21 h 57"/>
                <a:gd name="T10" fmla="*/ 4 w 72"/>
                <a:gd name="T11" fmla="*/ 16 h 57"/>
                <a:gd name="T12" fmla="*/ 4 w 72"/>
                <a:gd name="T13" fmla="*/ 5 h 57"/>
                <a:gd name="T14" fmla="*/ 5 w 72"/>
                <a:gd name="T15" fmla="*/ 4 h 57"/>
                <a:gd name="T16" fmla="*/ 51 w 72"/>
                <a:gd name="T17" fmla="*/ 4 h 57"/>
                <a:gd name="T18" fmla="*/ 67 w 72"/>
                <a:gd name="T19" fmla="*/ 4 h 57"/>
                <a:gd name="T20" fmla="*/ 67 w 72"/>
                <a:gd name="T21" fmla="*/ 0 h 57"/>
                <a:gd name="T22" fmla="*/ 51 w 72"/>
                <a:gd name="T23" fmla="*/ 0 h 57"/>
                <a:gd name="T24" fmla="*/ 5 w 72"/>
                <a:gd name="T25" fmla="*/ 0 h 57"/>
                <a:gd name="T26" fmla="*/ 0 w 72"/>
                <a:gd name="T27" fmla="*/ 5 h 57"/>
                <a:gd name="T28" fmla="*/ 0 w 72"/>
                <a:gd name="T29" fmla="*/ 16 h 57"/>
                <a:gd name="T30" fmla="*/ 0 w 72"/>
                <a:gd name="T31" fmla="*/ 21 h 57"/>
                <a:gd name="T32" fmla="*/ 36 w 72"/>
                <a:gd name="T33" fmla="*/ 57 h 57"/>
                <a:gd name="T34" fmla="*/ 72 w 72"/>
                <a:gd name="T35" fmla="*/ 21 h 57"/>
                <a:gd name="T36" fmla="*/ 72 w 72"/>
                <a:gd name="T37" fmla="*/ 5 h 57"/>
                <a:gd name="T38" fmla="*/ 67 w 72"/>
                <a:gd name="T3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57">
                  <a:moveTo>
                    <a:pt x="67" y="4"/>
                  </a:moveTo>
                  <a:cubicBezTo>
                    <a:pt x="67" y="4"/>
                    <a:pt x="68" y="4"/>
                    <a:pt x="68" y="5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8" y="39"/>
                    <a:pt x="54" y="53"/>
                    <a:pt x="36" y="53"/>
                  </a:cubicBezTo>
                  <a:cubicBezTo>
                    <a:pt x="18" y="53"/>
                    <a:pt x="4" y="39"/>
                    <a:pt x="4" y="2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67" y="4"/>
                    <a:pt x="67" y="4"/>
                    <a:pt x="67" y="4"/>
                  </a:cubicBezTo>
                  <a:moveTo>
                    <a:pt x="67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41"/>
                    <a:pt x="16" y="57"/>
                    <a:pt x="36" y="57"/>
                  </a:cubicBezTo>
                  <a:cubicBezTo>
                    <a:pt x="56" y="57"/>
                    <a:pt x="72" y="41"/>
                    <a:pt x="72" y="21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274"/>
            <p:cNvSpPr>
              <a:spLocks/>
            </p:cNvSpPr>
            <p:nvPr/>
          </p:nvSpPr>
          <p:spPr bwMode="auto">
            <a:xfrm>
              <a:off x="4715209" y="1341762"/>
              <a:ext cx="109538" cy="92075"/>
            </a:xfrm>
            <a:custGeom>
              <a:avLst/>
              <a:gdLst>
                <a:gd name="T0" fmla="*/ 54 w 54"/>
                <a:gd name="T1" fmla="*/ 45 h 45"/>
                <a:gd name="T2" fmla="*/ 50 w 54"/>
                <a:gd name="T3" fmla="*/ 45 h 45"/>
                <a:gd name="T4" fmla="*/ 50 w 54"/>
                <a:gd name="T5" fmla="*/ 27 h 45"/>
                <a:gd name="T6" fmla="*/ 27 w 54"/>
                <a:gd name="T7" fmla="*/ 4 h 45"/>
                <a:gd name="T8" fmla="*/ 4 w 54"/>
                <a:gd name="T9" fmla="*/ 27 h 45"/>
                <a:gd name="T10" fmla="*/ 4 w 54"/>
                <a:gd name="T11" fmla="*/ 45 h 45"/>
                <a:gd name="T12" fmla="*/ 0 w 54"/>
                <a:gd name="T13" fmla="*/ 45 h 45"/>
                <a:gd name="T14" fmla="*/ 0 w 54"/>
                <a:gd name="T15" fmla="*/ 27 h 45"/>
                <a:gd name="T16" fmla="*/ 27 w 54"/>
                <a:gd name="T17" fmla="*/ 0 h 45"/>
                <a:gd name="T18" fmla="*/ 54 w 54"/>
                <a:gd name="T19" fmla="*/ 27 h 45"/>
                <a:gd name="T20" fmla="*/ 54 w 54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45">
                  <a:moveTo>
                    <a:pt x="54" y="45"/>
                  </a:moveTo>
                  <a:cubicBezTo>
                    <a:pt x="50" y="45"/>
                    <a:pt x="50" y="45"/>
                    <a:pt x="50" y="45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14"/>
                    <a:pt x="40" y="4"/>
                    <a:pt x="27" y="4"/>
                  </a:cubicBezTo>
                  <a:cubicBezTo>
                    <a:pt x="14" y="4"/>
                    <a:pt x="4" y="14"/>
                    <a:pt x="4" y="27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lnTo>
                    <a:pt x="54" y="45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275"/>
            <p:cNvSpPr>
              <a:spLocks noEditPoints="1"/>
            </p:cNvSpPr>
            <p:nvPr/>
          </p:nvSpPr>
          <p:spPr bwMode="auto">
            <a:xfrm>
              <a:off x="4745371" y="1457649"/>
              <a:ext cx="49213" cy="49213"/>
            </a:xfrm>
            <a:custGeom>
              <a:avLst/>
              <a:gdLst>
                <a:gd name="T0" fmla="*/ 12 w 24"/>
                <a:gd name="T1" fmla="*/ 4 h 24"/>
                <a:gd name="T2" fmla="*/ 20 w 24"/>
                <a:gd name="T3" fmla="*/ 12 h 24"/>
                <a:gd name="T4" fmla="*/ 12 w 24"/>
                <a:gd name="T5" fmla="*/ 20 h 24"/>
                <a:gd name="T6" fmla="*/ 4 w 24"/>
                <a:gd name="T7" fmla="*/ 12 h 24"/>
                <a:gd name="T8" fmla="*/ 12 w 24"/>
                <a:gd name="T9" fmla="*/ 4 h 24"/>
                <a:gd name="T10" fmla="*/ 12 w 24"/>
                <a:gd name="T11" fmla="*/ 0 h 24"/>
                <a:gd name="T12" fmla="*/ 0 w 24"/>
                <a:gd name="T13" fmla="*/ 12 h 24"/>
                <a:gd name="T14" fmla="*/ 12 w 24"/>
                <a:gd name="T15" fmla="*/ 24 h 24"/>
                <a:gd name="T16" fmla="*/ 24 w 24"/>
                <a:gd name="T17" fmla="*/ 12 h 24"/>
                <a:gd name="T18" fmla="*/ 12 w 24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4"/>
                  </a:moveTo>
                  <a:cubicBezTo>
                    <a:pt x="16" y="4"/>
                    <a:pt x="20" y="8"/>
                    <a:pt x="20" y="12"/>
                  </a:cubicBez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4" y="16"/>
                    <a:pt x="4" y="12"/>
                  </a:cubicBezTo>
                  <a:cubicBezTo>
                    <a:pt x="4" y="8"/>
                    <a:pt x="8" y="4"/>
                    <a:pt x="12" y="4"/>
                  </a:cubicBezTo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9" y="24"/>
                    <a:pt x="24" y="19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13" name="Elbow Connector 112"/>
          <p:cNvCxnSpPr/>
          <p:nvPr/>
        </p:nvCxnSpPr>
        <p:spPr>
          <a:xfrm flipV="1">
            <a:off x="3785244" y="1403359"/>
            <a:ext cx="1384942" cy="68020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3877947" y="846054"/>
            <a:ext cx="14052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err="1" smtClean="0">
                <a:solidFill>
                  <a:srgbClr val="00B050"/>
                </a:solidFill>
              </a:rPr>
              <a:t>Random</a:t>
            </a:r>
            <a:r>
              <a:rPr lang="pl-PL" sz="1000" dirty="0" smtClean="0">
                <a:solidFill>
                  <a:srgbClr val="00B050"/>
                </a:solidFill>
              </a:rPr>
              <a:t> Challenge</a:t>
            </a:r>
          </a:p>
          <a:p>
            <a:r>
              <a:rPr lang="pl-PL" sz="1000" dirty="0" smtClean="0">
                <a:solidFill>
                  <a:srgbClr val="00B050"/>
                </a:solidFill>
              </a:rPr>
              <a:t> + Magic </a:t>
            </a:r>
            <a:r>
              <a:rPr lang="pl-PL" sz="1000" dirty="0" err="1" smtClean="0">
                <a:solidFill>
                  <a:srgbClr val="00B050"/>
                </a:solidFill>
              </a:rPr>
              <a:t>dust</a:t>
            </a:r>
            <a:endParaRPr lang="pl-PL" sz="1000" dirty="0" smtClean="0">
              <a:solidFill>
                <a:srgbClr val="00B050"/>
              </a:solidFill>
            </a:endParaRPr>
          </a:p>
        </p:txBody>
      </p:sp>
      <p:cxnSp>
        <p:nvCxnSpPr>
          <p:cNvPr id="116" name="Elbow Connector 115"/>
          <p:cNvCxnSpPr>
            <a:stCxn id="62" idx="0"/>
          </p:cNvCxnSpPr>
          <p:nvPr/>
        </p:nvCxnSpPr>
        <p:spPr>
          <a:xfrm flipH="1">
            <a:off x="3770892" y="1578040"/>
            <a:ext cx="1700126" cy="639783"/>
          </a:xfrm>
          <a:prstGeom prst="bentConnector3">
            <a:avLst>
              <a:gd name="adj1" fmla="val -849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4141552" y="2104202"/>
            <a:ext cx="14052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err="1" smtClean="0">
                <a:solidFill>
                  <a:srgbClr val="00B050"/>
                </a:solidFill>
              </a:rPr>
              <a:t>ePK.SR.ECKA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err="1" smtClean="0">
                <a:solidFill>
                  <a:srgbClr val="00B050"/>
                </a:solidFill>
              </a:rPr>
              <a:t>Signature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err="1" smtClean="0">
                <a:solidFill>
                  <a:srgbClr val="00B050"/>
                </a:solidFill>
              </a:rPr>
              <a:t>Shared</a:t>
            </a:r>
            <a:r>
              <a:rPr lang="pl-PL" sz="1000" dirty="0" smtClean="0">
                <a:solidFill>
                  <a:srgbClr val="00B050"/>
                </a:solidFill>
              </a:rPr>
              <a:t> </a:t>
            </a:r>
            <a:r>
              <a:rPr lang="pl-PL" sz="1000" dirty="0" err="1" smtClean="0">
                <a:solidFill>
                  <a:srgbClr val="00B050"/>
                </a:solidFill>
              </a:rPr>
              <a:t>Secret</a:t>
            </a:r>
            <a:endParaRPr lang="pl-PL" sz="1000" dirty="0" smtClean="0">
              <a:solidFill>
                <a:srgbClr val="00B050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5930235" y="945296"/>
            <a:ext cx="19216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eSK.SR.ECKA</a:t>
            </a:r>
            <a:r>
              <a:rPr lang="pl-PL" sz="800" dirty="0" smtClean="0">
                <a:solidFill>
                  <a:srgbClr val="00B050"/>
                </a:solidFill>
              </a:rPr>
              <a:t> -&gt; </a:t>
            </a:r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326067" y="1974948"/>
            <a:ext cx="14198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Signature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 smtClean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574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117"/>
          <p:cNvSpPr/>
          <p:nvPr/>
        </p:nvSpPr>
        <p:spPr>
          <a:xfrm>
            <a:off x="5068799" y="900812"/>
            <a:ext cx="2612890" cy="916901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17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07715" y="2510276"/>
            <a:ext cx="876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PK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170186" y="1174814"/>
            <a:ext cx="600075" cy="403226"/>
            <a:chOff x="4469146" y="1244924"/>
            <a:chExt cx="600075" cy="403226"/>
          </a:xfrm>
        </p:grpSpPr>
        <p:sp>
          <p:nvSpPr>
            <p:cNvPr id="61" name="Freeform 257"/>
            <p:cNvSpPr>
              <a:spLocks/>
            </p:cNvSpPr>
            <p:nvPr/>
          </p:nvSpPr>
          <p:spPr bwMode="auto">
            <a:xfrm>
              <a:off x="4618371" y="1244924"/>
              <a:ext cx="303213" cy="233363"/>
            </a:xfrm>
            <a:custGeom>
              <a:avLst/>
              <a:gdLst>
                <a:gd name="T0" fmla="*/ 191 w 191"/>
                <a:gd name="T1" fmla="*/ 147 h 147"/>
                <a:gd name="T2" fmla="*/ 186 w 191"/>
                <a:gd name="T3" fmla="*/ 147 h 147"/>
                <a:gd name="T4" fmla="*/ 186 w 191"/>
                <a:gd name="T5" fmla="*/ 45 h 147"/>
                <a:gd name="T6" fmla="*/ 95 w 191"/>
                <a:gd name="T7" fmla="*/ 5 h 147"/>
                <a:gd name="T8" fmla="*/ 5 w 191"/>
                <a:gd name="T9" fmla="*/ 45 h 147"/>
                <a:gd name="T10" fmla="*/ 5 w 191"/>
                <a:gd name="T11" fmla="*/ 147 h 147"/>
                <a:gd name="T12" fmla="*/ 0 w 191"/>
                <a:gd name="T13" fmla="*/ 147 h 147"/>
                <a:gd name="T14" fmla="*/ 0 w 191"/>
                <a:gd name="T15" fmla="*/ 43 h 147"/>
                <a:gd name="T16" fmla="*/ 95 w 191"/>
                <a:gd name="T17" fmla="*/ 0 h 147"/>
                <a:gd name="T18" fmla="*/ 191 w 191"/>
                <a:gd name="T19" fmla="*/ 43 h 147"/>
                <a:gd name="T20" fmla="*/ 191 w 191"/>
                <a:gd name="T21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" h="147">
                  <a:moveTo>
                    <a:pt x="191" y="147"/>
                  </a:moveTo>
                  <a:lnTo>
                    <a:pt x="186" y="147"/>
                  </a:lnTo>
                  <a:lnTo>
                    <a:pt x="186" y="45"/>
                  </a:lnTo>
                  <a:lnTo>
                    <a:pt x="95" y="5"/>
                  </a:lnTo>
                  <a:lnTo>
                    <a:pt x="5" y="45"/>
                  </a:lnTo>
                  <a:lnTo>
                    <a:pt x="5" y="147"/>
                  </a:lnTo>
                  <a:lnTo>
                    <a:pt x="0" y="147"/>
                  </a:lnTo>
                  <a:lnTo>
                    <a:pt x="0" y="43"/>
                  </a:lnTo>
                  <a:lnTo>
                    <a:pt x="95" y="0"/>
                  </a:lnTo>
                  <a:lnTo>
                    <a:pt x="191" y="43"/>
                  </a:lnTo>
                  <a:lnTo>
                    <a:pt x="191" y="147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8"/>
            <p:cNvSpPr>
              <a:spLocks/>
            </p:cNvSpPr>
            <p:nvPr/>
          </p:nvSpPr>
          <p:spPr bwMode="auto">
            <a:xfrm>
              <a:off x="4618371" y="1478287"/>
              <a:ext cx="303213" cy="169863"/>
            </a:xfrm>
            <a:custGeom>
              <a:avLst/>
              <a:gdLst>
                <a:gd name="T0" fmla="*/ 74 w 148"/>
                <a:gd name="T1" fmla="*/ 83 h 83"/>
                <a:gd name="T2" fmla="*/ 73 w 148"/>
                <a:gd name="T3" fmla="*/ 82 h 83"/>
                <a:gd name="T4" fmla="*/ 5 w 148"/>
                <a:gd name="T5" fmla="*/ 21 h 83"/>
                <a:gd name="T6" fmla="*/ 0 w 148"/>
                <a:gd name="T7" fmla="*/ 0 h 83"/>
                <a:gd name="T8" fmla="*/ 4 w 148"/>
                <a:gd name="T9" fmla="*/ 0 h 83"/>
                <a:gd name="T10" fmla="*/ 9 w 148"/>
                <a:gd name="T11" fmla="*/ 19 h 83"/>
                <a:gd name="T12" fmla="*/ 74 w 148"/>
                <a:gd name="T13" fmla="*/ 77 h 83"/>
                <a:gd name="T14" fmla="*/ 139 w 148"/>
                <a:gd name="T15" fmla="*/ 19 h 83"/>
                <a:gd name="T16" fmla="*/ 144 w 148"/>
                <a:gd name="T17" fmla="*/ 0 h 83"/>
                <a:gd name="T18" fmla="*/ 148 w 148"/>
                <a:gd name="T19" fmla="*/ 0 h 83"/>
                <a:gd name="T20" fmla="*/ 143 w 148"/>
                <a:gd name="T21" fmla="*/ 21 h 83"/>
                <a:gd name="T22" fmla="*/ 75 w 148"/>
                <a:gd name="T23" fmla="*/ 82 h 83"/>
                <a:gd name="T24" fmla="*/ 74 w 148"/>
                <a:gd name="T2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83">
                  <a:moveTo>
                    <a:pt x="74" y="83"/>
                  </a:moveTo>
                  <a:cubicBezTo>
                    <a:pt x="73" y="82"/>
                    <a:pt x="73" y="82"/>
                    <a:pt x="73" y="82"/>
                  </a:cubicBezTo>
                  <a:cubicBezTo>
                    <a:pt x="70" y="80"/>
                    <a:pt x="12" y="35"/>
                    <a:pt x="5" y="21"/>
                  </a:cubicBezTo>
                  <a:cubicBezTo>
                    <a:pt x="2" y="14"/>
                    <a:pt x="0" y="7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6" y="13"/>
                    <a:pt x="9" y="19"/>
                  </a:cubicBezTo>
                  <a:cubicBezTo>
                    <a:pt x="15" y="32"/>
                    <a:pt x="65" y="71"/>
                    <a:pt x="74" y="77"/>
                  </a:cubicBezTo>
                  <a:cubicBezTo>
                    <a:pt x="83" y="71"/>
                    <a:pt x="133" y="32"/>
                    <a:pt x="139" y="19"/>
                  </a:cubicBezTo>
                  <a:cubicBezTo>
                    <a:pt x="142" y="13"/>
                    <a:pt x="144" y="7"/>
                    <a:pt x="144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7"/>
                    <a:pt x="146" y="14"/>
                    <a:pt x="143" y="21"/>
                  </a:cubicBezTo>
                  <a:cubicBezTo>
                    <a:pt x="136" y="35"/>
                    <a:pt x="78" y="80"/>
                    <a:pt x="75" y="82"/>
                  </a:cubicBezTo>
                  <a:lnTo>
                    <a:pt x="74" y="83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9"/>
            <p:cNvSpPr>
              <a:spLocks/>
            </p:cNvSpPr>
            <p:nvPr/>
          </p:nvSpPr>
          <p:spPr bwMode="auto">
            <a:xfrm>
              <a:off x="4469146" y="1244924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0"/>
            <p:cNvSpPr>
              <a:spLocks noEditPoints="1"/>
            </p:cNvSpPr>
            <p:nvPr/>
          </p:nvSpPr>
          <p:spPr bwMode="auto">
            <a:xfrm>
              <a:off x="4519946" y="1244924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1"/>
            <p:cNvSpPr>
              <a:spLocks/>
            </p:cNvSpPr>
            <p:nvPr/>
          </p:nvSpPr>
          <p:spPr bwMode="auto">
            <a:xfrm>
              <a:off x="4469146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62"/>
            <p:cNvSpPr>
              <a:spLocks/>
            </p:cNvSpPr>
            <p:nvPr/>
          </p:nvSpPr>
          <p:spPr bwMode="auto">
            <a:xfrm>
              <a:off x="4604084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63"/>
            <p:cNvSpPr>
              <a:spLocks noEditPoints="1"/>
            </p:cNvSpPr>
            <p:nvPr/>
          </p:nvSpPr>
          <p:spPr bwMode="auto">
            <a:xfrm>
              <a:off x="4519946" y="1540199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64"/>
            <p:cNvSpPr>
              <a:spLocks/>
            </p:cNvSpPr>
            <p:nvPr/>
          </p:nvSpPr>
          <p:spPr bwMode="auto">
            <a:xfrm>
              <a:off x="4567571" y="1392562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65"/>
            <p:cNvSpPr>
              <a:spLocks noEditPoints="1"/>
            </p:cNvSpPr>
            <p:nvPr/>
          </p:nvSpPr>
          <p:spPr bwMode="auto">
            <a:xfrm>
              <a:off x="4470734" y="1392562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66"/>
            <p:cNvSpPr>
              <a:spLocks/>
            </p:cNvSpPr>
            <p:nvPr/>
          </p:nvSpPr>
          <p:spPr bwMode="auto">
            <a:xfrm>
              <a:off x="4935871" y="1244924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67"/>
            <p:cNvSpPr>
              <a:spLocks noEditPoints="1"/>
            </p:cNvSpPr>
            <p:nvPr/>
          </p:nvSpPr>
          <p:spPr bwMode="auto">
            <a:xfrm>
              <a:off x="4986671" y="1244924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68"/>
            <p:cNvSpPr>
              <a:spLocks/>
            </p:cNvSpPr>
            <p:nvPr/>
          </p:nvSpPr>
          <p:spPr bwMode="auto">
            <a:xfrm>
              <a:off x="4935871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269"/>
            <p:cNvSpPr>
              <a:spLocks/>
            </p:cNvSpPr>
            <p:nvPr/>
          </p:nvSpPr>
          <p:spPr bwMode="auto">
            <a:xfrm>
              <a:off x="4886659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70"/>
            <p:cNvSpPr>
              <a:spLocks noEditPoints="1"/>
            </p:cNvSpPr>
            <p:nvPr/>
          </p:nvSpPr>
          <p:spPr bwMode="auto">
            <a:xfrm>
              <a:off x="4986671" y="1540199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71"/>
            <p:cNvSpPr>
              <a:spLocks/>
            </p:cNvSpPr>
            <p:nvPr/>
          </p:nvSpPr>
          <p:spPr bwMode="auto">
            <a:xfrm>
              <a:off x="5034296" y="1392562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72"/>
            <p:cNvSpPr>
              <a:spLocks noEditPoints="1"/>
            </p:cNvSpPr>
            <p:nvPr/>
          </p:nvSpPr>
          <p:spPr bwMode="auto">
            <a:xfrm>
              <a:off x="4937459" y="1392562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273"/>
            <p:cNvSpPr>
              <a:spLocks noEditPoints="1"/>
            </p:cNvSpPr>
            <p:nvPr/>
          </p:nvSpPr>
          <p:spPr bwMode="auto">
            <a:xfrm>
              <a:off x="4696159" y="1427487"/>
              <a:ext cx="147638" cy="115888"/>
            </a:xfrm>
            <a:custGeom>
              <a:avLst/>
              <a:gdLst>
                <a:gd name="T0" fmla="*/ 67 w 72"/>
                <a:gd name="T1" fmla="*/ 4 h 57"/>
                <a:gd name="T2" fmla="*/ 68 w 72"/>
                <a:gd name="T3" fmla="*/ 5 h 57"/>
                <a:gd name="T4" fmla="*/ 68 w 72"/>
                <a:gd name="T5" fmla="*/ 21 h 57"/>
                <a:gd name="T6" fmla="*/ 36 w 72"/>
                <a:gd name="T7" fmla="*/ 53 h 57"/>
                <a:gd name="T8" fmla="*/ 4 w 72"/>
                <a:gd name="T9" fmla="*/ 21 h 57"/>
                <a:gd name="T10" fmla="*/ 4 w 72"/>
                <a:gd name="T11" fmla="*/ 16 h 57"/>
                <a:gd name="T12" fmla="*/ 4 w 72"/>
                <a:gd name="T13" fmla="*/ 5 h 57"/>
                <a:gd name="T14" fmla="*/ 5 w 72"/>
                <a:gd name="T15" fmla="*/ 4 h 57"/>
                <a:gd name="T16" fmla="*/ 51 w 72"/>
                <a:gd name="T17" fmla="*/ 4 h 57"/>
                <a:gd name="T18" fmla="*/ 67 w 72"/>
                <a:gd name="T19" fmla="*/ 4 h 57"/>
                <a:gd name="T20" fmla="*/ 67 w 72"/>
                <a:gd name="T21" fmla="*/ 0 h 57"/>
                <a:gd name="T22" fmla="*/ 51 w 72"/>
                <a:gd name="T23" fmla="*/ 0 h 57"/>
                <a:gd name="T24" fmla="*/ 5 w 72"/>
                <a:gd name="T25" fmla="*/ 0 h 57"/>
                <a:gd name="T26" fmla="*/ 0 w 72"/>
                <a:gd name="T27" fmla="*/ 5 h 57"/>
                <a:gd name="T28" fmla="*/ 0 w 72"/>
                <a:gd name="T29" fmla="*/ 16 h 57"/>
                <a:gd name="T30" fmla="*/ 0 w 72"/>
                <a:gd name="T31" fmla="*/ 21 h 57"/>
                <a:gd name="T32" fmla="*/ 36 w 72"/>
                <a:gd name="T33" fmla="*/ 57 h 57"/>
                <a:gd name="T34" fmla="*/ 72 w 72"/>
                <a:gd name="T35" fmla="*/ 21 h 57"/>
                <a:gd name="T36" fmla="*/ 72 w 72"/>
                <a:gd name="T37" fmla="*/ 5 h 57"/>
                <a:gd name="T38" fmla="*/ 67 w 72"/>
                <a:gd name="T3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57">
                  <a:moveTo>
                    <a:pt x="67" y="4"/>
                  </a:moveTo>
                  <a:cubicBezTo>
                    <a:pt x="67" y="4"/>
                    <a:pt x="68" y="4"/>
                    <a:pt x="68" y="5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8" y="39"/>
                    <a:pt x="54" y="53"/>
                    <a:pt x="36" y="53"/>
                  </a:cubicBezTo>
                  <a:cubicBezTo>
                    <a:pt x="18" y="53"/>
                    <a:pt x="4" y="39"/>
                    <a:pt x="4" y="2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67" y="4"/>
                    <a:pt x="67" y="4"/>
                    <a:pt x="67" y="4"/>
                  </a:cubicBezTo>
                  <a:moveTo>
                    <a:pt x="67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41"/>
                    <a:pt x="16" y="57"/>
                    <a:pt x="36" y="57"/>
                  </a:cubicBezTo>
                  <a:cubicBezTo>
                    <a:pt x="56" y="57"/>
                    <a:pt x="72" y="41"/>
                    <a:pt x="72" y="21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274"/>
            <p:cNvSpPr>
              <a:spLocks/>
            </p:cNvSpPr>
            <p:nvPr/>
          </p:nvSpPr>
          <p:spPr bwMode="auto">
            <a:xfrm>
              <a:off x="4715209" y="1341762"/>
              <a:ext cx="109538" cy="92075"/>
            </a:xfrm>
            <a:custGeom>
              <a:avLst/>
              <a:gdLst>
                <a:gd name="T0" fmla="*/ 54 w 54"/>
                <a:gd name="T1" fmla="*/ 45 h 45"/>
                <a:gd name="T2" fmla="*/ 50 w 54"/>
                <a:gd name="T3" fmla="*/ 45 h 45"/>
                <a:gd name="T4" fmla="*/ 50 w 54"/>
                <a:gd name="T5" fmla="*/ 27 h 45"/>
                <a:gd name="T6" fmla="*/ 27 w 54"/>
                <a:gd name="T7" fmla="*/ 4 h 45"/>
                <a:gd name="T8" fmla="*/ 4 w 54"/>
                <a:gd name="T9" fmla="*/ 27 h 45"/>
                <a:gd name="T10" fmla="*/ 4 w 54"/>
                <a:gd name="T11" fmla="*/ 45 h 45"/>
                <a:gd name="T12" fmla="*/ 0 w 54"/>
                <a:gd name="T13" fmla="*/ 45 h 45"/>
                <a:gd name="T14" fmla="*/ 0 w 54"/>
                <a:gd name="T15" fmla="*/ 27 h 45"/>
                <a:gd name="T16" fmla="*/ 27 w 54"/>
                <a:gd name="T17" fmla="*/ 0 h 45"/>
                <a:gd name="T18" fmla="*/ 54 w 54"/>
                <a:gd name="T19" fmla="*/ 27 h 45"/>
                <a:gd name="T20" fmla="*/ 54 w 54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45">
                  <a:moveTo>
                    <a:pt x="54" y="45"/>
                  </a:moveTo>
                  <a:cubicBezTo>
                    <a:pt x="50" y="45"/>
                    <a:pt x="50" y="45"/>
                    <a:pt x="50" y="45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14"/>
                    <a:pt x="40" y="4"/>
                    <a:pt x="27" y="4"/>
                  </a:cubicBezTo>
                  <a:cubicBezTo>
                    <a:pt x="14" y="4"/>
                    <a:pt x="4" y="14"/>
                    <a:pt x="4" y="27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lnTo>
                    <a:pt x="54" y="45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275"/>
            <p:cNvSpPr>
              <a:spLocks noEditPoints="1"/>
            </p:cNvSpPr>
            <p:nvPr/>
          </p:nvSpPr>
          <p:spPr bwMode="auto">
            <a:xfrm>
              <a:off x="4745371" y="1457649"/>
              <a:ext cx="49213" cy="49213"/>
            </a:xfrm>
            <a:custGeom>
              <a:avLst/>
              <a:gdLst>
                <a:gd name="T0" fmla="*/ 12 w 24"/>
                <a:gd name="T1" fmla="*/ 4 h 24"/>
                <a:gd name="T2" fmla="*/ 20 w 24"/>
                <a:gd name="T3" fmla="*/ 12 h 24"/>
                <a:gd name="T4" fmla="*/ 12 w 24"/>
                <a:gd name="T5" fmla="*/ 20 h 24"/>
                <a:gd name="T6" fmla="*/ 4 w 24"/>
                <a:gd name="T7" fmla="*/ 12 h 24"/>
                <a:gd name="T8" fmla="*/ 12 w 24"/>
                <a:gd name="T9" fmla="*/ 4 h 24"/>
                <a:gd name="T10" fmla="*/ 12 w 24"/>
                <a:gd name="T11" fmla="*/ 0 h 24"/>
                <a:gd name="T12" fmla="*/ 0 w 24"/>
                <a:gd name="T13" fmla="*/ 12 h 24"/>
                <a:gd name="T14" fmla="*/ 12 w 24"/>
                <a:gd name="T15" fmla="*/ 24 h 24"/>
                <a:gd name="T16" fmla="*/ 24 w 24"/>
                <a:gd name="T17" fmla="*/ 12 h 24"/>
                <a:gd name="T18" fmla="*/ 12 w 24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4"/>
                  </a:moveTo>
                  <a:cubicBezTo>
                    <a:pt x="16" y="4"/>
                    <a:pt x="20" y="8"/>
                    <a:pt x="20" y="12"/>
                  </a:cubicBez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4" y="16"/>
                    <a:pt x="4" y="12"/>
                  </a:cubicBezTo>
                  <a:cubicBezTo>
                    <a:pt x="4" y="8"/>
                    <a:pt x="8" y="4"/>
                    <a:pt x="12" y="4"/>
                  </a:cubicBezTo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9" y="24"/>
                    <a:pt x="24" y="19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9" name="TextBox 118"/>
          <p:cNvSpPr txBox="1"/>
          <p:nvPr/>
        </p:nvSpPr>
        <p:spPr>
          <a:xfrm>
            <a:off x="5930235" y="945296"/>
            <a:ext cx="19216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eSK.SR.ECKA</a:t>
            </a:r>
            <a:r>
              <a:rPr lang="pl-PL" sz="800" dirty="0" smtClean="0">
                <a:solidFill>
                  <a:srgbClr val="00B050"/>
                </a:solidFill>
              </a:rPr>
              <a:t> -&gt; </a:t>
            </a:r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326067" y="1974948"/>
            <a:ext cx="14198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Signature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 smtClean="0">
              <a:solidFill>
                <a:srgbClr val="00B050"/>
              </a:solidFill>
            </a:endParaRPr>
          </a:p>
        </p:txBody>
      </p:sp>
      <p:cxnSp>
        <p:nvCxnSpPr>
          <p:cNvPr id="107" name="Elbow Connector 106"/>
          <p:cNvCxnSpPr/>
          <p:nvPr/>
        </p:nvCxnSpPr>
        <p:spPr>
          <a:xfrm rot="16200000" flipH="1">
            <a:off x="2766715" y="3000834"/>
            <a:ext cx="438483" cy="9345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3037577" y="2828291"/>
            <a:ext cx="20312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CreateAdditionalKeySet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</a:t>
            </a:r>
            <a:r>
              <a:rPr lang="pl-PL" sz="1000" dirty="0" err="1" smtClean="0">
                <a:solidFill>
                  <a:srgbClr val="00B050"/>
                </a:solidFill>
              </a:rPr>
              <a:t>ePK.SR.ECKA</a:t>
            </a:r>
            <a:r>
              <a:rPr lang="pl-PL" sz="1000" dirty="0" smtClean="0">
                <a:solidFill>
                  <a:srgbClr val="00B050"/>
                </a:solidFill>
              </a:rPr>
              <a:t>, </a:t>
            </a:r>
            <a:r>
              <a:rPr lang="pl-PL" sz="1000" dirty="0" err="1" smtClean="0">
                <a:solidFill>
                  <a:srgbClr val="00B050"/>
                </a:solidFill>
              </a:rPr>
              <a:t>Signature</a:t>
            </a:r>
            <a:r>
              <a:rPr lang="pl-PL" sz="1000" dirty="0" smtClean="0">
                <a:solidFill>
                  <a:srgbClr val="00B050"/>
                </a:solidFill>
              </a:rPr>
              <a:t>)</a:t>
            </a:r>
            <a:endParaRPr lang="pl-PL" sz="1000" dirty="0">
              <a:solidFill>
                <a:srgbClr val="00B050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2254114" y="4114517"/>
            <a:ext cx="15167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chemeClr val="tx2"/>
                </a:solidFill>
              </a:rPr>
              <a:t>ePK.SR.ECKA</a:t>
            </a:r>
            <a:r>
              <a:rPr lang="pl-PL" sz="800" dirty="0" smtClean="0">
                <a:solidFill>
                  <a:schemeClr val="tx2"/>
                </a:solidFill>
              </a:rPr>
              <a:t>, </a:t>
            </a:r>
            <a:r>
              <a:rPr lang="pl-PL" sz="800" dirty="0" err="1" smtClean="0">
                <a:solidFill>
                  <a:schemeClr val="tx2"/>
                </a:solidFill>
              </a:rPr>
              <a:t>Signature</a:t>
            </a:r>
            <a:endParaRPr lang="pl-PL" sz="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341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117"/>
          <p:cNvSpPr/>
          <p:nvPr/>
        </p:nvSpPr>
        <p:spPr>
          <a:xfrm>
            <a:off x="5068799" y="900812"/>
            <a:ext cx="2612890" cy="916901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18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07715" y="2510276"/>
            <a:ext cx="87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PK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ePK.SR.ECKA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Shared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Secret</a:t>
            </a:r>
            <a:endParaRPr lang="pl-PL" sz="800" dirty="0">
              <a:solidFill>
                <a:schemeClr val="tx2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170186" y="1174814"/>
            <a:ext cx="600075" cy="403226"/>
            <a:chOff x="4469146" y="1244924"/>
            <a:chExt cx="600075" cy="403226"/>
          </a:xfrm>
        </p:grpSpPr>
        <p:sp>
          <p:nvSpPr>
            <p:cNvPr id="61" name="Freeform 257"/>
            <p:cNvSpPr>
              <a:spLocks/>
            </p:cNvSpPr>
            <p:nvPr/>
          </p:nvSpPr>
          <p:spPr bwMode="auto">
            <a:xfrm>
              <a:off x="4618371" y="1244924"/>
              <a:ext cx="303213" cy="233363"/>
            </a:xfrm>
            <a:custGeom>
              <a:avLst/>
              <a:gdLst>
                <a:gd name="T0" fmla="*/ 191 w 191"/>
                <a:gd name="T1" fmla="*/ 147 h 147"/>
                <a:gd name="T2" fmla="*/ 186 w 191"/>
                <a:gd name="T3" fmla="*/ 147 h 147"/>
                <a:gd name="T4" fmla="*/ 186 w 191"/>
                <a:gd name="T5" fmla="*/ 45 h 147"/>
                <a:gd name="T6" fmla="*/ 95 w 191"/>
                <a:gd name="T7" fmla="*/ 5 h 147"/>
                <a:gd name="T8" fmla="*/ 5 w 191"/>
                <a:gd name="T9" fmla="*/ 45 h 147"/>
                <a:gd name="T10" fmla="*/ 5 w 191"/>
                <a:gd name="T11" fmla="*/ 147 h 147"/>
                <a:gd name="T12" fmla="*/ 0 w 191"/>
                <a:gd name="T13" fmla="*/ 147 h 147"/>
                <a:gd name="T14" fmla="*/ 0 w 191"/>
                <a:gd name="T15" fmla="*/ 43 h 147"/>
                <a:gd name="T16" fmla="*/ 95 w 191"/>
                <a:gd name="T17" fmla="*/ 0 h 147"/>
                <a:gd name="T18" fmla="*/ 191 w 191"/>
                <a:gd name="T19" fmla="*/ 43 h 147"/>
                <a:gd name="T20" fmla="*/ 191 w 191"/>
                <a:gd name="T21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" h="147">
                  <a:moveTo>
                    <a:pt x="191" y="147"/>
                  </a:moveTo>
                  <a:lnTo>
                    <a:pt x="186" y="147"/>
                  </a:lnTo>
                  <a:lnTo>
                    <a:pt x="186" y="45"/>
                  </a:lnTo>
                  <a:lnTo>
                    <a:pt x="95" y="5"/>
                  </a:lnTo>
                  <a:lnTo>
                    <a:pt x="5" y="45"/>
                  </a:lnTo>
                  <a:lnTo>
                    <a:pt x="5" y="147"/>
                  </a:lnTo>
                  <a:lnTo>
                    <a:pt x="0" y="147"/>
                  </a:lnTo>
                  <a:lnTo>
                    <a:pt x="0" y="43"/>
                  </a:lnTo>
                  <a:lnTo>
                    <a:pt x="95" y="0"/>
                  </a:lnTo>
                  <a:lnTo>
                    <a:pt x="191" y="43"/>
                  </a:lnTo>
                  <a:lnTo>
                    <a:pt x="191" y="147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8"/>
            <p:cNvSpPr>
              <a:spLocks/>
            </p:cNvSpPr>
            <p:nvPr/>
          </p:nvSpPr>
          <p:spPr bwMode="auto">
            <a:xfrm>
              <a:off x="4618371" y="1478287"/>
              <a:ext cx="303213" cy="169863"/>
            </a:xfrm>
            <a:custGeom>
              <a:avLst/>
              <a:gdLst>
                <a:gd name="T0" fmla="*/ 74 w 148"/>
                <a:gd name="T1" fmla="*/ 83 h 83"/>
                <a:gd name="T2" fmla="*/ 73 w 148"/>
                <a:gd name="T3" fmla="*/ 82 h 83"/>
                <a:gd name="T4" fmla="*/ 5 w 148"/>
                <a:gd name="T5" fmla="*/ 21 h 83"/>
                <a:gd name="T6" fmla="*/ 0 w 148"/>
                <a:gd name="T7" fmla="*/ 0 h 83"/>
                <a:gd name="T8" fmla="*/ 4 w 148"/>
                <a:gd name="T9" fmla="*/ 0 h 83"/>
                <a:gd name="T10" fmla="*/ 9 w 148"/>
                <a:gd name="T11" fmla="*/ 19 h 83"/>
                <a:gd name="T12" fmla="*/ 74 w 148"/>
                <a:gd name="T13" fmla="*/ 77 h 83"/>
                <a:gd name="T14" fmla="*/ 139 w 148"/>
                <a:gd name="T15" fmla="*/ 19 h 83"/>
                <a:gd name="T16" fmla="*/ 144 w 148"/>
                <a:gd name="T17" fmla="*/ 0 h 83"/>
                <a:gd name="T18" fmla="*/ 148 w 148"/>
                <a:gd name="T19" fmla="*/ 0 h 83"/>
                <a:gd name="T20" fmla="*/ 143 w 148"/>
                <a:gd name="T21" fmla="*/ 21 h 83"/>
                <a:gd name="T22" fmla="*/ 75 w 148"/>
                <a:gd name="T23" fmla="*/ 82 h 83"/>
                <a:gd name="T24" fmla="*/ 74 w 148"/>
                <a:gd name="T2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83">
                  <a:moveTo>
                    <a:pt x="74" y="83"/>
                  </a:moveTo>
                  <a:cubicBezTo>
                    <a:pt x="73" y="82"/>
                    <a:pt x="73" y="82"/>
                    <a:pt x="73" y="82"/>
                  </a:cubicBezTo>
                  <a:cubicBezTo>
                    <a:pt x="70" y="80"/>
                    <a:pt x="12" y="35"/>
                    <a:pt x="5" y="21"/>
                  </a:cubicBezTo>
                  <a:cubicBezTo>
                    <a:pt x="2" y="14"/>
                    <a:pt x="0" y="7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6" y="13"/>
                    <a:pt x="9" y="19"/>
                  </a:cubicBezTo>
                  <a:cubicBezTo>
                    <a:pt x="15" y="32"/>
                    <a:pt x="65" y="71"/>
                    <a:pt x="74" y="77"/>
                  </a:cubicBezTo>
                  <a:cubicBezTo>
                    <a:pt x="83" y="71"/>
                    <a:pt x="133" y="32"/>
                    <a:pt x="139" y="19"/>
                  </a:cubicBezTo>
                  <a:cubicBezTo>
                    <a:pt x="142" y="13"/>
                    <a:pt x="144" y="7"/>
                    <a:pt x="144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7"/>
                    <a:pt x="146" y="14"/>
                    <a:pt x="143" y="21"/>
                  </a:cubicBezTo>
                  <a:cubicBezTo>
                    <a:pt x="136" y="35"/>
                    <a:pt x="78" y="80"/>
                    <a:pt x="75" y="82"/>
                  </a:cubicBezTo>
                  <a:lnTo>
                    <a:pt x="74" y="83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9"/>
            <p:cNvSpPr>
              <a:spLocks/>
            </p:cNvSpPr>
            <p:nvPr/>
          </p:nvSpPr>
          <p:spPr bwMode="auto">
            <a:xfrm>
              <a:off x="4469146" y="1244924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0"/>
            <p:cNvSpPr>
              <a:spLocks noEditPoints="1"/>
            </p:cNvSpPr>
            <p:nvPr/>
          </p:nvSpPr>
          <p:spPr bwMode="auto">
            <a:xfrm>
              <a:off x="4519946" y="1244924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1"/>
            <p:cNvSpPr>
              <a:spLocks/>
            </p:cNvSpPr>
            <p:nvPr/>
          </p:nvSpPr>
          <p:spPr bwMode="auto">
            <a:xfrm>
              <a:off x="4469146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62"/>
            <p:cNvSpPr>
              <a:spLocks/>
            </p:cNvSpPr>
            <p:nvPr/>
          </p:nvSpPr>
          <p:spPr bwMode="auto">
            <a:xfrm>
              <a:off x="4604084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63"/>
            <p:cNvSpPr>
              <a:spLocks noEditPoints="1"/>
            </p:cNvSpPr>
            <p:nvPr/>
          </p:nvSpPr>
          <p:spPr bwMode="auto">
            <a:xfrm>
              <a:off x="4519946" y="1540199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64"/>
            <p:cNvSpPr>
              <a:spLocks/>
            </p:cNvSpPr>
            <p:nvPr/>
          </p:nvSpPr>
          <p:spPr bwMode="auto">
            <a:xfrm>
              <a:off x="4567571" y="1392562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65"/>
            <p:cNvSpPr>
              <a:spLocks noEditPoints="1"/>
            </p:cNvSpPr>
            <p:nvPr/>
          </p:nvSpPr>
          <p:spPr bwMode="auto">
            <a:xfrm>
              <a:off x="4470734" y="1392562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66"/>
            <p:cNvSpPr>
              <a:spLocks/>
            </p:cNvSpPr>
            <p:nvPr/>
          </p:nvSpPr>
          <p:spPr bwMode="auto">
            <a:xfrm>
              <a:off x="4935871" y="1244924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67"/>
            <p:cNvSpPr>
              <a:spLocks noEditPoints="1"/>
            </p:cNvSpPr>
            <p:nvPr/>
          </p:nvSpPr>
          <p:spPr bwMode="auto">
            <a:xfrm>
              <a:off x="4986671" y="1244924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68"/>
            <p:cNvSpPr>
              <a:spLocks/>
            </p:cNvSpPr>
            <p:nvPr/>
          </p:nvSpPr>
          <p:spPr bwMode="auto">
            <a:xfrm>
              <a:off x="4935871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269"/>
            <p:cNvSpPr>
              <a:spLocks/>
            </p:cNvSpPr>
            <p:nvPr/>
          </p:nvSpPr>
          <p:spPr bwMode="auto">
            <a:xfrm>
              <a:off x="4886659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70"/>
            <p:cNvSpPr>
              <a:spLocks noEditPoints="1"/>
            </p:cNvSpPr>
            <p:nvPr/>
          </p:nvSpPr>
          <p:spPr bwMode="auto">
            <a:xfrm>
              <a:off x="4986671" y="1540199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71"/>
            <p:cNvSpPr>
              <a:spLocks/>
            </p:cNvSpPr>
            <p:nvPr/>
          </p:nvSpPr>
          <p:spPr bwMode="auto">
            <a:xfrm>
              <a:off x="5034296" y="1392562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72"/>
            <p:cNvSpPr>
              <a:spLocks noEditPoints="1"/>
            </p:cNvSpPr>
            <p:nvPr/>
          </p:nvSpPr>
          <p:spPr bwMode="auto">
            <a:xfrm>
              <a:off x="4937459" y="1392562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273"/>
            <p:cNvSpPr>
              <a:spLocks noEditPoints="1"/>
            </p:cNvSpPr>
            <p:nvPr/>
          </p:nvSpPr>
          <p:spPr bwMode="auto">
            <a:xfrm>
              <a:off x="4696159" y="1427487"/>
              <a:ext cx="147638" cy="115888"/>
            </a:xfrm>
            <a:custGeom>
              <a:avLst/>
              <a:gdLst>
                <a:gd name="T0" fmla="*/ 67 w 72"/>
                <a:gd name="T1" fmla="*/ 4 h 57"/>
                <a:gd name="T2" fmla="*/ 68 w 72"/>
                <a:gd name="T3" fmla="*/ 5 h 57"/>
                <a:gd name="T4" fmla="*/ 68 w 72"/>
                <a:gd name="T5" fmla="*/ 21 h 57"/>
                <a:gd name="T6" fmla="*/ 36 w 72"/>
                <a:gd name="T7" fmla="*/ 53 h 57"/>
                <a:gd name="T8" fmla="*/ 4 w 72"/>
                <a:gd name="T9" fmla="*/ 21 h 57"/>
                <a:gd name="T10" fmla="*/ 4 w 72"/>
                <a:gd name="T11" fmla="*/ 16 h 57"/>
                <a:gd name="T12" fmla="*/ 4 w 72"/>
                <a:gd name="T13" fmla="*/ 5 h 57"/>
                <a:gd name="T14" fmla="*/ 5 w 72"/>
                <a:gd name="T15" fmla="*/ 4 h 57"/>
                <a:gd name="T16" fmla="*/ 51 w 72"/>
                <a:gd name="T17" fmla="*/ 4 h 57"/>
                <a:gd name="T18" fmla="*/ 67 w 72"/>
                <a:gd name="T19" fmla="*/ 4 h 57"/>
                <a:gd name="T20" fmla="*/ 67 w 72"/>
                <a:gd name="T21" fmla="*/ 0 h 57"/>
                <a:gd name="T22" fmla="*/ 51 w 72"/>
                <a:gd name="T23" fmla="*/ 0 h 57"/>
                <a:gd name="T24" fmla="*/ 5 w 72"/>
                <a:gd name="T25" fmla="*/ 0 h 57"/>
                <a:gd name="T26" fmla="*/ 0 w 72"/>
                <a:gd name="T27" fmla="*/ 5 h 57"/>
                <a:gd name="T28" fmla="*/ 0 w 72"/>
                <a:gd name="T29" fmla="*/ 16 h 57"/>
                <a:gd name="T30" fmla="*/ 0 w 72"/>
                <a:gd name="T31" fmla="*/ 21 h 57"/>
                <a:gd name="T32" fmla="*/ 36 w 72"/>
                <a:gd name="T33" fmla="*/ 57 h 57"/>
                <a:gd name="T34" fmla="*/ 72 w 72"/>
                <a:gd name="T35" fmla="*/ 21 h 57"/>
                <a:gd name="T36" fmla="*/ 72 w 72"/>
                <a:gd name="T37" fmla="*/ 5 h 57"/>
                <a:gd name="T38" fmla="*/ 67 w 72"/>
                <a:gd name="T3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57">
                  <a:moveTo>
                    <a:pt x="67" y="4"/>
                  </a:moveTo>
                  <a:cubicBezTo>
                    <a:pt x="67" y="4"/>
                    <a:pt x="68" y="4"/>
                    <a:pt x="68" y="5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8" y="39"/>
                    <a:pt x="54" y="53"/>
                    <a:pt x="36" y="53"/>
                  </a:cubicBezTo>
                  <a:cubicBezTo>
                    <a:pt x="18" y="53"/>
                    <a:pt x="4" y="39"/>
                    <a:pt x="4" y="2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67" y="4"/>
                    <a:pt x="67" y="4"/>
                    <a:pt x="67" y="4"/>
                  </a:cubicBezTo>
                  <a:moveTo>
                    <a:pt x="67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41"/>
                    <a:pt x="16" y="57"/>
                    <a:pt x="36" y="57"/>
                  </a:cubicBezTo>
                  <a:cubicBezTo>
                    <a:pt x="56" y="57"/>
                    <a:pt x="72" y="41"/>
                    <a:pt x="72" y="21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274"/>
            <p:cNvSpPr>
              <a:spLocks/>
            </p:cNvSpPr>
            <p:nvPr/>
          </p:nvSpPr>
          <p:spPr bwMode="auto">
            <a:xfrm>
              <a:off x="4715209" y="1341762"/>
              <a:ext cx="109538" cy="92075"/>
            </a:xfrm>
            <a:custGeom>
              <a:avLst/>
              <a:gdLst>
                <a:gd name="T0" fmla="*/ 54 w 54"/>
                <a:gd name="T1" fmla="*/ 45 h 45"/>
                <a:gd name="T2" fmla="*/ 50 w 54"/>
                <a:gd name="T3" fmla="*/ 45 h 45"/>
                <a:gd name="T4" fmla="*/ 50 w 54"/>
                <a:gd name="T5" fmla="*/ 27 h 45"/>
                <a:gd name="T6" fmla="*/ 27 w 54"/>
                <a:gd name="T7" fmla="*/ 4 h 45"/>
                <a:gd name="T8" fmla="*/ 4 w 54"/>
                <a:gd name="T9" fmla="*/ 27 h 45"/>
                <a:gd name="T10" fmla="*/ 4 w 54"/>
                <a:gd name="T11" fmla="*/ 45 h 45"/>
                <a:gd name="T12" fmla="*/ 0 w 54"/>
                <a:gd name="T13" fmla="*/ 45 h 45"/>
                <a:gd name="T14" fmla="*/ 0 w 54"/>
                <a:gd name="T15" fmla="*/ 27 h 45"/>
                <a:gd name="T16" fmla="*/ 27 w 54"/>
                <a:gd name="T17" fmla="*/ 0 h 45"/>
                <a:gd name="T18" fmla="*/ 54 w 54"/>
                <a:gd name="T19" fmla="*/ 27 h 45"/>
                <a:gd name="T20" fmla="*/ 54 w 54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45">
                  <a:moveTo>
                    <a:pt x="54" y="45"/>
                  </a:moveTo>
                  <a:cubicBezTo>
                    <a:pt x="50" y="45"/>
                    <a:pt x="50" y="45"/>
                    <a:pt x="50" y="45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14"/>
                    <a:pt x="40" y="4"/>
                    <a:pt x="27" y="4"/>
                  </a:cubicBezTo>
                  <a:cubicBezTo>
                    <a:pt x="14" y="4"/>
                    <a:pt x="4" y="14"/>
                    <a:pt x="4" y="27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lnTo>
                    <a:pt x="54" y="45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275"/>
            <p:cNvSpPr>
              <a:spLocks noEditPoints="1"/>
            </p:cNvSpPr>
            <p:nvPr/>
          </p:nvSpPr>
          <p:spPr bwMode="auto">
            <a:xfrm>
              <a:off x="4745371" y="1457649"/>
              <a:ext cx="49213" cy="49213"/>
            </a:xfrm>
            <a:custGeom>
              <a:avLst/>
              <a:gdLst>
                <a:gd name="T0" fmla="*/ 12 w 24"/>
                <a:gd name="T1" fmla="*/ 4 h 24"/>
                <a:gd name="T2" fmla="*/ 20 w 24"/>
                <a:gd name="T3" fmla="*/ 12 h 24"/>
                <a:gd name="T4" fmla="*/ 12 w 24"/>
                <a:gd name="T5" fmla="*/ 20 h 24"/>
                <a:gd name="T6" fmla="*/ 4 w 24"/>
                <a:gd name="T7" fmla="*/ 12 h 24"/>
                <a:gd name="T8" fmla="*/ 12 w 24"/>
                <a:gd name="T9" fmla="*/ 4 h 24"/>
                <a:gd name="T10" fmla="*/ 12 w 24"/>
                <a:gd name="T11" fmla="*/ 0 h 24"/>
                <a:gd name="T12" fmla="*/ 0 w 24"/>
                <a:gd name="T13" fmla="*/ 12 h 24"/>
                <a:gd name="T14" fmla="*/ 12 w 24"/>
                <a:gd name="T15" fmla="*/ 24 h 24"/>
                <a:gd name="T16" fmla="*/ 24 w 24"/>
                <a:gd name="T17" fmla="*/ 12 h 24"/>
                <a:gd name="T18" fmla="*/ 12 w 24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4"/>
                  </a:moveTo>
                  <a:cubicBezTo>
                    <a:pt x="16" y="4"/>
                    <a:pt x="20" y="8"/>
                    <a:pt x="20" y="12"/>
                  </a:cubicBez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4" y="16"/>
                    <a:pt x="4" y="12"/>
                  </a:cubicBezTo>
                  <a:cubicBezTo>
                    <a:pt x="4" y="8"/>
                    <a:pt x="8" y="4"/>
                    <a:pt x="12" y="4"/>
                  </a:cubicBezTo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9" y="24"/>
                    <a:pt x="24" y="19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9" name="TextBox 118"/>
          <p:cNvSpPr txBox="1"/>
          <p:nvPr/>
        </p:nvSpPr>
        <p:spPr>
          <a:xfrm>
            <a:off x="5930235" y="945296"/>
            <a:ext cx="19216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eSK.SR.ECKA</a:t>
            </a:r>
            <a:r>
              <a:rPr lang="pl-PL" sz="800" dirty="0" smtClean="0">
                <a:solidFill>
                  <a:srgbClr val="00B050"/>
                </a:solidFill>
              </a:rPr>
              <a:t> -&gt; </a:t>
            </a:r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326067" y="1974948"/>
            <a:ext cx="14198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Signature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 smtClean="0">
              <a:solidFill>
                <a:srgbClr val="00B050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2254114" y="4114517"/>
            <a:ext cx="15167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chemeClr val="tx2"/>
                </a:solidFill>
              </a:rPr>
              <a:t>ePK.SR.ECKA</a:t>
            </a:r>
            <a:r>
              <a:rPr lang="pl-PL" sz="800" dirty="0" smtClean="0">
                <a:solidFill>
                  <a:schemeClr val="tx2"/>
                </a:solidFill>
              </a:rPr>
              <a:t>, </a:t>
            </a:r>
            <a:r>
              <a:rPr lang="pl-PL" sz="800" dirty="0" err="1" smtClean="0">
                <a:solidFill>
                  <a:schemeClr val="tx2"/>
                </a:solidFill>
              </a:rPr>
              <a:t>Signature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Receipt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Derivation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endParaRPr lang="pl-PL" sz="800" dirty="0">
              <a:solidFill>
                <a:schemeClr val="tx2"/>
              </a:solidFill>
            </a:endParaRPr>
          </a:p>
        </p:txBody>
      </p:sp>
      <p:cxnSp>
        <p:nvCxnSpPr>
          <p:cNvPr id="113" name="Elbow Connector 112"/>
          <p:cNvCxnSpPr/>
          <p:nvPr/>
        </p:nvCxnSpPr>
        <p:spPr>
          <a:xfrm flipV="1">
            <a:off x="3787077" y="3116661"/>
            <a:ext cx="1739783" cy="103336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5052965" y="2694941"/>
            <a:ext cx="18653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chemeClr val="tx2"/>
                </a:solidFill>
              </a:rPr>
              <a:t>EstablishISDRKeySet</a:t>
            </a:r>
            <a:endParaRPr lang="pl-PL" sz="1000" dirty="0" smtClean="0">
              <a:solidFill>
                <a:schemeClr val="tx2"/>
              </a:solidFill>
            </a:endParaRPr>
          </a:p>
          <a:p>
            <a:r>
              <a:rPr lang="pl-PL" sz="1000" dirty="0" smtClean="0">
                <a:solidFill>
                  <a:schemeClr val="tx2"/>
                </a:solidFill>
              </a:rPr>
              <a:t>(</a:t>
            </a:r>
            <a:r>
              <a:rPr lang="pl-PL" sz="1000" dirty="0" err="1" smtClean="0">
                <a:solidFill>
                  <a:schemeClr val="tx2"/>
                </a:solidFill>
              </a:rPr>
              <a:t>ePK.SR.ECKA</a:t>
            </a:r>
            <a:r>
              <a:rPr lang="pl-PL" sz="1000" dirty="0" smtClean="0">
                <a:solidFill>
                  <a:schemeClr val="tx2"/>
                </a:solidFill>
              </a:rPr>
              <a:t>, </a:t>
            </a:r>
            <a:r>
              <a:rPr lang="pl-PL" sz="1000" dirty="0" err="1" smtClean="0">
                <a:solidFill>
                  <a:schemeClr val="tx2"/>
                </a:solidFill>
              </a:rPr>
              <a:t>Signature</a:t>
            </a:r>
            <a:r>
              <a:rPr lang="pl-PL" sz="1000" dirty="0" smtClean="0">
                <a:solidFill>
                  <a:schemeClr val="tx2"/>
                </a:solidFill>
              </a:rPr>
              <a:t>)</a:t>
            </a:r>
          </a:p>
        </p:txBody>
      </p:sp>
      <p:grpSp>
        <p:nvGrpSpPr>
          <p:cNvPr id="116" name="Group 115"/>
          <p:cNvGrpSpPr/>
          <p:nvPr/>
        </p:nvGrpSpPr>
        <p:grpSpPr>
          <a:xfrm>
            <a:off x="5642328" y="3106576"/>
            <a:ext cx="318765" cy="320456"/>
            <a:chOff x="5805488" y="1651001"/>
            <a:chExt cx="598488" cy="601663"/>
          </a:xfrm>
          <a:solidFill>
            <a:schemeClr val="tx2"/>
          </a:solidFill>
        </p:grpSpPr>
        <p:sp>
          <p:nvSpPr>
            <p:cNvPr id="117" name="Freeform 258"/>
            <p:cNvSpPr>
              <a:spLocks/>
            </p:cNvSpPr>
            <p:nvPr/>
          </p:nvSpPr>
          <p:spPr bwMode="auto">
            <a:xfrm>
              <a:off x="5856288" y="2074864"/>
              <a:ext cx="127000" cy="127000"/>
            </a:xfrm>
            <a:custGeom>
              <a:avLst/>
              <a:gdLst>
                <a:gd name="T0" fmla="*/ 62 w 62"/>
                <a:gd name="T1" fmla="*/ 62 h 62"/>
                <a:gd name="T2" fmla="*/ 0 w 62"/>
                <a:gd name="T3" fmla="*/ 0 h 62"/>
                <a:gd name="T4" fmla="*/ 4 w 62"/>
                <a:gd name="T5" fmla="*/ 0 h 62"/>
                <a:gd name="T6" fmla="*/ 62 w 62"/>
                <a:gd name="T7" fmla="*/ 58 h 62"/>
                <a:gd name="T8" fmla="*/ 62 w 62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2">
                  <a:moveTo>
                    <a:pt x="62" y="62"/>
                  </a:moveTo>
                  <a:cubicBezTo>
                    <a:pt x="27" y="62"/>
                    <a:pt x="0" y="34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2"/>
                    <a:pt x="30" y="58"/>
                    <a:pt x="62" y="58"/>
                  </a:cubicBezTo>
                  <a:lnTo>
                    <a:pt x="62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59"/>
            <p:cNvSpPr>
              <a:spLocks/>
            </p:cNvSpPr>
            <p:nvPr/>
          </p:nvSpPr>
          <p:spPr bwMode="auto">
            <a:xfrm>
              <a:off x="5880101" y="2074864"/>
              <a:ext cx="103188" cy="103188"/>
            </a:xfrm>
            <a:custGeom>
              <a:avLst/>
              <a:gdLst>
                <a:gd name="T0" fmla="*/ 50 w 50"/>
                <a:gd name="T1" fmla="*/ 50 h 50"/>
                <a:gd name="T2" fmla="*/ 0 w 50"/>
                <a:gd name="T3" fmla="*/ 0 h 50"/>
                <a:gd name="T4" fmla="*/ 4 w 50"/>
                <a:gd name="T5" fmla="*/ 0 h 50"/>
                <a:gd name="T6" fmla="*/ 50 w 50"/>
                <a:gd name="T7" fmla="*/ 46 h 50"/>
                <a:gd name="T8" fmla="*/ 50 w 50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50" y="50"/>
                  </a:moveTo>
                  <a:cubicBezTo>
                    <a:pt x="22" y="50"/>
                    <a:pt x="0" y="28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5"/>
                    <a:pt x="24" y="46"/>
                    <a:pt x="50" y="46"/>
                  </a:cubicBezTo>
                  <a:lnTo>
                    <a:pt x="5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60"/>
            <p:cNvSpPr>
              <a:spLocks/>
            </p:cNvSpPr>
            <p:nvPr/>
          </p:nvSpPr>
          <p:spPr bwMode="auto">
            <a:xfrm>
              <a:off x="5905501" y="2074864"/>
              <a:ext cx="77788" cy="7778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0 h 38"/>
                <a:gd name="T4" fmla="*/ 4 w 38"/>
                <a:gd name="T5" fmla="*/ 0 h 38"/>
                <a:gd name="T6" fmla="*/ 38 w 38"/>
                <a:gd name="T7" fmla="*/ 34 h 38"/>
                <a:gd name="T8" fmla="*/ 38 w 38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cubicBezTo>
                    <a:pt x="17" y="38"/>
                    <a:pt x="0" y="21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9"/>
                    <a:pt x="19" y="34"/>
                    <a:pt x="38" y="34"/>
                  </a:cubicBez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61"/>
            <p:cNvSpPr>
              <a:spLocks/>
            </p:cNvSpPr>
            <p:nvPr/>
          </p:nvSpPr>
          <p:spPr bwMode="auto">
            <a:xfrm>
              <a:off x="5929313" y="2074864"/>
              <a:ext cx="53975" cy="53975"/>
            </a:xfrm>
            <a:custGeom>
              <a:avLst/>
              <a:gdLst>
                <a:gd name="T0" fmla="*/ 26 w 26"/>
                <a:gd name="T1" fmla="*/ 26 h 26"/>
                <a:gd name="T2" fmla="*/ 0 w 26"/>
                <a:gd name="T3" fmla="*/ 0 h 26"/>
                <a:gd name="T4" fmla="*/ 4 w 26"/>
                <a:gd name="T5" fmla="*/ 0 h 26"/>
                <a:gd name="T6" fmla="*/ 26 w 26"/>
                <a:gd name="T7" fmla="*/ 22 h 26"/>
                <a:gd name="T8" fmla="*/ 26 w 26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">
                  <a:moveTo>
                    <a:pt x="26" y="26"/>
                  </a:moveTo>
                  <a:cubicBezTo>
                    <a:pt x="11" y="26"/>
                    <a:pt x="0" y="14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2"/>
                    <a:pt x="13" y="22"/>
                    <a:pt x="26" y="22"/>
                  </a:cubicBezTo>
                  <a:lnTo>
                    <a:pt x="2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62"/>
            <p:cNvSpPr>
              <a:spLocks noEditPoints="1"/>
            </p:cNvSpPr>
            <p:nvPr/>
          </p:nvSpPr>
          <p:spPr bwMode="auto">
            <a:xfrm>
              <a:off x="5805488" y="1651001"/>
              <a:ext cx="304800" cy="307975"/>
            </a:xfrm>
            <a:custGeom>
              <a:avLst/>
              <a:gdLst>
                <a:gd name="T0" fmla="*/ 127 w 192"/>
                <a:gd name="T1" fmla="*/ 194 h 194"/>
                <a:gd name="T2" fmla="*/ 0 w 192"/>
                <a:gd name="T3" fmla="*/ 66 h 194"/>
                <a:gd name="T4" fmla="*/ 65 w 192"/>
                <a:gd name="T5" fmla="*/ 0 h 194"/>
                <a:gd name="T6" fmla="*/ 192 w 192"/>
                <a:gd name="T7" fmla="*/ 128 h 194"/>
                <a:gd name="T8" fmla="*/ 127 w 192"/>
                <a:gd name="T9" fmla="*/ 194 h 194"/>
                <a:gd name="T10" fmla="*/ 6 w 192"/>
                <a:gd name="T11" fmla="*/ 66 h 194"/>
                <a:gd name="T12" fmla="*/ 127 w 192"/>
                <a:gd name="T13" fmla="*/ 186 h 194"/>
                <a:gd name="T14" fmla="*/ 185 w 192"/>
                <a:gd name="T15" fmla="*/ 128 h 194"/>
                <a:gd name="T16" fmla="*/ 65 w 192"/>
                <a:gd name="T17" fmla="*/ 8 h 194"/>
                <a:gd name="T18" fmla="*/ 6 w 192"/>
                <a:gd name="T19" fmla="*/ 66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4">
                  <a:moveTo>
                    <a:pt x="127" y="194"/>
                  </a:moveTo>
                  <a:lnTo>
                    <a:pt x="0" y="66"/>
                  </a:lnTo>
                  <a:lnTo>
                    <a:pt x="65" y="0"/>
                  </a:lnTo>
                  <a:lnTo>
                    <a:pt x="192" y="128"/>
                  </a:lnTo>
                  <a:lnTo>
                    <a:pt x="127" y="194"/>
                  </a:lnTo>
                  <a:close/>
                  <a:moveTo>
                    <a:pt x="6" y="66"/>
                  </a:moveTo>
                  <a:lnTo>
                    <a:pt x="127" y="186"/>
                  </a:lnTo>
                  <a:lnTo>
                    <a:pt x="185" y="128"/>
                  </a:lnTo>
                  <a:lnTo>
                    <a:pt x="65" y="8"/>
                  </a:lnTo>
                  <a:lnTo>
                    <a:pt x="6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63"/>
            <p:cNvSpPr>
              <a:spLocks noEditPoints="1"/>
            </p:cNvSpPr>
            <p:nvPr/>
          </p:nvSpPr>
          <p:spPr bwMode="auto">
            <a:xfrm>
              <a:off x="6099176" y="1946276"/>
              <a:ext cx="304800" cy="306388"/>
            </a:xfrm>
            <a:custGeom>
              <a:avLst/>
              <a:gdLst>
                <a:gd name="T0" fmla="*/ 128 w 192"/>
                <a:gd name="T1" fmla="*/ 193 h 193"/>
                <a:gd name="T2" fmla="*/ 0 w 192"/>
                <a:gd name="T3" fmla="*/ 66 h 193"/>
                <a:gd name="T4" fmla="*/ 66 w 192"/>
                <a:gd name="T5" fmla="*/ 0 h 193"/>
                <a:gd name="T6" fmla="*/ 192 w 192"/>
                <a:gd name="T7" fmla="*/ 128 h 193"/>
                <a:gd name="T8" fmla="*/ 128 w 192"/>
                <a:gd name="T9" fmla="*/ 193 h 193"/>
                <a:gd name="T10" fmla="*/ 7 w 192"/>
                <a:gd name="T11" fmla="*/ 66 h 193"/>
                <a:gd name="T12" fmla="*/ 128 w 192"/>
                <a:gd name="T13" fmla="*/ 186 h 193"/>
                <a:gd name="T14" fmla="*/ 186 w 192"/>
                <a:gd name="T15" fmla="*/ 128 h 193"/>
                <a:gd name="T16" fmla="*/ 66 w 192"/>
                <a:gd name="T17" fmla="*/ 8 h 193"/>
                <a:gd name="T18" fmla="*/ 7 w 192"/>
                <a:gd name="T19" fmla="*/ 66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3">
                  <a:moveTo>
                    <a:pt x="128" y="193"/>
                  </a:moveTo>
                  <a:lnTo>
                    <a:pt x="0" y="66"/>
                  </a:lnTo>
                  <a:lnTo>
                    <a:pt x="66" y="0"/>
                  </a:lnTo>
                  <a:lnTo>
                    <a:pt x="192" y="128"/>
                  </a:lnTo>
                  <a:lnTo>
                    <a:pt x="128" y="193"/>
                  </a:lnTo>
                  <a:close/>
                  <a:moveTo>
                    <a:pt x="7" y="66"/>
                  </a:moveTo>
                  <a:lnTo>
                    <a:pt x="128" y="186"/>
                  </a:lnTo>
                  <a:lnTo>
                    <a:pt x="186" y="128"/>
                  </a:lnTo>
                  <a:lnTo>
                    <a:pt x="66" y="8"/>
                  </a:lnTo>
                  <a:lnTo>
                    <a:pt x="7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64"/>
            <p:cNvSpPr>
              <a:spLocks noEditPoints="1"/>
            </p:cNvSpPr>
            <p:nvPr/>
          </p:nvSpPr>
          <p:spPr bwMode="auto">
            <a:xfrm>
              <a:off x="5951538" y="1798639"/>
              <a:ext cx="306388" cy="307975"/>
            </a:xfrm>
            <a:custGeom>
              <a:avLst/>
              <a:gdLst>
                <a:gd name="T0" fmla="*/ 35 w 193"/>
                <a:gd name="T1" fmla="*/ 194 h 194"/>
                <a:gd name="T2" fmla="*/ 0 w 193"/>
                <a:gd name="T3" fmla="*/ 159 h 194"/>
                <a:gd name="T4" fmla="*/ 159 w 193"/>
                <a:gd name="T5" fmla="*/ 0 h 194"/>
                <a:gd name="T6" fmla="*/ 193 w 193"/>
                <a:gd name="T7" fmla="*/ 35 h 194"/>
                <a:gd name="T8" fmla="*/ 35 w 193"/>
                <a:gd name="T9" fmla="*/ 194 h 194"/>
                <a:gd name="T10" fmla="*/ 7 w 193"/>
                <a:gd name="T11" fmla="*/ 159 h 194"/>
                <a:gd name="T12" fmla="*/ 35 w 193"/>
                <a:gd name="T13" fmla="*/ 186 h 194"/>
                <a:gd name="T14" fmla="*/ 186 w 193"/>
                <a:gd name="T15" fmla="*/ 35 h 194"/>
                <a:gd name="T16" fmla="*/ 159 w 193"/>
                <a:gd name="T17" fmla="*/ 8 h 194"/>
                <a:gd name="T18" fmla="*/ 7 w 193"/>
                <a:gd name="T19" fmla="*/ 15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4">
                  <a:moveTo>
                    <a:pt x="35" y="194"/>
                  </a:moveTo>
                  <a:lnTo>
                    <a:pt x="0" y="159"/>
                  </a:lnTo>
                  <a:lnTo>
                    <a:pt x="159" y="0"/>
                  </a:lnTo>
                  <a:lnTo>
                    <a:pt x="193" y="35"/>
                  </a:lnTo>
                  <a:lnTo>
                    <a:pt x="35" y="194"/>
                  </a:lnTo>
                  <a:close/>
                  <a:moveTo>
                    <a:pt x="7" y="159"/>
                  </a:moveTo>
                  <a:lnTo>
                    <a:pt x="35" y="186"/>
                  </a:lnTo>
                  <a:lnTo>
                    <a:pt x="186" y="35"/>
                  </a:lnTo>
                  <a:lnTo>
                    <a:pt x="159" y="8"/>
                  </a:lnTo>
                  <a:lnTo>
                    <a:pt x="7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65"/>
            <p:cNvSpPr>
              <a:spLocks/>
            </p:cNvSpPr>
            <p:nvPr/>
          </p:nvSpPr>
          <p:spPr bwMode="auto">
            <a:xfrm>
              <a:off x="6053138" y="1901826"/>
              <a:ext cx="30163" cy="28575"/>
            </a:xfrm>
            <a:custGeom>
              <a:avLst/>
              <a:gdLst>
                <a:gd name="T0" fmla="*/ 15 w 19"/>
                <a:gd name="T1" fmla="*/ 18 h 18"/>
                <a:gd name="T2" fmla="*/ 0 w 19"/>
                <a:gd name="T3" fmla="*/ 2 h 18"/>
                <a:gd name="T4" fmla="*/ 3 w 19"/>
                <a:gd name="T5" fmla="*/ 0 h 18"/>
                <a:gd name="T6" fmla="*/ 19 w 19"/>
                <a:gd name="T7" fmla="*/ 15 h 18"/>
                <a:gd name="T8" fmla="*/ 15 w 1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5" y="18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19" y="15"/>
                  </a:lnTo>
                  <a:lnTo>
                    <a:pt x="15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66"/>
            <p:cNvSpPr>
              <a:spLocks/>
            </p:cNvSpPr>
            <p:nvPr/>
          </p:nvSpPr>
          <p:spPr bwMode="auto">
            <a:xfrm>
              <a:off x="6126163" y="1974851"/>
              <a:ext cx="30163" cy="28575"/>
            </a:xfrm>
            <a:custGeom>
              <a:avLst/>
              <a:gdLst>
                <a:gd name="T0" fmla="*/ 16 w 19"/>
                <a:gd name="T1" fmla="*/ 18 h 18"/>
                <a:gd name="T2" fmla="*/ 0 w 19"/>
                <a:gd name="T3" fmla="*/ 3 h 18"/>
                <a:gd name="T4" fmla="*/ 4 w 19"/>
                <a:gd name="T5" fmla="*/ 0 h 18"/>
                <a:gd name="T6" fmla="*/ 19 w 19"/>
                <a:gd name="T7" fmla="*/ 16 h 18"/>
                <a:gd name="T8" fmla="*/ 16 w 1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6" y="18"/>
                  </a:moveTo>
                  <a:lnTo>
                    <a:pt x="0" y="3"/>
                  </a:lnTo>
                  <a:lnTo>
                    <a:pt x="4" y="0"/>
                  </a:lnTo>
                  <a:lnTo>
                    <a:pt x="19" y="16"/>
                  </a:lnTo>
                  <a:lnTo>
                    <a:pt x="1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30" name="Elbow Connector 129"/>
          <p:cNvCxnSpPr>
            <a:stCxn id="114" idx="2"/>
          </p:cNvCxnSpPr>
          <p:nvPr/>
        </p:nvCxnSpPr>
        <p:spPr>
          <a:xfrm rot="16200000" flipH="1">
            <a:off x="6707321" y="2373391"/>
            <a:ext cx="7316" cy="1450636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1" name="Elbow Connector 130"/>
          <p:cNvCxnSpPr/>
          <p:nvPr/>
        </p:nvCxnSpPr>
        <p:spPr>
          <a:xfrm rot="10800000" flipV="1">
            <a:off x="6020477" y="3332333"/>
            <a:ext cx="1415820" cy="2"/>
          </a:xfrm>
          <a:prstGeom prst="bentConnector3">
            <a:avLst>
              <a:gd name="adj1" fmla="val 50000"/>
            </a:avLst>
          </a:prstGeom>
          <a:ln>
            <a:prstDash val="dash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/>
          <p:nvPr/>
        </p:nvCxnSpPr>
        <p:spPr>
          <a:xfrm rot="10800000" flipV="1">
            <a:off x="3770893" y="3332332"/>
            <a:ext cx="1871437" cy="1246092"/>
          </a:xfrm>
          <a:prstGeom prst="bentConnector3">
            <a:avLst>
              <a:gd name="adj1" fmla="val 34434"/>
            </a:avLst>
          </a:prstGeom>
          <a:ln>
            <a:prstDash val="dash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33" name="TextBox 132"/>
          <p:cNvSpPr txBox="1"/>
          <p:nvPr/>
        </p:nvSpPr>
        <p:spPr>
          <a:xfrm>
            <a:off x="5098895" y="3470664"/>
            <a:ext cx="18847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chemeClr val="tx2"/>
                </a:solidFill>
              </a:rPr>
              <a:t>Response</a:t>
            </a:r>
            <a:endParaRPr lang="pl-PL" sz="1000" dirty="0" smtClean="0">
              <a:solidFill>
                <a:schemeClr val="tx2"/>
              </a:solidFill>
            </a:endParaRPr>
          </a:p>
          <a:p>
            <a:r>
              <a:rPr lang="pl-PL" sz="1000" dirty="0" smtClean="0">
                <a:solidFill>
                  <a:schemeClr val="tx2"/>
                </a:solidFill>
              </a:rPr>
              <a:t>(</a:t>
            </a:r>
            <a:r>
              <a:rPr lang="pl-PL" sz="1000" dirty="0" err="1" smtClean="0">
                <a:solidFill>
                  <a:schemeClr val="tx2"/>
                </a:solidFill>
              </a:rPr>
              <a:t>Receipt</a:t>
            </a:r>
            <a:r>
              <a:rPr lang="pl-PL" sz="1000" dirty="0" smtClean="0">
                <a:solidFill>
                  <a:schemeClr val="tx2"/>
                </a:solidFill>
              </a:rPr>
              <a:t>, </a:t>
            </a:r>
            <a:r>
              <a:rPr lang="pl-PL" sz="1000" dirty="0" err="1" smtClean="0">
                <a:solidFill>
                  <a:schemeClr val="tx2"/>
                </a:solidFill>
              </a:rPr>
              <a:t>Derivation</a:t>
            </a:r>
            <a:r>
              <a:rPr lang="pl-PL" sz="1000" dirty="0" smtClean="0">
                <a:solidFill>
                  <a:schemeClr val="tx2"/>
                </a:solidFill>
              </a:rPr>
              <a:t> </a:t>
            </a:r>
            <a:r>
              <a:rPr lang="pl-PL" sz="1000" dirty="0" err="1" smtClean="0">
                <a:solidFill>
                  <a:schemeClr val="tx2"/>
                </a:solidFill>
              </a:rPr>
              <a:t>Random</a:t>
            </a:r>
            <a:r>
              <a:rPr lang="pl-PL" sz="1000" dirty="0" smtClean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7417876" y="3152852"/>
            <a:ext cx="1511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chemeClr val="tx2"/>
                </a:solidFill>
              </a:rPr>
              <a:t>Derivation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Derived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KeySet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Receipt</a:t>
            </a:r>
            <a:endParaRPr lang="pl-PL" sz="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411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117"/>
          <p:cNvSpPr/>
          <p:nvPr/>
        </p:nvSpPr>
        <p:spPr>
          <a:xfrm>
            <a:off x="5068799" y="900812"/>
            <a:ext cx="2612890" cy="916901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19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07715" y="2510276"/>
            <a:ext cx="87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PK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ePK.SR.ECKA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Shared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Secret</a:t>
            </a:r>
            <a:endParaRPr lang="pl-PL" sz="800" dirty="0">
              <a:solidFill>
                <a:schemeClr val="tx2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170186" y="1174814"/>
            <a:ext cx="600075" cy="403226"/>
            <a:chOff x="4469146" y="1244924"/>
            <a:chExt cx="600075" cy="403226"/>
          </a:xfrm>
        </p:grpSpPr>
        <p:sp>
          <p:nvSpPr>
            <p:cNvPr id="61" name="Freeform 257"/>
            <p:cNvSpPr>
              <a:spLocks/>
            </p:cNvSpPr>
            <p:nvPr/>
          </p:nvSpPr>
          <p:spPr bwMode="auto">
            <a:xfrm>
              <a:off x="4618371" y="1244924"/>
              <a:ext cx="303213" cy="233363"/>
            </a:xfrm>
            <a:custGeom>
              <a:avLst/>
              <a:gdLst>
                <a:gd name="T0" fmla="*/ 191 w 191"/>
                <a:gd name="T1" fmla="*/ 147 h 147"/>
                <a:gd name="T2" fmla="*/ 186 w 191"/>
                <a:gd name="T3" fmla="*/ 147 h 147"/>
                <a:gd name="T4" fmla="*/ 186 w 191"/>
                <a:gd name="T5" fmla="*/ 45 h 147"/>
                <a:gd name="T6" fmla="*/ 95 w 191"/>
                <a:gd name="T7" fmla="*/ 5 h 147"/>
                <a:gd name="T8" fmla="*/ 5 w 191"/>
                <a:gd name="T9" fmla="*/ 45 h 147"/>
                <a:gd name="T10" fmla="*/ 5 w 191"/>
                <a:gd name="T11" fmla="*/ 147 h 147"/>
                <a:gd name="T12" fmla="*/ 0 w 191"/>
                <a:gd name="T13" fmla="*/ 147 h 147"/>
                <a:gd name="T14" fmla="*/ 0 w 191"/>
                <a:gd name="T15" fmla="*/ 43 h 147"/>
                <a:gd name="T16" fmla="*/ 95 w 191"/>
                <a:gd name="T17" fmla="*/ 0 h 147"/>
                <a:gd name="T18" fmla="*/ 191 w 191"/>
                <a:gd name="T19" fmla="*/ 43 h 147"/>
                <a:gd name="T20" fmla="*/ 191 w 191"/>
                <a:gd name="T21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" h="147">
                  <a:moveTo>
                    <a:pt x="191" y="147"/>
                  </a:moveTo>
                  <a:lnTo>
                    <a:pt x="186" y="147"/>
                  </a:lnTo>
                  <a:lnTo>
                    <a:pt x="186" y="45"/>
                  </a:lnTo>
                  <a:lnTo>
                    <a:pt x="95" y="5"/>
                  </a:lnTo>
                  <a:lnTo>
                    <a:pt x="5" y="45"/>
                  </a:lnTo>
                  <a:lnTo>
                    <a:pt x="5" y="147"/>
                  </a:lnTo>
                  <a:lnTo>
                    <a:pt x="0" y="147"/>
                  </a:lnTo>
                  <a:lnTo>
                    <a:pt x="0" y="43"/>
                  </a:lnTo>
                  <a:lnTo>
                    <a:pt x="95" y="0"/>
                  </a:lnTo>
                  <a:lnTo>
                    <a:pt x="191" y="43"/>
                  </a:lnTo>
                  <a:lnTo>
                    <a:pt x="191" y="147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8"/>
            <p:cNvSpPr>
              <a:spLocks/>
            </p:cNvSpPr>
            <p:nvPr/>
          </p:nvSpPr>
          <p:spPr bwMode="auto">
            <a:xfrm>
              <a:off x="4618371" y="1478287"/>
              <a:ext cx="303213" cy="169863"/>
            </a:xfrm>
            <a:custGeom>
              <a:avLst/>
              <a:gdLst>
                <a:gd name="T0" fmla="*/ 74 w 148"/>
                <a:gd name="T1" fmla="*/ 83 h 83"/>
                <a:gd name="T2" fmla="*/ 73 w 148"/>
                <a:gd name="T3" fmla="*/ 82 h 83"/>
                <a:gd name="T4" fmla="*/ 5 w 148"/>
                <a:gd name="T5" fmla="*/ 21 h 83"/>
                <a:gd name="T6" fmla="*/ 0 w 148"/>
                <a:gd name="T7" fmla="*/ 0 h 83"/>
                <a:gd name="T8" fmla="*/ 4 w 148"/>
                <a:gd name="T9" fmla="*/ 0 h 83"/>
                <a:gd name="T10" fmla="*/ 9 w 148"/>
                <a:gd name="T11" fmla="*/ 19 h 83"/>
                <a:gd name="T12" fmla="*/ 74 w 148"/>
                <a:gd name="T13" fmla="*/ 77 h 83"/>
                <a:gd name="T14" fmla="*/ 139 w 148"/>
                <a:gd name="T15" fmla="*/ 19 h 83"/>
                <a:gd name="T16" fmla="*/ 144 w 148"/>
                <a:gd name="T17" fmla="*/ 0 h 83"/>
                <a:gd name="T18" fmla="*/ 148 w 148"/>
                <a:gd name="T19" fmla="*/ 0 h 83"/>
                <a:gd name="T20" fmla="*/ 143 w 148"/>
                <a:gd name="T21" fmla="*/ 21 h 83"/>
                <a:gd name="T22" fmla="*/ 75 w 148"/>
                <a:gd name="T23" fmla="*/ 82 h 83"/>
                <a:gd name="T24" fmla="*/ 74 w 148"/>
                <a:gd name="T2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83">
                  <a:moveTo>
                    <a:pt x="74" y="83"/>
                  </a:moveTo>
                  <a:cubicBezTo>
                    <a:pt x="73" y="82"/>
                    <a:pt x="73" y="82"/>
                    <a:pt x="73" y="82"/>
                  </a:cubicBezTo>
                  <a:cubicBezTo>
                    <a:pt x="70" y="80"/>
                    <a:pt x="12" y="35"/>
                    <a:pt x="5" y="21"/>
                  </a:cubicBezTo>
                  <a:cubicBezTo>
                    <a:pt x="2" y="14"/>
                    <a:pt x="0" y="7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6" y="13"/>
                    <a:pt x="9" y="19"/>
                  </a:cubicBezTo>
                  <a:cubicBezTo>
                    <a:pt x="15" y="32"/>
                    <a:pt x="65" y="71"/>
                    <a:pt x="74" y="77"/>
                  </a:cubicBezTo>
                  <a:cubicBezTo>
                    <a:pt x="83" y="71"/>
                    <a:pt x="133" y="32"/>
                    <a:pt x="139" y="19"/>
                  </a:cubicBezTo>
                  <a:cubicBezTo>
                    <a:pt x="142" y="13"/>
                    <a:pt x="144" y="7"/>
                    <a:pt x="144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7"/>
                    <a:pt x="146" y="14"/>
                    <a:pt x="143" y="21"/>
                  </a:cubicBezTo>
                  <a:cubicBezTo>
                    <a:pt x="136" y="35"/>
                    <a:pt x="78" y="80"/>
                    <a:pt x="75" y="82"/>
                  </a:cubicBezTo>
                  <a:lnTo>
                    <a:pt x="74" y="83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9"/>
            <p:cNvSpPr>
              <a:spLocks/>
            </p:cNvSpPr>
            <p:nvPr/>
          </p:nvSpPr>
          <p:spPr bwMode="auto">
            <a:xfrm>
              <a:off x="4469146" y="1244924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0"/>
            <p:cNvSpPr>
              <a:spLocks noEditPoints="1"/>
            </p:cNvSpPr>
            <p:nvPr/>
          </p:nvSpPr>
          <p:spPr bwMode="auto">
            <a:xfrm>
              <a:off x="4519946" y="1244924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1"/>
            <p:cNvSpPr>
              <a:spLocks/>
            </p:cNvSpPr>
            <p:nvPr/>
          </p:nvSpPr>
          <p:spPr bwMode="auto">
            <a:xfrm>
              <a:off x="4469146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62"/>
            <p:cNvSpPr>
              <a:spLocks/>
            </p:cNvSpPr>
            <p:nvPr/>
          </p:nvSpPr>
          <p:spPr bwMode="auto">
            <a:xfrm>
              <a:off x="4604084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63"/>
            <p:cNvSpPr>
              <a:spLocks noEditPoints="1"/>
            </p:cNvSpPr>
            <p:nvPr/>
          </p:nvSpPr>
          <p:spPr bwMode="auto">
            <a:xfrm>
              <a:off x="4519946" y="1540199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64"/>
            <p:cNvSpPr>
              <a:spLocks/>
            </p:cNvSpPr>
            <p:nvPr/>
          </p:nvSpPr>
          <p:spPr bwMode="auto">
            <a:xfrm>
              <a:off x="4567571" y="1392562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65"/>
            <p:cNvSpPr>
              <a:spLocks noEditPoints="1"/>
            </p:cNvSpPr>
            <p:nvPr/>
          </p:nvSpPr>
          <p:spPr bwMode="auto">
            <a:xfrm>
              <a:off x="4470734" y="1392562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66"/>
            <p:cNvSpPr>
              <a:spLocks/>
            </p:cNvSpPr>
            <p:nvPr/>
          </p:nvSpPr>
          <p:spPr bwMode="auto">
            <a:xfrm>
              <a:off x="4935871" y="1244924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67"/>
            <p:cNvSpPr>
              <a:spLocks noEditPoints="1"/>
            </p:cNvSpPr>
            <p:nvPr/>
          </p:nvSpPr>
          <p:spPr bwMode="auto">
            <a:xfrm>
              <a:off x="4986671" y="1244924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68"/>
            <p:cNvSpPr>
              <a:spLocks/>
            </p:cNvSpPr>
            <p:nvPr/>
          </p:nvSpPr>
          <p:spPr bwMode="auto">
            <a:xfrm>
              <a:off x="4935871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269"/>
            <p:cNvSpPr>
              <a:spLocks/>
            </p:cNvSpPr>
            <p:nvPr/>
          </p:nvSpPr>
          <p:spPr bwMode="auto">
            <a:xfrm>
              <a:off x="4886659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70"/>
            <p:cNvSpPr>
              <a:spLocks noEditPoints="1"/>
            </p:cNvSpPr>
            <p:nvPr/>
          </p:nvSpPr>
          <p:spPr bwMode="auto">
            <a:xfrm>
              <a:off x="4986671" y="1540199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71"/>
            <p:cNvSpPr>
              <a:spLocks/>
            </p:cNvSpPr>
            <p:nvPr/>
          </p:nvSpPr>
          <p:spPr bwMode="auto">
            <a:xfrm>
              <a:off x="5034296" y="1392562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72"/>
            <p:cNvSpPr>
              <a:spLocks noEditPoints="1"/>
            </p:cNvSpPr>
            <p:nvPr/>
          </p:nvSpPr>
          <p:spPr bwMode="auto">
            <a:xfrm>
              <a:off x="4937459" y="1392562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273"/>
            <p:cNvSpPr>
              <a:spLocks noEditPoints="1"/>
            </p:cNvSpPr>
            <p:nvPr/>
          </p:nvSpPr>
          <p:spPr bwMode="auto">
            <a:xfrm>
              <a:off x="4696159" y="1427487"/>
              <a:ext cx="147638" cy="115888"/>
            </a:xfrm>
            <a:custGeom>
              <a:avLst/>
              <a:gdLst>
                <a:gd name="T0" fmla="*/ 67 w 72"/>
                <a:gd name="T1" fmla="*/ 4 h 57"/>
                <a:gd name="T2" fmla="*/ 68 w 72"/>
                <a:gd name="T3" fmla="*/ 5 h 57"/>
                <a:gd name="T4" fmla="*/ 68 w 72"/>
                <a:gd name="T5" fmla="*/ 21 h 57"/>
                <a:gd name="T6" fmla="*/ 36 w 72"/>
                <a:gd name="T7" fmla="*/ 53 h 57"/>
                <a:gd name="T8" fmla="*/ 4 w 72"/>
                <a:gd name="T9" fmla="*/ 21 h 57"/>
                <a:gd name="T10" fmla="*/ 4 w 72"/>
                <a:gd name="T11" fmla="*/ 16 h 57"/>
                <a:gd name="T12" fmla="*/ 4 w 72"/>
                <a:gd name="T13" fmla="*/ 5 h 57"/>
                <a:gd name="T14" fmla="*/ 5 w 72"/>
                <a:gd name="T15" fmla="*/ 4 h 57"/>
                <a:gd name="T16" fmla="*/ 51 w 72"/>
                <a:gd name="T17" fmla="*/ 4 h 57"/>
                <a:gd name="T18" fmla="*/ 67 w 72"/>
                <a:gd name="T19" fmla="*/ 4 h 57"/>
                <a:gd name="T20" fmla="*/ 67 w 72"/>
                <a:gd name="T21" fmla="*/ 0 h 57"/>
                <a:gd name="T22" fmla="*/ 51 w 72"/>
                <a:gd name="T23" fmla="*/ 0 h 57"/>
                <a:gd name="T24" fmla="*/ 5 w 72"/>
                <a:gd name="T25" fmla="*/ 0 h 57"/>
                <a:gd name="T26" fmla="*/ 0 w 72"/>
                <a:gd name="T27" fmla="*/ 5 h 57"/>
                <a:gd name="T28" fmla="*/ 0 w 72"/>
                <a:gd name="T29" fmla="*/ 16 h 57"/>
                <a:gd name="T30" fmla="*/ 0 w 72"/>
                <a:gd name="T31" fmla="*/ 21 h 57"/>
                <a:gd name="T32" fmla="*/ 36 w 72"/>
                <a:gd name="T33" fmla="*/ 57 h 57"/>
                <a:gd name="T34" fmla="*/ 72 w 72"/>
                <a:gd name="T35" fmla="*/ 21 h 57"/>
                <a:gd name="T36" fmla="*/ 72 w 72"/>
                <a:gd name="T37" fmla="*/ 5 h 57"/>
                <a:gd name="T38" fmla="*/ 67 w 72"/>
                <a:gd name="T3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57">
                  <a:moveTo>
                    <a:pt x="67" y="4"/>
                  </a:moveTo>
                  <a:cubicBezTo>
                    <a:pt x="67" y="4"/>
                    <a:pt x="68" y="4"/>
                    <a:pt x="68" y="5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8" y="39"/>
                    <a:pt x="54" y="53"/>
                    <a:pt x="36" y="53"/>
                  </a:cubicBezTo>
                  <a:cubicBezTo>
                    <a:pt x="18" y="53"/>
                    <a:pt x="4" y="39"/>
                    <a:pt x="4" y="2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67" y="4"/>
                    <a:pt x="67" y="4"/>
                    <a:pt x="67" y="4"/>
                  </a:cubicBezTo>
                  <a:moveTo>
                    <a:pt x="67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41"/>
                    <a:pt x="16" y="57"/>
                    <a:pt x="36" y="57"/>
                  </a:cubicBezTo>
                  <a:cubicBezTo>
                    <a:pt x="56" y="57"/>
                    <a:pt x="72" y="41"/>
                    <a:pt x="72" y="21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274"/>
            <p:cNvSpPr>
              <a:spLocks/>
            </p:cNvSpPr>
            <p:nvPr/>
          </p:nvSpPr>
          <p:spPr bwMode="auto">
            <a:xfrm>
              <a:off x="4715209" y="1341762"/>
              <a:ext cx="109538" cy="92075"/>
            </a:xfrm>
            <a:custGeom>
              <a:avLst/>
              <a:gdLst>
                <a:gd name="T0" fmla="*/ 54 w 54"/>
                <a:gd name="T1" fmla="*/ 45 h 45"/>
                <a:gd name="T2" fmla="*/ 50 w 54"/>
                <a:gd name="T3" fmla="*/ 45 h 45"/>
                <a:gd name="T4" fmla="*/ 50 w 54"/>
                <a:gd name="T5" fmla="*/ 27 h 45"/>
                <a:gd name="T6" fmla="*/ 27 w 54"/>
                <a:gd name="T7" fmla="*/ 4 h 45"/>
                <a:gd name="T8" fmla="*/ 4 w 54"/>
                <a:gd name="T9" fmla="*/ 27 h 45"/>
                <a:gd name="T10" fmla="*/ 4 w 54"/>
                <a:gd name="T11" fmla="*/ 45 h 45"/>
                <a:gd name="T12" fmla="*/ 0 w 54"/>
                <a:gd name="T13" fmla="*/ 45 h 45"/>
                <a:gd name="T14" fmla="*/ 0 w 54"/>
                <a:gd name="T15" fmla="*/ 27 h 45"/>
                <a:gd name="T16" fmla="*/ 27 w 54"/>
                <a:gd name="T17" fmla="*/ 0 h 45"/>
                <a:gd name="T18" fmla="*/ 54 w 54"/>
                <a:gd name="T19" fmla="*/ 27 h 45"/>
                <a:gd name="T20" fmla="*/ 54 w 54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45">
                  <a:moveTo>
                    <a:pt x="54" y="45"/>
                  </a:moveTo>
                  <a:cubicBezTo>
                    <a:pt x="50" y="45"/>
                    <a:pt x="50" y="45"/>
                    <a:pt x="50" y="45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14"/>
                    <a:pt x="40" y="4"/>
                    <a:pt x="27" y="4"/>
                  </a:cubicBezTo>
                  <a:cubicBezTo>
                    <a:pt x="14" y="4"/>
                    <a:pt x="4" y="14"/>
                    <a:pt x="4" y="27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lnTo>
                    <a:pt x="54" y="45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275"/>
            <p:cNvSpPr>
              <a:spLocks noEditPoints="1"/>
            </p:cNvSpPr>
            <p:nvPr/>
          </p:nvSpPr>
          <p:spPr bwMode="auto">
            <a:xfrm>
              <a:off x="4745371" y="1457649"/>
              <a:ext cx="49213" cy="49213"/>
            </a:xfrm>
            <a:custGeom>
              <a:avLst/>
              <a:gdLst>
                <a:gd name="T0" fmla="*/ 12 w 24"/>
                <a:gd name="T1" fmla="*/ 4 h 24"/>
                <a:gd name="T2" fmla="*/ 20 w 24"/>
                <a:gd name="T3" fmla="*/ 12 h 24"/>
                <a:gd name="T4" fmla="*/ 12 w 24"/>
                <a:gd name="T5" fmla="*/ 20 h 24"/>
                <a:gd name="T6" fmla="*/ 4 w 24"/>
                <a:gd name="T7" fmla="*/ 12 h 24"/>
                <a:gd name="T8" fmla="*/ 12 w 24"/>
                <a:gd name="T9" fmla="*/ 4 h 24"/>
                <a:gd name="T10" fmla="*/ 12 w 24"/>
                <a:gd name="T11" fmla="*/ 0 h 24"/>
                <a:gd name="T12" fmla="*/ 0 w 24"/>
                <a:gd name="T13" fmla="*/ 12 h 24"/>
                <a:gd name="T14" fmla="*/ 12 w 24"/>
                <a:gd name="T15" fmla="*/ 24 h 24"/>
                <a:gd name="T16" fmla="*/ 24 w 24"/>
                <a:gd name="T17" fmla="*/ 12 h 24"/>
                <a:gd name="T18" fmla="*/ 12 w 24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4"/>
                  </a:moveTo>
                  <a:cubicBezTo>
                    <a:pt x="16" y="4"/>
                    <a:pt x="20" y="8"/>
                    <a:pt x="20" y="12"/>
                  </a:cubicBez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4" y="16"/>
                    <a:pt x="4" y="12"/>
                  </a:cubicBezTo>
                  <a:cubicBezTo>
                    <a:pt x="4" y="8"/>
                    <a:pt x="8" y="4"/>
                    <a:pt x="12" y="4"/>
                  </a:cubicBezTo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9" y="24"/>
                    <a:pt x="24" y="19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9" name="TextBox 118"/>
          <p:cNvSpPr txBox="1"/>
          <p:nvPr/>
        </p:nvSpPr>
        <p:spPr>
          <a:xfrm>
            <a:off x="5930235" y="945296"/>
            <a:ext cx="19216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eSK.SR.ECKA</a:t>
            </a:r>
            <a:r>
              <a:rPr lang="pl-PL" sz="800" dirty="0" smtClean="0">
                <a:solidFill>
                  <a:srgbClr val="00B050"/>
                </a:solidFill>
              </a:rPr>
              <a:t> -&gt; </a:t>
            </a:r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326067" y="1974948"/>
            <a:ext cx="14198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Signature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Derivation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Receipt</a:t>
            </a:r>
            <a:endParaRPr lang="pl-PL" sz="800" dirty="0" smtClean="0">
              <a:solidFill>
                <a:srgbClr val="00B050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2254114" y="4114517"/>
            <a:ext cx="15167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chemeClr val="tx2"/>
                </a:solidFill>
              </a:rPr>
              <a:t>ePK.SR.ECKA</a:t>
            </a:r>
            <a:r>
              <a:rPr lang="pl-PL" sz="800" dirty="0" smtClean="0">
                <a:solidFill>
                  <a:schemeClr val="tx2"/>
                </a:solidFill>
              </a:rPr>
              <a:t>, </a:t>
            </a:r>
            <a:r>
              <a:rPr lang="pl-PL" sz="800" dirty="0" err="1" smtClean="0">
                <a:solidFill>
                  <a:schemeClr val="tx2"/>
                </a:solidFill>
              </a:rPr>
              <a:t>Signature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Receipt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Derivation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417876" y="3152852"/>
            <a:ext cx="1511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chemeClr val="tx2"/>
                </a:solidFill>
              </a:rPr>
              <a:t>Derivation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Derived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KeySet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Receipt</a:t>
            </a:r>
            <a:endParaRPr lang="pl-PL" sz="800" dirty="0">
              <a:solidFill>
                <a:schemeClr val="tx2"/>
              </a:solidFill>
            </a:endParaRPr>
          </a:p>
        </p:txBody>
      </p:sp>
      <p:cxnSp>
        <p:nvCxnSpPr>
          <p:cNvPr id="107" name="Elbow Connector 106"/>
          <p:cNvCxnSpPr/>
          <p:nvPr/>
        </p:nvCxnSpPr>
        <p:spPr>
          <a:xfrm rot="5400000" flipH="1" flipV="1">
            <a:off x="2859174" y="2970082"/>
            <a:ext cx="470233" cy="123213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3134680" y="2828291"/>
            <a:ext cx="24879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chemeClr val="tx2"/>
                </a:solidFill>
              </a:rPr>
              <a:t>CreateAdditionalKeySetResponse</a:t>
            </a:r>
            <a:endParaRPr lang="pl-PL" sz="1000" dirty="0" smtClean="0">
              <a:solidFill>
                <a:schemeClr val="tx2"/>
              </a:solidFill>
            </a:endParaRPr>
          </a:p>
          <a:p>
            <a:r>
              <a:rPr lang="pl-PL" sz="1000" dirty="0" smtClean="0">
                <a:solidFill>
                  <a:schemeClr val="tx2"/>
                </a:solidFill>
              </a:rPr>
              <a:t>(</a:t>
            </a:r>
            <a:r>
              <a:rPr lang="pl-PL" sz="1000" dirty="0" err="1" smtClean="0">
                <a:solidFill>
                  <a:schemeClr val="tx2"/>
                </a:solidFill>
              </a:rPr>
              <a:t>Derivation</a:t>
            </a:r>
            <a:r>
              <a:rPr lang="pl-PL" sz="1000" dirty="0" smtClean="0">
                <a:solidFill>
                  <a:schemeClr val="tx2"/>
                </a:solidFill>
              </a:rPr>
              <a:t> </a:t>
            </a:r>
            <a:r>
              <a:rPr lang="pl-PL" sz="1000" dirty="0" err="1" smtClean="0">
                <a:solidFill>
                  <a:schemeClr val="tx2"/>
                </a:solidFill>
              </a:rPr>
              <a:t>Random</a:t>
            </a:r>
            <a:r>
              <a:rPr lang="pl-PL" sz="1000" dirty="0" smtClean="0">
                <a:solidFill>
                  <a:schemeClr val="tx2"/>
                </a:solidFill>
              </a:rPr>
              <a:t>, </a:t>
            </a:r>
            <a:r>
              <a:rPr lang="pl-PL" sz="1000" dirty="0" err="1" smtClean="0">
                <a:solidFill>
                  <a:schemeClr val="tx2"/>
                </a:solidFill>
              </a:rPr>
              <a:t>Receipt</a:t>
            </a:r>
            <a:r>
              <a:rPr lang="pl-PL" sz="1000" dirty="0" smtClean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4815840" y="3614036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err="1" smtClean="0">
                <a:solidFill>
                  <a:srgbClr val="FF0000"/>
                </a:solidFill>
              </a:rPr>
              <a:t>Notice</a:t>
            </a:r>
            <a:r>
              <a:rPr lang="pl-PL" dirty="0" smtClean="0">
                <a:solidFill>
                  <a:srgbClr val="FF0000"/>
                </a:solidFill>
              </a:rPr>
              <a:t> no EID</a:t>
            </a:r>
            <a:endParaRPr lang="pl-PL" dirty="0">
              <a:solidFill>
                <a:srgbClr val="FF0000"/>
              </a:solidFill>
            </a:endParaRPr>
          </a:p>
        </p:txBody>
      </p:sp>
      <p:cxnSp>
        <p:nvCxnSpPr>
          <p:cNvPr id="136" name="Straight Arrow Connector 135"/>
          <p:cNvCxnSpPr/>
          <p:nvPr/>
        </p:nvCxnSpPr>
        <p:spPr>
          <a:xfrm flipH="1" flipV="1">
            <a:off x="4490720" y="3228401"/>
            <a:ext cx="406400" cy="442821"/>
          </a:xfrm>
          <a:prstGeom prst="straightConnector1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3342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70992"/>
            <a:ext cx="5918400" cy="1671300"/>
          </a:xfrm>
        </p:spPr>
        <p:txBody>
          <a:bodyPr/>
          <a:lstStyle/>
          <a:p>
            <a:r>
              <a:rPr lang="pl-PL" dirty="0" smtClean="0"/>
              <a:t>O mni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2553968" y="2037318"/>
            <a:ext cx="5505699" cy="236545"/>
          </a:xfrm>
        </p:spPr>
        <p:txBody>
          <a:bodyPr/>
          <a:lstStyle/>
          <a:p>
            <a:r>
              <a:rPr lang="pl-PL" dirty="0" smtClean="0"/>
              <a:t>Obecnie: Scala Developer w IDEMIA (wcześniej </a:t>
            </a:r>
            <a:r>
              <a:rPr lang="pl-PL" dirty="0" err="1" smtClean="0"/>
              <a:t>Oberthur</a:t>
            </a:r>
            <a:r>
              <a:rPr lang="pl-PL" dirty="0" smtClean="0"/>
              <a:t>)</a:t>
            </a:r>
          </a:p>
          <a:p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2</a:t>
            </a:fld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020" y="2037318"/>
            <a:ext cx="1359568" cy="18127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3968" y="2522154"/>
            <a:ext cx="281704" cy="28170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3968" y="2935675"/>
            <a:ext cx="281704" cy="281704"/>
          </a:xfrm>
          <a:prstGeom prst="rect">
            <a:avLst/>
          </a:prstGeom>
        </p:spPr>
      </p:pic>
      <p:sp>
        <p:nvSpPr>
          <p:cNvPr id="11" name="Text Placeholder 5"/>
          <p:cNvSpPr>
            <a:spLocks noGrp="1"/>
          </p:cNvSpPr>
          <p:nvPr>
            <p:ph type="body" idx="1"/>
          </p:nvPr>
        </p:nvSpPr>
        <p:spPr>
          <a:xfrm>
            <a:off x="2868040" y="2952544"/>
            <a:ext cx="5505699" cy="236545"/>
          </a:xfrm>
        </p:spPr>
        <p:txBody>
          <a:bodyPr/>
          <a:lstStyle/>
          <a:p>
            <a:r>
              <a:rPr lang="en-US" dirty="0" err="1" smtClean="0"/>
              <a:t>dsinczak</a:t>
            </a:r>
            <a:endParaRPr lang="en-US" dirty="0"/>
          </a:p>
          <a:p>
            <a:endParaRPr lang="en-US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idx="1"/>
          </p:nvPr>
        </p:nvSpPr>
        <p:spPr>
          <a:xfrm>
            <a:off x="2868040" y="2544733"/>
            <a:ext cx="5505699" cy="236545"/>
          </a:xfrm>
        </p:spPr>
        <p:txBody>
          <a:bodyPr/>
          <a:lstStyle/>
          <a:p>
            <a:r>
              <a:rPr lang="en-US" dirty="0" err="1" smtClean="0"/>
              <a:t>dsinczak</a:t>
            </a:r>
            <a:endParaRPr lang="en-US" dirty="0"/>
          </a:p>
          <a:p>
            <a:endParaRPr lang="en-US" dirty="0"/>
          </a:p>
        </p:txBody>
      </p:sp>
      <p:sp>
        <p:nvSpPr>
          <p:cNvPr id="23" name="Text Placeholder 5"/>
          <p:cNvSpPr>
            <a:spLocks noGrp="1"/>
          </p:cNvSpPr>
          <p:nvPr>
            <p:ph type="body" idx="1"/>
          </p:nvPr>
        </p:nvSpPr>
        <p:spPr>
          <a:xfrm>
            <a:off x="1020600" y="1340054"/>
            <a:ext cx="5505699" cy="236545"/>
          </a:xfrm>
        </p:spPr>
        <p:txBody>
          <a:bodyPr>
            <a:noAutofit/>
          </a:bodyPr>
          <a:lstStyle/>
          <a:p>
            <a:r>
              <a:rPr lang="pl-PL" sz="2800" dirty="0" smtClean="0"/>
              <a:t>Damian </a:t>
            </a:r>
            <a:r>
              <a:rPr lang="pl-PL" sz="2800" dirty="0" err="1" smtClean="0"/>
              <a:t>Sińczak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583221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117"/>
          <p:cNvSpPr/>
          <p:nvPr/>
        </p:nvSpPr>
        <p:spPr>
          <a:xfrm>
            <a:off x="5068799" y="900812"/>
            <a:ext cx="2612890" cy="916901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20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7522939" y="2644171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73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07715" y="2510276"/>
            <a:ext cx="87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PK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ePK.SR.ECKA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Shared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Secret</a:t>
            </a:r>
            <a:endParaRPr lang="pl-PL" sz="800" dirty="0">
              <a:solidFill>
                <a:schemeClr val="tx2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170186" y="1174814"/>
            <a:ext cx="600075" cy="403226"/>
            <a:chOff x="4469146" y="1244924"/>
            <a:chExt cx="600075" cy="403226"/>
          </a:xfrm>
        </p:grpSpPr>
        <p:sp>
          <p:nvSpPr>
            <p:cNvPr id="61" name="Freeform 257"/>
            <p:cNvSpPr>
              <a:spLocks/>
            </p:cNvSpPr>
            <p:nvPr/>
          </p:nvSpPr>
          <p:spPr bwMode="auto">
            <a:xfrm>
              <a:off x="4618371" y="1244924"/>
              <a:ext cx="303213" cy="233363"/>
            </a:xfrm>
            <a:custGeom>
              <a:avLst/>
              <a:gdLst>
                <a:gd name="T0" fmla="*/ 191 w 191"/>
                <a:gd name="T1" fmla="*/ 147 h 147"/>
                <a:gd name="T2" fmla="*/ 186 w 191"/>
                <a:gd name="T3" fmla="*/ 147 h 147"/>
                <a:gd name="T4" fmla="*/ 186 w 191"/>
                <a:gd name="T5" fmla="*/ 45 h 147"/>
                <a:gd name="T6" fmla="*/ 95 w 191"/>
                <a:gd name="T7" fmla="*/ 5 h 147"/>
                <a:gd name="T8" fmla="*/ 5 w 191"/>
                <a:gd name="T9" fmla="*/ 45 h 147"/>
                <a:gd name="T10" fmla="*/ 5 w 191"/>
                <a:gd name="T11" fmla="*/ 147 h 147"/>
                <a:gd name="T12" fmla="*/ 0 w 191"/>
                <a:gd name="T13" fmla="*/ 147 h 147"/>
                <a:gd name="T14" fmla="*/ 0 w 191"/>
                <a:gd name="T15" fmla="*/ 43 h 147"/>
                <a:gd name="T16" fmla="*/ 95 w 191"/>
                <a:gd name="T17" fmla="*/ 0 h 147"/>
                <a:gd name="T18" fmla="*/ 191 w 191"/>
                <a:gd name="T19" fmla="*/ 43 h 147"/>
                <a:gd name="T20" fmla="*/ 191 w 191"/>
                <a:gd name="T21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" h="147">
                  <a:moveTo>
                    <a:pt x="191" y="147"/>
                  </a:moveTo>
                  <a:lnTo>
                    <a:pt x="186" y="147"/>
                  </a:lnTo>
                  <a:lnTo>
                    <a:pt x="186" y="45"/>
                  </a:lnTo>
                  <a:lnTo>
                    <a:pt x="95" y="5"/>
                  </a:lnTo>
                  <a:lnTo>
                    <a:pt x="5" y="45"/>
                  </a:lnTo>
                  <a:lnTo>
                    <a:pt x="5" y="147"/>
                  </a:lnTo>
                  <a:lnTo>
                    <a:pt x="0" y="147"/>
                  </a:lnTo>
                  <a:lnTo>
                    <a:pt x="0" y="43"/>
                  </a:lnTo>
                  <a:lnTo>
                    <a:pt x="95" y="0"/>
                  </a:lnTo>
                  <a:lnTo>
                    <a:pt x="191" y="43"/>
                  </a:lnTo>
                  <a:lnTo>
                    <a:pt x="191" y="147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8"/>
            <p:cNvSpPr>
              <a:spLocks/>
            </p:cNvSpPr>
            <p:nvPr/>
          </p:nvSpPr>
          <p:spPr bwMode="auto">
            <a:xfrm>
              <a:off x="4618371" y="1478287"/>
              <a:ext cx="303213" cy="169863"/>
            </a:xfrm>
            <a:custGeom>
              <a:avLst/>
              <a:gdLst>
                <a:gd name="T0" fmla="*/ 74 w 148"/>
                <a:gd name="T1" fmla="*/ 83 h 83"/>
                <a:gd name="T2" fmla="*/ 73 w 148"/>
                <a:gd name="T3" fmla="*/ 82 h 83"/>
                <a:gd name="T4" fmla="*/ 5 w 148"/>
                <a:gd name="T5" fmla="*/ 21 h 83"/>
                <a:gd name="T6" fmla="*/ 0 w 148"/>
                <a:gd name="T7" fmla="*/ 0 h 83"/>
                <a:gd name="T8" fmla="*/ 4 w 148"/>
                <a:gd name="T9" fmla="*/ 0 h 83"/>
                <a:gd name="T10" fmla="*/ 9 w 148"/>
                <a:gd name="T11" fmla="*/ 19 h 83"/>
                <a:gd name="T12" fmla="*/ 74 w 148"/>
                <a:gd name="T13" fmla="*/ 77 h 83"/>
                <a:gd name="T14" fmla="*/ 139 w 148"/>
                <a:gd name="T15" fmla="*/ 19 h 83"/>
                <a:gd name="T16" fmla="*/ 144 w 148"/>
                <a:gd name="T17" fmla="*/ 0 h 83"/>
                <a:gd name="T18" fmla="*/ 148 w 148"/>
                <a:gd name="T19" fmla="*/ 0 h 83"/>
                <a:gd name="T20" fmla="*/ 143 w 148"/>
                <a:gd name="T21" fmla="*/ 21 h 83"/>
                <a:gd name="T22" fmla="*/ 75 w 148"/>
                <a:gd name="T23" fmla="*/ 82 h 83"/>
                <a:gd name="T24" fmla="*/ 74 w 148"/>
                <a:gd name="T2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83">
                  <a:moveTo>
                    <a:pt x="74" y="83"/>
                  </a:moveTo>
                  <a:cubicBezTo>
                    <a:pt x="73" y="82"/>
                    <a:pt x="73" y="82"/>
                    <a:pt x="73" y="82"/>
                  </a:cubicBezTo>
                  <a:cubicBezTo>
                    <a:pt x="70" y="80"/>
                    <a:pt x="12" y="35"/>
                    <a:pt x="5" y="21"/>
                  </a:cubicBezTo>
                  <a:cubicBezTo>
                    <a:pt x="2" y="14"/>
                    <a:pt x="0" y="7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6" y="13"/>
                    <a:pt x="9" y="19"/>
                  </a:cubicBezTo>
                  <a:cubicBezTo>
                    <a:pt x="15" y="32"/>
                    <a:pt x="65" y="71"/>
                    <a:pt x="74" y="77"/>
                  </a:cubicBezTo>
                  <a:cubicBezTo>
                    <a:pt x="83" y="71"/>
                    <a:pt x="133" y="32"/>
                    <a:pt x="139" y="19"/>
                  </a:cubicBezTo>
                  <a:cubicBezTo>
                    <a:pt x="142" y="13"/>
                    <a:pt x="144" y="7"/>
                    <a:pt x="144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7"/>
                    <a:pt x="146" y="14"/>
                    <a:pt x="143" y="21"/>
                  </a:cubicBezTo>
                  <a:cubicBezTo>
                    <a:pt x="136" y="35"/>
                    <a:pt x="78" y="80"/>
                    <a:pt x="75" y="82"/>
                  </a:cubicBezTo>
                  <a:lnTo>
                    <a:pt x="74" y="83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9"/>
            <p:cNvSpPr>
              <a:spLocks/>
            </p:cNvSpPr>
            <p:nvPr/>
          </p:nvSpPr>
          <p:spPr bwMode="auto">
            <a:xfrm>
              <a:off x="4469146" y="1244924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0"/>
            <p:cNvSpPr>
              <a:spLocks noEditPoints="1"/>
            </p:cNvSpPr>
            <p:nvPr/>
          </p:nvSpPr>
          <p:spPr bwMode="auto">
            <a:xfrm>
              <a:off x="4519946" y="1244924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1"/>
            <p:cNvSpPr>
              <a:spLocks/>
            </p:cNvSpPr>
            <p:nvPr/>
          </p:nvSpPr>
          <p:spPr bwMode="auto">
            <a:xfrm>
              <a:off x="4469146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62"/>
            <p:cNvSpPr>
              <a:spLocks/>
            </p:cNvSpPr>
            <p:nvPr/>
          </p:nvSpPr>
          <p:spPr bwMode="auto">
            <a:xfrm>
              <a:off x="4604084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63"/>
            <p:cNvSpPr>
              <a:spLocks noEditPoints="1"/>
            </p:cNvSpPr>
            <p:nvPr/>
          </p:nvSpPr>
          <p:spPr bwMode="auto">
            <a:xfrm>
              <a:off x="4519946" y="1540199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64"/>
            <p:cNvSpPr>
              <a:spLocks/>
            </p:cNvSpPr>
            <p:nvPr/>
          </p:nvSpPr>
          <p:spPr bwMode="auto">
            <a:xfrm>
              <a:off x="4567571" y="1392562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65"/>
            <p:cNvSpPr>
              <a:spLocks noEditPoints="1"/>
            </p:cNvSpPr>
            <p:nvPr/>
          </p:nvSpPr>
          <p:spPr bwMode="auto">
            <a:xfrm>
              <a:off x="4470734" y="1392562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66"/>
            <p:cNvSpPr>
              <a:spLocks/>
            </p:cNvSpPr>
            <p:nvPr/>
          </p:nvSpPr>
          <p:spPr bwMode="auto">
            <a:xfrm>
              <a:off x="4935871" y="1244924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67"/>
            <p:cNvSpPr>
              <a:spLocks noEditPoints="1"/>
            </p:cNvSpPr>
            <p:nvPr/>
          </p:nvSpPr>
          <p:spPr bwMode="auto">
            <a:xfrm>
              <a:off x="4986671" y="1244924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68"/>
            <p:cNvSpPr>
              <a:spLocks/>
            </p:cNvSpPr>
            <p:nvPr/>
          </p:nvSpPr>
          <p:spPr bwMode="auto">
            <a:xfrm>
              <a:off x="4935871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269"/>
            <p:cNvSpPr>
              <a:spLocks/>
            </p:cNvSpPr>
            <p:nvPr/>
          </p:nvSpPr>
          <p:spPr bwMode="auto">
            <a:xfrm>
              <a:off x="4886659" y="1540199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70"/>
            <p:cNvSpPr>
              <a:spLocks noEditPoints="1"/>
            </p:cNvSpPr>
            <p:nvPr/>
          </p:nvSpPr>
          <p:spPr bwMode="auto">
            <a:xfrm>
              <a:off x="4986671" y="1540199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71"/>
            <p:cNvSpPr>
              <a:spLocks/>
            </p:cNvSpPr>
            <p:nvPr/>
          </p:nvSpPr>
          <p:spPr bwMode="auto">
            <a:xfrm>
              <a:off x="5034296" y="1392562"/>
              <a:ext cx="34925" cy="106363"/>
            </a:xfrm>
            <a:custGeom>
              <a:avLst/>
              <a:gdLst>
                <a:gd name="T0" fmla="*/ 17 w 17"/>
                <a:gd name="T1" fmla="*/ 52 h 52"/>
                <a:gd name="T2" fmla="*/ 13 w 17"/>
                <a:gd name="T3" fmla="*/ 52 h 52"/>
                <a:gd name="T4" fmla="*/ 13 w 17"/>
                <a:gd name="T5" fmla="*/ 7 h 52"/>
                <a:gd name="T6" fmla="*/ 3 w 17"/>
                <a:gd name="T7" fmla="*/ 17 h 52"/>
                <a:gd name="T8" fmla="*/ 0 w 17"/>
                <a:gd name="T9" fmla="*/ 14 h 52"/>
                <a:gd name="T10" fmla="*/ 14 w 17"/>
                <a:gd name="T11" fmla="*/ 1 h 52"/>
                <a:gd name="T12" fmla="*/ 16 w 17"/>
                <a:gd name="T13" fmla="*/ 0 h 52"/>
                <a:gd name="T14" fmla="*/ 17 w 17"/>
                <a:gd name="T15" fmla="*/ 2 h 52"/>
                <a:gd name="T16" fmla="*/ 17 w 1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2">
                  <a:moveTo>
                    <a:pt x="17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7" y="1"/>
                    <a:pt x="17" y="2"/>
                  </a:cubicBezTo>
                  <a:lnTo>
                    <a:pt x="17" y="5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72"/>
            <p:cNvSpPr>
              <a:spLocks noEditPoints="1"/>
            </p:cNvSpPr>
            <p:nvPr/>
          </p:nvSpPr>
          <p:spPr bwMode="auto">
            <a:xfrm>
              <a:off x="4937459" y="1392562"/>
              <a:ext cx="82550" cy="106363"/>
            </a:xfrm>
            <a:custGeom>
              <a:avLst/>
              <a:gdLst>
                <a:gd name="T0" fmla="*/ 20 w 40"/>
                <a:gd name="T1" fmla="*/ 52 h 52"/>
                <a:gd name="T2" fmla="*/ 0 w 40"/>
                <a:gd name="T3" fmla="*/ 26 h 52"/>
                <a:gd name="T4" fmla="*/ 20 w 40"/>
                <a:gd name="T5" fmla="*/ 0 h 52"/>
                <a:gd name="T6" fmla="*/ 40 w 40"/>
                <a:gd name="T7" fmla="*/ 26 h 52"/>
                <a:gd name="T8" fmla="*/ 20 w 40"/>
                <a:gd name="T9" fmla="*/ 52 h 52"/>
                <a:gd name="T10" fmla="*/ 20 w 40"/>
                <a:gd name="T11" fmla="*/ 4 h 52"/>
                <a:gd name="T12" fmla="*/ 4 w 40"/>
                <a:gd name="T13" fmla="*/ 26 h 52"/>
                <a:gd name="T14" fmla="*/ 20 w 40"/>
                <a:gd name="T15" fmla="*/ 48 h 52"/>
                <a:gd name="T16" fmla="*/ 36 w 40"/>
                <a:gd name="T17" fmla="*/ 26 h 52"/>
                <a:gd name="T18" fmla="*/ 20 w 40"/>
                <a:gd name="T1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2">
                  <a:moveTo>
                    <a:pt x="20" y="52"/>
                  </a:moveTo>
                  <a:cubicBezTo>
                    <a:pt x="9" y="52"/>
                    <a:pt x="0" y="40"/>
                    <a:pt x="0" y="26"/>
                  </a:cubicBezTo>
                  <a:cubicBezTo>
                    <a:pt x="0" y="12"/>
                    <a:pt x="9" y="0"/>
                    <a:pt x="20" y="0"/>
                  </a:cubicBezTo>
                  <a:cubicBezTo>
                    <a:pt x="31" y="0"/>
                    <a:pt x="40" y="12"/>
                    <a:pt x="40" y="26"/>
                  </a:cubicBezTo>
                  <a:cubicBezTo>
                    <a:pt x="40" y="40"/>
                    <a:pt x="31" y="52"/>
                    <a:pt x="20" y="52"/>
                  </a:cubicBezTo>
                  <a:close/>
                  <a:moveTo>
                    <a:pt x="20" y="4"/>
                  </a:moveTo>
                  <a:cubicBezTo>
                    <a:pt x="11" y="4"/>
                    <a:pt x="4" y="14"/>
                    <a:pt x="4" y="26"/>
                  </a:cubicBezTo>
                  <a:cubicBezTo>
                    <a:pt x="4" y="38"/>
                    <a:pt x="11" y="48"/>
                    <a:pt x="20" y="48"/>
                  </a:cubicBezTo>
                  <a:cubicBezTo>
                    <a:pt x="29" y="48"/>
                    <a:pt x="36" y="38"/>
                    <a:pt x="36" y="26"/>
                  </a:cubicBezTo>
                  <a:cubicBezTo>
                    <a:pt x="36" y="14"/>
                    <a:pt x="29" y="4"/>
                    <a:pt x="20" y="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273"/>
            <p:cNvSpPr>
              <a:spLocks noEditPoints="1"/>
            </p:cNvSpPr>
            <p:nvPr/>
          </p:nvSpPr>
          <p:spPr bwMode="auto">
            <a:xfrm>
              <a:off x="4696159" y="1427487"/>
              <a:ext cx="147638" cy="115888"/>
            </a:xfrm>
            <a:custGeom>
              <a:avLst/>
              <a:gdLst>
                <a:gd name="T0" fmla="*/ 67 w 72"/>
                <a:gd name="T1" fmla="*/ 4 h 57"/>
                <a:gd name="T2" fmla="*/ 68 w 72"/>
                <a:gd name="T3" fmla="*/ 5 h 57"/>
                <a:gd name="T4" fmla="*/ 68 w 72"/>
                <a:gd name="T5" fmla="*/ 21 h 57"/>
                <a:gd name="T6" fmla="*/ 36 w 72"/>
                <a:gd name="T7" fmla="*/ 53 h 57"/>
                <a:gd name="T8" fmla="*/ 4 w 72"/>
                <a:gd name="T9" fmla="*/ 21 h 57"/>
                <a:gd name="T10" fmla="*/ 4 w 72"/>
                <a:gd name="T11" fmla="*/ 16 h 57"/>
                <a:gd name="T12" fmla="*/ 4 w 72"/>
                <a:gd name="T13" fmla="*/ 5 h 57"/>
                <a:gd name="T14" fmla="*/ 5 w 72"/>
                <a:gd name="T15" fmla="*/ 4 h 57"/>
                <a:gd name="T16" fmla="*/ 51 w 72"/>
                <a:gd name="T17" fmla="*/ 4 h 57"/>
                <a:gd name="T18" fmla="*/ 67 w 72"/>
                <a:gd name="T19" fmla="*/ 4 h 57"/>
                <a:gd name="T20" fmla="*/ 67 w 72"/>
                <a:gd name="T21" fmla="*/ 0 h 57"/>
                <a:gd name="T22" fmla="*/ 51 w 72"/>
                <a:gd name="T23" fmla="*/ 0 h 57"/>
                <a:gd name="T24" fmla="*/ 5 w 72"/>
                <a:gd name="T25" fmla="*/ 0 h 57"/>
                <a:gd name="T26" fmla="*/ 0 w 72"/>
                <a:gd name="T27" fmla="*/ 5 h 57"/>
                <a:gd name="T28" fmla="*/ 0 w 72"/>
                <a:gd name="T29" fmla="*/ 16 h 57"/>
                <a:gd name="T30" fmla="*/ 0 w 72"/>
                <a:gd name="T31" fmla="*/ 21 h 57"/>
                <a:gd name="T32" fmla="*/ 36 w 72"/>
                <a:gd name="T33" fmla="*/ 57 h 57"/>
                <a:gd name="T34" fmla="*/ 72 w 72"/>
                <a:gd name="T35" fmla="*/ 21 h 57"/>
                <a:gd name="T36" fmla="*/ 72 w 72"/>
                <a:gd name="T37" fmla="*/ 5 h 57"/>
                <a:gd name="T38" fmla="*/ 67 w 72"/>
                <a:gd name="T3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57">
                  <a:moveTo>
                    <a:pt x="67" y="4"/>
                  </a:moveTo>
                  <a:cubicBezTo>
                    <a:pt x="67" y="4"/>
                    <a:pt x="68" y="4"/>
                    <a:pt x="68" y="5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8" y="39"/>
                    <a:pt x="54" y="53"/>
                    <a:pt x="36" y="53"/>
                  </a:cubicBezTo>
                  <a:cubicBezTo>
                    <a:pt x="18" y="53"/>
                    <a:pt x="4" y="39"/>
                    <a:pt x="4" y="2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67" y="4"/>
                    <a:pt x="67" y="4"/>
                    <a:pt x="67" y="4"/>
                  </a:cubicBezTo>
                  <a:moveTo>
                    <a:pt x="67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41"/>
                    <a:pt x="16" y="57"/>
                    <a:pt x="36" y="57"/>
                  </a:cubicBezTo>
                  <a:cubicBezTo>
                    <a:pt x="56" y="57"/>
                    <a:pt x="72" y="41"/>
                    <a:pt x="72" y="21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274"/>
            <p:cNvSpPr>
              <a:spLocks/>
            </p:cNvSpPr>
            <p:nvPr/>
          </p:nvSpPr>
          <p:spPr bwMode="auto">
            <a:xfrm>
              <a:off x="4715209" y="1341762"/>
              <a:ext cx="109538" cy="92075"/>
            </a:xfrm>
            <a:custGeom>
              <a:avLst/>
              <a:gdLst>
                <a:gd name="T0" fmla="*/ 54 w 54"/>
                <a:gd name="T1" fmla="*/ 45 h 45"/>
                <a:gd name="T2" fmla="*/ 50 w 54"/>
                <a:gd name="T3" fmla="*/ 45 h 45"/>
                <a:gd name="T4" fmla="*/ 50 w 54"/>
                <a:gd name="T5" fmla="*/ 27 h 45"/>
                <a:gd name="T6" fmla="*/ 27 w 54"/>
                <a:gd name="T7" fmla="*/ 4 h 45"/>
                <a:gd name="T8" fmla="*/ 4 w 54"/>
                <a:gd name="T9" fmla="*/ 27 h 45"/>
                <a:gd name="T10" fmla="*/ 4 w 54"/>
                <a:gd name="T11" fmla="*/ 45 h 45"/>
                <a:gd name="T12" fmla="*/ 0 w 54"/>
                <a:gd name="T13" fmla="*/ 45 h 45"/>
                <a:gd name="T14" fmla="*/ 0 w 54"/>
                <a:gd name="T15" fmla="*/ 27 h 45"/>
                <a:gd name="T16" fmla="*/ 27 w 54"/>
                <a:gd name="T17" fmla="*/ 0 h 45"/>
                <a:gd name="T18" fmla="*/ 54 w 54"/>
                <a:gd name="T19" fmla="*/ 27 h 45"/>
                <a:gd name="T20" fmla="*/ 54 w 54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45">
                  <a:moveTo>
                    <a:pt x="54" y="45"/>
                  </a:moveTo>
                  <a:cubicBezTo>
                    <a:pt x="50" y="45"/>
                    <a:pt x="50" y="45"/>
                    <a:pt x="50" y="45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14"/>
                    <a:pt x="40" y="4"/>
                    <a:pt x="27" y="4"/>
                  </a:cubicBezTo>
                  <a:cubicBezTo>
                    <a:pt x="14" y="4"/>
                    <a:pt x="4" y="14"/>
                    <a:pt x="4" y="27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lnTo>
                    <a:pt x="54" y="45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275"/>
            <p:cNvSpPr>
              <a:spLocks noEditPoints="1"/>
            </p:cNvSpPr>
            <p:nvPr/>
          </p:nvSpPr>
          <p:spPr bwMode="auto">
            <a:xfrm>
              <a:off x="4745371" y="1457649"/>
              <a:ext cx="49213" cy="49213"/>
            </a:xfrm>
            <a:custGeom>
              <a:avLst/>
              <a:gdLst>
                <a:gd name="T0" fmla="*/ 12 w 24"/>
                <a:gd name="T1" fmla="*/ 4 h 24"/>
                <a:gd name="T2" fmla="*/ 20 w 24"/>
                <a:gd name="T3" fmla="*/ 12 h 24"/>
                <a:gd name="T4" fmla="*/ 12 w 24"/>
                <a:gd name="T5" fmla="*/ 20 h 24"/>
                <a:gd name="T6" fmla="*/ 4 w 24"/>
                <a:gd name="T7" fmla="*/ 12 h 24"/>
                <a:gd name="T8" fmla="*/ 12 w 24"/>
                <a:gd name="T9" fmla="*/ 4 h 24"/>
                <a:gd name="T10" fmla="*/ 12 w 24"/>
                <a:gd name="T11" fmla="*/ 0 h 24"/>
                <a:gd name="T12" fmla="*/ 0 w 24"/>
                <a:gd name="T13" fmla="*/ 12 h 24"/>
                <a:gd name="T14" fmla="*/ 12 w 24"/>
                <a:gd name="T15" fmla="*/ 24 h 24"/>
                <a:gd name="T16" fmla="*/ 24 w 24"/>
                <a:gd name="T17" fmla="*/ 12 h 24"/>
                <a:gd name="T18" fmla="*/ 12 w 24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4"/>
                  </a:moveTo>
                  <a:cubicBezTo>
                    <a:pt x="16" y="4"/>
                    <a:pt x="20" y="8"/>
                    <a:pt x="20" y="12"/>
                  </a:cubicBez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4" y="16"/>
                    <a:pt x="4" y="12"/>
                  </a:cubicBezTo>
                  <a:cubicBezTo>
                    <a:pt x="4" y="8"/>
                    <a:pt x="8" y="4"/>
                    <a:pt x="12" y="4"/>
                  </a:cubicBezTo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9" y="24"/>
                    <a:pt x="24" y="19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B05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9" name="TextBox 118"/>
          <p:cNvSpPr txBox="1"/>
          <p:nvPr/>
        </p:nvSpPr>
        <p:spPr>
          <a:xfrm>
            <a:off x="5930235" y="945296"/>
            <a:ext cx="19216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eSK.SR.ECKA</a:t>
            </a:r>
            <a:r>
              <a:rPr lang="pl-PL" sz="800" dirty="0" smtClean="0">
                <a:solidFill>
                  <a:srgbClr val="00B050"/>
                </a:solidFill>
              </a:rPr>
              <a:t> -&gt; </a:t>
            </a:r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326067" y="1974948"/>
            <a:ext cx="141982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Signature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>
                <a:solidFill>
                  <a:srgbClr val="00B050"/>
                </a:solidFill>
              </a:rPr>
              <a:t>Derivation</a:t>
            </a:r>
            <a:r>
              <a:rPr lang="pl-PL" sz="800" dirty="0">
                <a:solidFill>
                  <a:srgbClr val="00B050"/>
                </a:solidFill>
              </a:rPr>
              <a:t> </a:t>
            </a:r>
            <a:r>
              <a:rPr lang="pl-PL" sz="800" dirty="0" err="1">
                <a:solidFill>
                  <a:srgbClr val="00B050"/>
                </a:solidFill>
              </a:rPr>
              <a:t>Random</a:t>
            </a:r>
            <a:endParaRPr lang="pl-PL" sz="800" dirty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Receip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Deriv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KeySet</a:t>
            </a:r>
            <a:endParaRPr lang="pl-PL" sz="800" dirty="0">
              <a:solidFill>
                <a:srgbClr val="00B050"/>
              </a:solidFill>
            </a:endParaRPr>
          </a:p>
          <a:p>
            <a:endParaRPr lang="pl-PL" sz="800" dirty="0" smtClean="0">
              <a:solidFill>
                <a:srgbClr val="00B050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2254114" y="4114517"/>
            <a:ext cx="15167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chemeClr val="tx2"/>
                </a:solidFill>
              </a:rPr>
              <a:t>ePK.SR.ECKA</a:t>
            </a:r>
            <a:r>
              <a:rPr lang="pl-PL" sz="800" dirty="0" smtClean="0">
                <a:solidFill>
                  <a:schemeClr val="tx2"/>
                </a:solidFill>
              </a:rPr>
              <a:t>, </a:t>
            </a:r>
            <a:r>
              <a:rPr lang="pl-PL" sz="800" dirty="0" err="1" smtClean="0">
                <a:solidFill>
                  <a:schemeClr val="tx2"/>
                </a:solidFill>
              </a:rPr>
              <a:t>Signature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Receipt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Derivation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417876" y="3152852"/>
            <a:ext cx="1511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chemeClr val="tx2"/>
                </a:solidFill>
              </a:rPr>
              <a:t>Derivation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Derived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KeySet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Receipt</a:t>
            </a:r>
            <a:endParaRPr lang="pl-PL" sz="800" dirty="0">
              <a:solidFill>
                <a:schemeClr val="tx2"/>
              </a:solidFill>
            </a:endParaRPr>
          </a:p>
        </p:txBody>
      </p:sp>
      <p:cxnSp>
        <p:nvCxnSpPr>
          <p:cNvPr id="113" name="Elbow Connector 112"/>
          <p:cNvCxnSpPr/>
          <p:nvPr/>
        </p:nvCxnSpPr>
        <p:spPr>
          <a:xfrm flipV="1">
            <a:off x="3785244" y="1403359"/>
            <a:ext cx="1384942" cy="68020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4" name="Elbow Connector 113"/>
          <p:cNvCxnSpPr/>
          <p:nvPr/>
        </p:nvCxnSpPr>
        <p:spPr>
          <a:xfrm flipH="1">
            <a:off x="3770892" y="1578040"/>
            <a:ext cx="1700126" cy="639783"/>
          </a:xfrm>
          <a:prstGeom prst="bentConnector3">
            <a:avLst>
              <a:gd name="adj1" fmla="val -849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2" name="TextBox 121"/>
          <p:cNvSpPr txBox="1"/>
          <p:nvPr/>
        </p:nvSpPr>
        <p:spPr>
          <a:xfrm>
            <a:off x="3877947" y="846054"/>
            <a:ext cx="14052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Shared</a:t>
            </a:r>
            <a:r>
              <a:rPr lang="pl-PL" sz="1000" dirty="0" smtClean="0">
                <a:solidFill>
                  <a:srgbClr val="00B050"/>
                </a:solidFill>
              </a:rPr>
              <a:t> </a:t>
            </a:r>
            <a:r>
              <a:rPr lang="pl-PL" sz="1000" dirty="0" err="1" smtClean="0">
                <a:solidFill>
                  <a:srgbClr val="00B050"/>
                </a:solidFill>
              </a:rPr>
              <a:t>Secret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+ </a:t>
            </a:r>
            <a:r>
              <a:rPr lang="pl-PL" sz="1000" dirty="0" err="1" smtClean="0">
                <a:solidFill>
                  <a:srgbClr val="00B050"/>
                </a:solidFill>
              </a:rPr>
              <a:t>Derivation</a:t>
            </a:r>
            <a:r>
              <a:rPr lang="pl-PL" sz="1000" dirty="0" smtClean="0">
                <a:solidFill>
                  <a:srgbClr val="00B050"/>
                </a:solidFill>
              </a:rPr>
              <a:t> </a:t>
            </a:r>
            <a:r>
              <a:rPr lang="pl-PL" sz="1000" dirty="0" err="1" smtClean="0">
                <a:solidFill>
                  <a:srgbClr val="00B050"/>
                </a:solidFill>
              </a:rPr>
              <a:t>Random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+ Magic Dust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4323717" y="2267664"/>
            <a:ext cx="1405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Receipt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+ </a:t>
            </a:r>
            <a:r>
              <a:rPr lang="pl-PL" sz="1000" dirty="0" err="1" smtClean="0">
                <a:solidFill>
                  <a:srgbClr val="00B050"/>
                </a:solidFill>
              </a:rPr>
              <a:t>KeySet</a:t>
            </a:r>
            <a:endParaRPr lang="pl-PL" sz="1000" dirty="0" smtClean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504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21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73" name="Freeform 581"/>
          <p:cNvSpPr>
            <a:spLocks/>
          </p:cNvSpPr>
          <p:nvPr/>
        </p:nvSpPr>
        <p:spPr bwMode="auto">
          <a:xfrm>
            <a:off x="7656289" y="2769583"/>
            <a:ext cx="55563" cy="174625"/>
          </a:xfrm>
          <a:custGeom>
            <a:avLst/>
            <a:gdLst>
              <a:gd name="T0" fmla="*/ 24 w 27"/>
              <a:gd name="T1" fmla="*/ 85 h 85"/>
              <a:gd name="T2" fmla="*/ 24 w 27"/>
              <a:gd name="T3" fmla="*/ 0 h 85"/>
              <a:gd name="T4" fmla="*/ 27 w 27"/>
              <a:gd name="T5" fmla="*/ 3 h 85"/>
              <a:gd name="T6" fmla="*/ 27 w 27"/>
              <a:gd name="T7" fmla="*/ 82 h 85"/>
              <a:gd name="T8" fmla="*/ 24 w 27"/>
              <a:gd name="T9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85">
                <a:moveTo>
                  <a:pt x="24" y="85"/>
                </a:moveTo>
                <a:cubicBezTo>
                  <a:pt x="0" y="62"/>
                  <a:pt x="0" y="23"/>
                  <a:pt x="24" y="0"/>
                </a:cubicBezTo>
                <a:cubicBezTo>
                  <a:pt x="27" y="3"/>
                  <a:pt x="27" y="3"/>
                  <a:pt x="27" y="3"/>
                </a:cubicBezTo>
                <a:cubicBezTo>
                  <a:pt x="5" y="25"/>
                  <a:pt x="5" y="60"/>
                  <a:pt x="27" y="82"/>
                </a:cubicBezTo>
                <a:lnTo>
                  <a:pt x="24" y="85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582"/>
          <p:cNvSpPr>
            <a:spLocks/>
          </p:cNvSpPr>
          <p:nvPr/>
        </p:nvSpPr>
        <p:spPr bwMode="auto">
          <a:xfrm>
            <a:off x="7621364" y="2726721"/>
            <a:ext cx="60325" cy="260350"/>
          </a:xfrm>
          <a:custGeom>
            <a:avLst/>
            <a:gdLst>
              <a:gd name="T0" fmla="*/ 27 w 29"/>
              <a:gd name="T1" fmla="*/ 127 h 127"/>
              <a:gd name="T2" fmla="*/ 0 w 29"/>
              <a:gd name="T3" fmla="*/ 63 h 127"/>
              <a:gd name="T4" fmla="*/ 27 w 29"/>
              <a:gd name="T5" fmla="*/ 0 h 127"/>
              <a:gd name="T6" fmla="*/ 29 w 29"/>
              <a:gd name="T7" fmla="*/ 3 h 127"/>
              <a:gd name="T8" fmla="*/ 4 w 29"/>
              <a:gd name="T9" fmla="*/ 63 h 127"/>
              <a:gd name="T10" fmla="*/ 29 w 29"/>
              <a:gd name="T11" fmla="*/ 124 h 127"/>
              <a:gd name="T12" fmla="*/ 27 w 29"/>
              <a:gd name="T13" fmla="*/ 127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127">
                <a:moveTo>
                  <a:pt x="27" y="127"/>
                </a:moveTo>
                <a:cubicBezTo>
                  <a:pt x="10" y="110"/>
                  <a:pt x="0" y="87"/>
                  <a:pt x="0" y="63"/>
                </a:cubicBezTo>
                <a:cubicBezTo>
                  <a:pt x="0" y="40"/>
                  <a:pt x="10" y="17"/>
                  <a:pt x="27" y="0"/>
                </a:cubicBezTo>
                <a:cubicBezTo>
                  <a:pt x="29" y="3"/>
                  <a:pt x="29" y="3"/>
                  <a:pt x="29" y="3"/>
                </a:cubicBezTo>
                <a:cubicBezTo>
                  <a:pt x="13" y="19"/>
                  <a:pt x="4" y="41"/>
                  <a:pt x="4" y="63"/>
                </a:cubicBezTo>
                <a:cubicBezTo>
                  <a:pt x="4" y="86"/>
                  <a:pt x="13" y="108"/>
                  <a:pt x="29" y="124"/>
                </a:cubicBezTo>
                <a:lnTo>
                  <a:pt x="27" y="127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583"/>
          <p:cNvSpPr>
            <a:spLocks/>
          </p:cNvSpPr>
          <p:nvPr/>
        </p:nvSpPr>
        <p:spPr bwMode="auto">
          <a:xfrm>
            <a:off x="7549927" y="2687033"/>
            <a:ext cx="100013" cy="341313"/>
          </a:xfrm>
          <a:custGeom>
            <a:avLst/>
            <a:gdLst>
              <a:gd name="T0" fmla="*/ 46 w 49"/>
              <a:gd name="T1" fmla="*/ 167 h 167"/>
              <a:gd name="T2" fmla="*/ 46 w 49"/>
              <a:gd name="T3" fmla="*/ 0 h 167"/>
              <a:gd name="T4" fmla="*/ 49 w 49"/>
              <a:gd name="T5" fmla="*/ 2 h 167"/>
              <a:gd name="T6" fmla="*/ 49 w 49"/>
              <a:gd name="T7" fmla="*/ 165 h 167"/>
              <a:gd name="T8" fmla="*/ 46 w 49"/>
              <a:gd name="T9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167">
                <a:moveTo>
                  <a:pt x="46" y="167"/>
                </a:moveTo>
                <a:cubicBezTo>
                  <a:pt x="0" y="121"/>
                  <a:pt x="0" y="46"/>
                  <a:pt x="46" y="0"/>
                </a:cubicBezTo>
                <a:cubicBezTo>
                  <a:pt x="49" y="2"/>
                  <a:pt x="49" y="2"/>
                  <a:pt x="49" y="2"/>
                </a:cubicBezTo>
                <a:cubicBezTo>
                  <a:pt x="4" y="47"/>
                  <a:pt x="4" y="120"/>
                  <a:pt x="49" y="165"/>
                </a:cubicBezTo>
                <a:lnTo>
                  <a:pt x="46" y="167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584"/>
          <p:cNvSpPr>
            <a:spLocks/>
          </p:cNvSpPr>
          <p:nvPr/>
        </p:nvSpPr>
        <p:spPr bwMode="auto">
          <a:xfrm>
            <a:off x="7522939" y="2644171"/>
            <a:ext cx="95250" cy="427038"/>
          </a:xfrm>
          <a:custGeom>
            <a:avLst/>
            <a:gdLst>
              <a:gd name="T0" fmla="*/ 43 w 46"/>
              <a:gd name="T1" fmla="*/ 209 h 209"/>
              <a:gd name="T2" fmla="*/ 0 w 46"/>
              <a:gd name="T3" fmla="*/ 104 h 209"/>
              <a:gd name="T4" fmla="*/ 43 w 46"/>
              <a:gd name="T5" fmla="*/ 0 h 209"/>
              <a:gd name="T6" fmla="*/ 46 w 46"/>
              <a:gd name="T7" fmla="*/ 3 h 209"/>
              <a:gd name="T8" fmla="*/ 4 w 46"/>
              <a:gd name="T9" fmla="*/ 104 h 209"/>
              <a:gd name="T10" fmla="*/ 46 w 46"/>
              <a:gd name="T11" fmla="*/ 206 h 209"/>
              <a:gd name="T12" fmla="*/ 43 w 46"/>
              <a:gd name="T13" fmla="*/ 20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209">
                <a:moveTo>
                  <a:pt x="43" y="209"/>
                </a:moveTo>
                <a:cubicBezTo>
                  <a:pt x="15" y="181"/>
                  <a:pt x="0" y="144"/>
                  <a:pt x="0" y="104"/>
                </a:cubicBezTo>
                <a:cubicBezTo>
                  <a:pt x="0" y="65"/>
                  <a:pt x="15" y="28"/>
                  <a:pt x="43" y="0"/>
                </a:cubicBezTo>
                <a:cubicBezTo>
                  <a:pt x="46" y="3"/>
                  <a:pt x="46" y="3"/>
                  <a:pt x="46" y="3"/>
                </a:cubicBezTo>
                <a:cubicBezTo>
                  <a:pt x="19" y="30"/>
                  <a:pt x="4" y="66"/>
                  <a:pt x="4" y="104"/>
                </a:cubicBezTo>
                <a:cubicBezTo>
                  <a:pt x="4" y="143"/>
                  <a:pt x="19" y="179"/>
                  <a:pt x="46" y="206"/>
                </a:cubicBezTo>
                <a:lnTo>
                  <a:pt x="43" y="209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585"/>
          <p:cNvSpPr>
            <a:spLocks/>
          </p:cNvSpPr>
          <p:nvPr/>
        </p:nvSpPr>
        <p:spPr bwMode="auto">
          <a:xfrm>
            <a:off x="7932514" y="2769583"/>
            <a:ext cx="53975" cy="174625"/>
          </a:xfrm>
          <a:custGeom>
            <a:avLst/>
            <a:gdLst>
              <a:gd name="T0" fmla="*/ 3 w 26"/>
              <a:gd name="T1" fmla="*/ 85 h 85"/>
              <a:gd name="T2" fmla="*/ 0 w 26"/>
              <a:gd name="T3" fmla="*/ 82 h 85"/>
              <a:gd name="T4" fmla="*/ 0 w 26"/>
              <a:gd name="T5" fmla="*/ 3 h 85"/>
              <a:gd name="T6" fmla="*/ 3 w 26"/>
              <a:gd name="T7" fmla="*/ 0 h 85"/>
              <a:gd name="T8" fmla="*/ 3 w 26"/>
              <a:gd name="T9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85">
                <a:moveTo>
                  <a:pt x="3" y="85"/>
                </a:moveTo>
                <a:cubicBezTo>
                  <a:pt x="0" y="82"/>
                  <a:pt x="0" y="82"/>
                  <a:pt x="0" y="82"/>
                </a:cubicBezTo>
                <a:cubicBezTo>
                  <a:pt x="22" y="60"/>
                  <a:pt x="22" y="25"/>
                  <a:pt x="0" y="3"/>
                </a:cubicBezTo>
                <a:cubicBezTo>
                  <a:pt x="3" y="0"/>
                  <a:pt x="3" y="0"/>
                  <a:pt x="3" y="0"/>
                </a:cubicBezTo>
                <a:cubicBezTo>
                  <a:pt x="26" y="23"/>
                  <a:pt x="26" y="62"/>
                  <a:pt x="3" y="85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586"/>
          <p:cNvSpPr>
            <a:spLocks/>
          </p:cNvSpPr>
          <p:nvPr/>
        </p:nvSpPr>
        <p:spPr bwMode="auto">
          <a:xfrm>
            <a:off x="7961089" y="2726721"/>
            <a:ext cx="60325" cy="260350"/>
          </a:xfrm>
          <a:custGeom>
            <a:avLst/>
            <a:gdLst>
              <a:gd name="T0" fmla="*/ 3 w 29"/>
              <a:gd name="T1" fmla="*/ 127 h 127"/>
              <a:gd name="T2" fmla="*/ 0 w 29"/>
              <a:gd name="T3" fmla="*/ 124 h 127"/>
              <a:gd name="T4" fmla="*/ 25 w 29"/>
              <a:gd name="T5" fmla="*/ 63 h 127"/>
              <a:gd name="T6" fmla="*/ 0 w 29"/>
              <a:gd name="T7" fmla="*/ 3 h 127"/>
              <a:gd name="T8" fmla="*/ 3 w 29"/>
              <a:gd name="T9" fmla="*/ 0 h 127"/>
              <a:gd name="T10" fmla="*/ 29 w 29"/>
              <a:gd name="T11" fmla="*/ 63 h 127"/>
              <a:gd name="T12" fmla="*/ 3 w 29"/>
              <a:gd name="T13" fmla="*/ 127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127">
                <a:moveTo>
                  <a:pt x="3" y="127"/>
                </a:moveTo>
                <a:cubicBezTo>
                  <a:pt x="0" y="124"/>
                  <a:pt x="0" y="124"/>
                  <a:pt x="0" y="124"/>
                </a:cubicBezTo>
                <a:cubicBezTo>
                  <a:pt x="17" y="108"/>
                  <a:pt x="25" y="86"/>
                  <a:pt x="25" y="63"/>
                </a:cubicBezTo>
                <a:cubicBezTo>
                  <a:pt x="25" y="41"/>
                  <a:pt x="17" y="19"/>
                  <a:pt x="0" y="3"/>
                </a:cubicBezTo>
                <a:cubicBezTo>
                  <a:pt x="3" y="0"/>
                  <a:pt x="3" y="0"/>
                  <a:pt x="3" y="0"/>
                </a:cubicBezTo>
                <a:cubicBezTo>
                  <a:pt x="20" y="17"/>
                  <a:pt x="29" y="40"/>
                  <a:pt x="29" y="63"/>
                </a:cubicBezTo>
                <a:cubicBezTo>
                  <a:pt x="29" y="87"/>
                  <a:pt x="20" y="110"/>
                  <a:pt x="3" y="127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587"/>
          <p:cNvSpPr>
            <a:spLocks/>
          </p:cNvSpPr>
          <p:nvPr/>
        </p:nvSpPr>
        <p:spPr bwMode="auto">
          <a:xfrm>
            <a:off x="7994427" y="2687033"/>
            <a:ext cx="100013" cy="341313"/>
          </a:xfrm>
          <a:custGeom>
            <a:avLst/>
            <a:gdLst>
              <a:gd name="T0" fmla="*/ 2 w 49"/>
              <a:gd name="T1" fmla="*/ 167 h 167"/>
              <a:gd name="T2" fmla="*/ 0 w 49"/>
              <a:gd name="T3" fmla="*/ 165 h 167"/>
              <a:gd name="T4" fmla="*/ 0 w 49"/>
              <a:gd name="T5" fmla="*/ 2 h 167"/>
              <a:gd name="T6" fmla="*/ 2 w 49"/>
              <a:gd name="T7" fmla="*/ 0 h 167"/>
              <a:gd name="T8" fmla="*/ 2 w 49"/>
              <a:gd name="T9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167">
                <a:moveTo>
                  <a:pt x="2" y="167"/>
                </a:moveTo>
                <a:cubicBezTo>
                  <a:pt x="0" y="165"/>
                  <a:pt x="0" y="165"/>
                  <a:pt x="0" y="165"/>
                </a:cubicBezTo>
                <a:cubicBezTo>
                  <a:pt x="44" y="120"/>
                  <a:pt x="44" y="47"/>
                  <a:pt x="0" y="2"/>
                </a:cubicBezTo>
                <a:cubicBezTo>
                  <a:pt x="2" y="0"/>
                  <a:pt x="2" y="0"/>
                  <a:pt x="2" y="0"/>
                </a:cubicBezTo>
                <a:cubicBezTo>
                  <a:pt x="49" y="46"/>
                  <a:pt x="49" y="121"/>
                  <a:pt x="2" y="167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588"/>
          <p:cNvSpPr>
            <a:spLocks/>
          </p:cNvSpPr>
          <p:nvPr/>
        </p:nvSpPr>
        <p:spPr bwMode="auto">
          <a:xfrm>
            <a:off x="8027764" y="2644171"/>
            <a:ext cx="93663" cy="427038"/>
          </a:xfrm>
          <a:custGeom>
            <a:avLst/>
            <a:gdLst>
              <a:gd name="T0" fmla="*/ 3 w 46"/>
              <a:gd name="T1" fmla="*/ 209 h 209"/>
              <a:gd name="T2" fmla="*/ 0 w 46"/>
              <a:gd name="T3" fmla="*/ 206 h 209"/>
              <a:gd name="T4" fmla="*/ 42 w 46"/>
              <a:gd name="T5" fmla="*/ 104 h 209"/>
              <a:gd name="T6" fmla="*/ 0 w 46"/>
              <a:gd name="T7" fmla="*/ 3 h 209"/>
              <a:gd name="T8" fmla="*/ 3 w 46"/>
              <a:gd name="T9" fmla="*/ 0 h 209"/>
              <a:gd name="T10" fmla="*/ 46 w 46"/>
              <a:gd name="T11" fmla="*/ 104 h 209"/>
              <a:gd name="T12" fmla="*/ 3 w 46"/>
              <a:gd name="T13" fmla="*/ 20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209">
                <a:moveTo>
                  <a:pt x="3" y="209"/>
                </a:moveTo>
                <a:cubicBezTo>
                  <a:pt x="0" y="206"/>
                  <a:pt x="0" y="206"/>
                  <a:pt x="0" y="206"/>
                </a:cubicBezTo>
                <a:cubicBezTo>
                  <a:pt x="27" y="179"/>
                  <a:pt x="42" y="143"/>
                  <a:pt x="42" y="104"/>
                </a:cubicBezTo>
                <a:cubicBezTo>
                  <a:pt x="42" y="66"/>
                  <a:pt x="27" y="30"/>
                  <a:pt x="0" y="3"/>
                </a:cubicBezTo>
                <a:cubicBezTo>
                  <a:pt x="3" y="0"/>
                  <a:pt x="3" y="0"/>
                  <a:pt x="3" y="0"/>
                </a:cubicBezTo>
                <a:cubicBezTo>
                  <a:pt x="30" y="28"/>
                  <a:pt x="46" y="65"/>
                  <a:pt x="46" y="104"/>
                </a:cubicBezTo>
                <a:cubicBezTo>
                  <a:pt x="46" y="144"/>
                  <a:pt x="30" y="181"/>
                  <a:pt x="3" y="20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589"/>
          <p:cNvSpPr>
            <a:spLocks noEditPoints="1"/>
          </p:cNvSpPr>
          <p:nvPr/>
        </p:nvSpPr>
        <p:spPr bwMode="auto">
          <a:xfrm>
            <a:off x="7742014" y="2796571"/>
            <a:ext cx="166688" cy="120650"/>
          </a:xfrm>
          <a:custGeom>
            <a:avLst/>
            <a:gdLst>
              <a:gd name="T0" fmla="*/ 105 w 105"/>
              <a:gd name="T1" fmla="*/ 76 h 76"/>
              <a:gd name="T2" fmla="*/ 0 w 105"/>
              <a:gd name="T3" fmla="*/ 76 h 76"/>
              <a:gd name="T4" fmla="*/ 0 w 105"/>
              <a:gd name="T5" fmla="*/ 0 h 76"/>
              <a:gd name="T6" fmla="*/ 105 w 105"/>
              <a:gd name="T7" fmla="*/ 0 h 76"/>
              <a:gd name="T8" fmla="*/ 105 w 105"/>
              <a:gd name="T9" fmla="*/ 76 h 76"/>
              <a:gd name="T10" fmla="*/ 6 w 105"/>
              <a:gd name="T11" fmla="*/ 71 h 76"/>
              <a:gd name="T12" fmla="*/ 100 w 105"/>
              <a:gd name="T13" fmla="*/ 71 h 76"/>
              <a:gd name="T14" fmla="*/ 100 w 105"/>
              <a:gd name="T15" fmla="*/ 5 h 76"/>
              <a:gd name="T16" fmla="*/ 6 w 105"/>
              <a:gd name="T17" fmla="*/ 5 h 76"/>
              <a:gd name="T18" fmla="*/ 6 w 105"/>
              <a:gd name="T19" fmla="*/ 71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5" h="76">
                <a:moveTo>
                  <a:pt x="105" y="76"/>
                </a:moveTo>
                <a:lnTo>
                  <a:pt x="0" y="76"/>
                </a:lnTo>
                <a:lnTo>
                  <a:pt x="0" y="0"/>
                </a:lnTo>
                <a:lnTo>
                  <a:pt x="105" y="0"/>
                </a:lnTo>
                <a:lnTo>
                  <a:pt x="105" y="76"/>
                </a:lnTo>
                <a:close/>
                <a:moveTo>
                  <a:pt x="6" y="71"/>
                </a:moveTo>
                <a:lnTo>
                  <a:pt x="100" y="71"/>
                </a:lnTo>
                <a:lnTo>
                  <a:pt x="100" y="5"/>
                </a:lnTo>
                <a:lnTo>
                  <a:pt x="6" y="5"/>
                </a:lnTo>
                <a:lnTo>
                  <a:pt x="6" y="71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Rectangle 590"/>
          <p:cNvSpPr>
            <a:spLocks noChangeArrowheads="1"/>
          </p:cNvSpPr>
          <p:nvPr/>
        </p:nvSpPr>
        <p:spPr bwMode="auto">
          <a:xfrm>
            <a:off x="7770589" y="2801333"/>
            <a:ext cx="9525" cy="112713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Rectangle 591"/>
          <p:cNvSpPr>
            <a:spLocks noChangeArrowheads="1"/>
          </p:cNvSpPr>
          <p:nvPr/>
        </p:nvSpPr>
        <p:spPr bwMode="auto">
          <a:xfrm>
            <a:off x="7746777" y="2818796"/>
            <a:ext cx="28575" cy="9525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Rectangle 592"/>
          <p:cNvSpPr>
            <a:spLocks noChangeArrowheads="1"/>
          </p:cNvSpPr>
          <p:nvPr/>
        </p:nvSpPr>
        <p:spPr bwMode="auto">
          <a:xfrm>
            <a:off x="7746777" y="284260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Rectangle 593"/>
          <p:cNvSpPr>
            <a:spLocks noChangeArrowheads="1"/>
          </p:cNvSpPr>
          <p:nvPr/>
        </p:nvSpPr>
        <p:spPr bwMode="auto">
          <a:xfrm>
            <a:off x="7746777" y="286483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594"/>
          <p:cNvSpPr>
            <a:spLocks noChangeArrowheads="1"/>
          </p:cNvSpPr>
          <p:nvPr/>
        </p:nvSpPr>
        <p:spPr bwMode="auto">
          <a:xfrm>
            <a:off x="7746777" y="288705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Rectangle 595"/>
          <p:cNvSpPr>
            <a:spLocks noChangeArrowheads="1"/>
          </p:cNvSpPr>
          <p:nvPr/>
        </p:nvSpPr>
        <p:spPr bwMode="auto">
          <a:xfrm>
            <a:off x="7746777" y="290928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596"/>
          <p:cNvSpPr>
            <a:spLocks noChangeArrowheads="1"/>
          </p:cNvSpPr>
          <p:nvPr/>
        </p:nvSpPr>
        <p:spPr bwMode="auto">
          <a:xfrm>
            <a:off x="7872189" y="2801333"/>
            <a:ext cx="7938" cy="112713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Rectangle 597"/>
          <p:cNvSpPr>
            <a:spLocks noChangeArrowheads="1"/>
          </p:cNvSpPr>
          <p:nvPr/>
        </p:nvSpPr>
        <p:spPr bwMode="auto">
          <a:xfrm>
            <a:off x="7875364" y="290928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598"/>
          <p:cNvSpPr>
            <a:spLocks noChangeArrowheads="1"/>
          </p:cNvSpPr>
          <p:nvPr/>
        </p:nvSpPr>
        <p:spPr bwMode="auto">
          <a:xfrm>
            <a:off x="7875364" y="288705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Rectangle 599"/>
          <p:cNvSpPr>
            <a:spLocks noChangeArrowheads="1"/>
          </p:cNvSpPr>
          <p:nvPr/>
        </p:nvSpPr>
        <p:spPr bwMode="auto">
          <a:xfrm>
            <a:off x="7875364" y="286483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600"/>
          <p:cNvSpPr>
            <a:spLocks noChangeArrowheads="1"/>
          </p:cNvSpPr>
          <p:nvPr/>
        </p:nvSpPr>
        <p:spPr bwMode="auto">
          <a:xfrm>
            <a:off x="7875364" y="284260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Rectangle 601"/>
          <p:cNvSpPr>
            <a:spLocks noChangeArrowheads="1"/>
          </p:cNvSpPr>
          <p:nvPr/>
        </p:nvSpPr>
        <p:spPr bwMode="auto">
          <a:xfrm>
            <a:off x="7875364" y="2818796"/>
            <a:ext cx="28575" cy="9525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07715" y="2510276"/>
            <a:ext cx="87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PK.SR.ECDSA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326067" y="1974948"/>
            <a:ext cx="141982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Signature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>
                <a:solidFill>
                  <a:srgbClr val="00B050"/>
                </a:solidFill>
              </a:rPr>
              <a:t>Derivation</a:t>
            </a:r>
            <a:r>
              <a:rPr lang="pl-PL" sz="800" dirty="0">
                <a:solidFill>
                  <a:srgbClr val="00B050"/>
                </a:solidFill>
              </a:rPr>
              <a:t> </a:t>
            </a:r>
            <a:r>
              <a:rPr lang="pl-PL" sz="800" dirty="0" err="1">
                <a:solidFill>
                  <a:srgbClr val="00B050"/>
                </a:solidFill>
              </a:rPr>
              <a:t>Random</a:t>
            </a:r>
            <a:endParaRPr lang="pl-PL" sz="800" dirty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Receip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Deriv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KeySet</a:t>
            </a:r>
            <a:endParaRPr lang="pl-PL" sz="800" dirty="0">
              <a:solidFill>
                <a:srgbClr val="00B050"/>
              </a:solidFill>
            </a:endParaRPr>
          </a:p>
          <a:p>
            <a:endParaRPr lang="pl-PL" sz="800" dirty="0" smtClean="0">
              <a:solidFill>
                <a:srgbClr val="00B050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2254114" y="4114517"/>
            <a:ext cx="15167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chemeClr val="tx2"/>
                </a:solidFill>
              </a:rPr>
              <a:t>ePK.SR.ECKA</a:t>
            </a:r>
            <a:r>
              <a:rPr lang="pl-PL" sz="800" dirty="0" smtClean="0">
                <a:solidFill>
                  <a:schemeClr val="tx2"/>
                </a:solidFill>
              </a:rPr>
              <a:t>, </a:t>
            </a:r>
            <a:r>
              <a:rPr lang="pl-PL" sz="800" dirty="0" err="1" smtClean="0">
                <a:solidFill>
                  <a:schemeClr val="tx2"/>
                </a:solidFill>
              </a:rPr>
              <a:t>Signature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Receipt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Derivation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417876" y="3152852"/>
            <a:ext cx="1511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Derivation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Deriv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KeySe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Receipt</a:t>
            </a:r>
            <a:endParaRPr lang="pl-PL" sz="800" dirty="0">
              <a:solidFill>
                <a:srgbClr val="00B050"/>
              </a:solidFill>
            </a:endParaRPr>
          </a:p>
        </p:txBody>
      </p:sp>
      <p:cxnSp>
        <p:nvCxnSpPr>
          <p:cNvPr id="107" name="Elbow Connector 106"/>
          <p:cNvCxnSpPr/>
          <p:nvPr/>
        </p:nvCxnSpPr>
        <p:spPr>
          <a:xfrm>
            <a:off x="3770891" y="1577947"/>
            <a:ext cx="1755969" cy="1538714"/>
          </a:xfrm>
          <a:prstGeom prst="bentConnector3">
            <a:avLst>
              <a:gd name="adj1" fmla="val 50000"/>
            </a:avLst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4819965" y="2054868"/>
            <a:ext cx="18653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smtClean="0">
                <a:solidFill>
                  <a:srgbClr val="00B050"/>
                </a:solidFill>
              </a:rPr>
              <a:t>2) </a:t>
            </a:r>
            <a:r>
              <a:rPr lang="pl-PL" sz="1000" dirty="0" err="1" smtClean="0">
                <a:solidFill>
                  <a:srgbClr val="00B050"/>
                </a:solidFill>
              </a:rPr>
              <a:t>FinalizeISDRHandover</a:t>
            </a:r>
            <a:endParaRPr lang="pl-PL" sz="1000" dirty="0" smtClean="0">
              <a:solidFill>
                <a:srgbClr val="00B050"/>
              </a:solidFill>
            </a:endParaRPr>
          </a:p>
          <a:p>
            <a:pPr marL="171450" indent="-171450">
              <a:buFontTx/>
              <a:buChar char="-"/>
            </a:pPr>
            <a:r>
              <a:rPr lang="pl-PL" sz="1000" dirty="0" err="1" smtClean="0">
                <a:solidFill>
                  <a:srgbClr val="00B050"/>
                </a:solidFill>
              </a:rPr>
              <a:t>Delete</a:t>
            </a:r>
            <a:r>
              <a:rPr lang="pl-PL" sz="1000" dirty="0" smtClean="0">
                <a:solidFill>
                  <a:srgbClr val="00B050"/>
                </a:solidFill>
              </a:rPr>
              <a:t> </a:t>
            </a:r>
            <a:r>
              <a:rPr lang="pl-PL" sz="1000" dirty="0" err="1" smtClean="0">
                <a:solidFill>
                  <a:srgbClr val="00B050"/>
                </a:solidFill>
              </a:rPr>
              <a:t>old</a:t>
            </a:r>
            <a:r>
              <a:rPr lang="pl-PL" sz="1000" dirty="0" smtClean="0">
                <a:solidFill>
                  <a:srgbClr val="00B050"/>
                </a:solidFill>
              </a:rPr>
              <a:t> </a:t>
            </a:r>
            <a:r>
              <a:rPr lang="pl-PL" sz="1000" dirty="0" err="1" smtClean="0">
                <a:solidFill>
                  <a:srgbClr val="00B050"/>
                </a:solidFill>
              </a:rPr>
              <a:t>keys</a:t>
            </a:r>
            <a:endParaRPr lang="pl-PL" sz="1000" dirty="0" smtClean="0">
              <a:solidFill>
                <a:srgbClr val="00B050"/>
              </a:solidFill>
            </a:endParaRPr>
          </a:p>
          <a:p>
            <a:pPr marL="171450" indent="-171450">
              <a:buFontTx/>
              <a:buChar char="-"/>
            </a:pPr>
            <a:r>
              <a:rPr lang="pl-PL" sz="1000" dirty="0" smtClean="0">
                <a:solidFill>
                  <a:srgbClr val="00B050"/>
                </a:solidFill>
              </a:rPr>
              <a:t>Update HTTP </a:t>
            </a:r>
            <a:r>
              <a:rPr lang="pl-PL" sz="1000" dirty="0" err="1" smtClean="0">
                <a:solidFill>
                  <a:srgbClr val="00B050"/>
                </a:solidFill>
              </a:rPr>
              <a:t>security</a:t>
            </a:r>
            <a:endParaRPr lang="pl-PL" sz="1000" dirty="0" smtClean="0">
              <a:solidFill>
                <a:srgbClr val="00B050"/>
              </a:solidFill>
            </a:endParaRPr>
          </a:p>
          <a:p>
            <a:pPr marL="171450" indent="-171450">
              <a:buFontTx/>
              <a:buChar char="-"/>
            </a:pPr>
            <a:r>
              <a:rPr lang="pl-PL" sz="1000" dirty="0" smtClean="0">
                <a:solidFill>
                  <a:srgbClr val="00B050"/>
                </a:solidFill>
              </a:rPr>
              <a:t>Update HTTP </a:t>
            </a:r>
            <a:r>
              <a:rPr lang="pl-PL" sz="1000" dirty="0" err="1" smtClean="0">
                <a:solidFill>
                  <a:srgbClr val="00B050"/>
                </a:solidFill>
              </a:rPr>
              <a:t>connectivity</a:t>
            </a:r>
            <a:endParaRPr lang="pl-PL" sz="1000" dirty="0" smtClean="0">
              <a:solidFill>
                <a:srgbClr val="00B050"/>
              </a:solidFill>
            </a:endParaRPr>
          </a:p>
          <a:p>
            <a:pPr marL="171450" indent="-171450">
              <a:buFontTx/>
              <a:buChar char="-"/>
            </a:pPr>
            <a:r>
              <a:rPr lang="pl-PL" sz="1000" dirty="0" smtClean="0">
                <a:solidFill>
                  <a:srgbClr val="00B050"/>
                </a:solidFill>
              </a:rPr>
              <a:t>Update SMS </a:t>
            </a:r>
            <a:r>
              <a:rPr lang="pl-PL" sz="1000" dirty="0" err="1" smtClean="0">
                <a:solidFill>
                  <a:srgbClr val="00B050"/>
                </a:solidFill>
              </a:rPr>
              <a:t>connectivity</a:t>
            </a:r>
            <a:endParaRPr lang="pl-PL" sz="1000" dirty="0" smtClean="0">
              <a:solidFill>
                <a:srgbClr val="00B050"/>
              </a:solidFill>
            </a:endParaRPr>
          </a:p>
          <a:p>
            <a:endParaRPr lang="pl-PL" sz="1000" dirty="0" smtClean="0">
              <a:solidFill>
                <a:srgbClr val="00B050"/>
              </a:solidFill>
            </a:endParaRPr>
          </a:p>
        </p:txBody>
      </p:sp>
      <p:sp>
        <p:nvSpPr>
          <p:cNvPr id="117" name="Freeform 258"/>
          <p:cNvSpPr>
            <a:spLocks/>
          </p:cNvSpPr>
          <p:nvPr/>
        </p:nvSpPr>
        <p:spPr bwMode="auto">
          <a:xfrm>
            <a:off x="5669385" y="3332333"/>
            <a:ext cx="67642" cy="67642"/>
          </a:xfrm>
          <a:custGeom>
            <a:avLst/>
            <a:gdLst>
              <a:gd name="T0" fmla="*/ 62 w 62"/>
              <a:gd name="T1" fmla="*/ 62 h 62"/>
              <a:gd name="T2" fmla="*/ 0 w 62"/>
              <a:gd name="T3" fmla="*/ 0 h 62"/>
              <a:gd name="T4" fmla="*/ 4 w 62"/>
              <a:gd name="T5" fmla="*/ 0 h 62"/>
              <a:gd name="T6" fmla="*/ 62 w 62"/>
              <a:gd name="T7" fmla="*/ 58 h 62"/>
              <a:gd name="T8" fmla="*/ 62 w 62"/>
              <a:gd name="T9" fmla="*/ 62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2" h="62">
                <a:moveTo>
                  <a:pt x="62" y="62"/>
                </a:moveTo>
                <a:cubicBezTo>
                  <a:pt x="27" y="62"/>
                  <a:pt x="0" y="34"/>
                  <a:pt x="0" y="0"/>
                </a:cubicBezTo>
                <a:cubicBezTo>
                  <a:pt x="4" y="0"/>
                  <a:pt x="4" y="0"/>
                  <a:pt x="4" y="0"/>
                </a:cubicBezTo>
                <a:cubicBezTo>
                  <a:pt x="4" y="32"/>
                  <a:pt x="30" y="58"/>
                  <a:pt x="62" y="58"/>
                </a:cubicBezTo>
                <a:lnTo>
                  <a:pt x="62" y="6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259"/>
          <p:cNvSpPr>
            <a:spLocks/>
          </p:cNvSpPr>
          <p:nvPr/>
        </p:nvSpPr>
        <p:spPr bwMode="auto">
          <a:xfrm>
            <a:off x="5682068" y="3332333"/>
            <a:ext cx="54960" cy="54960"/>
          </a:xfrm>
          <a:custGeom>
            <a:avLst/>
            <a:gdLst>
              <a:gd name="T0" fmla="*/ 50 w 50"/>
              <a:gd name="T1" fmla="*/ 50 h 50"/>
              <a:gd name="T2" fmla="*/ 0 w 50"/>
              <a:gd name="T3" fmla="*/ 0 h 50"/>
              <a:gd name="T4" fmla="*/ 4 w 50"/>
              <a:gd name="T5" fmla="*/ 0 h 50"/>
              <a:gd name="T6" fmla="*/ 50 w 50"/>
              <a:gd name="T7" fmla="*/ 46 h 50"/>
              <a:gd name="T8" fmla="*/ 50 w 50"/>
              <a:gd name="T9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50">
                <a:moveTo>
                  <a:pt x="50" y="50"/>
                </a:moveTo>
                <a:cubicBezTo>
                  <a:pt x="22" y="50"/>
                  <a:pt x="0" y="28"/>
                  <a:pt x="0" y="0"/>
                </a:cubicBezTo>
                <a:cubicBezTo>
                  <a:pt x="4" y="0"/>
                  <a:pt x="4" y="0"/>
                  <a:pt x="4" y="0"/>
                </a:cubicBezTo>
                <a:cubicBezTo>
                  <a:pt x="4" y="25"/>
                  <a:pt x="24" y="46"/>
                  <a:pt x="50" y="46"/>
                </a:cubicBezTo>
                <a:lnTo>
                  <a:pt x="50" y="50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260"/>
          <p:cNvSpPr>
            <a:spLocks/>
          </p:cNvSpPr>
          <p:nvPr/>
        </p:nvSpPr>
        <p:spPr bwMode="auto">
          <a:xfrm>
            <a:off x="5695597" y="3332333"/>
            <a:ext cx="41431" cy="41431"/>
          </a:xfrm>
          <a:custGeom>
            <a:avLst/>
            <a:gdLst>
              <a:gd name="T0" fmla="*/ 38 w 38"/>
              <a:gd name="T1" fmla="*/ 38 h 38"/>
              <a:gd name="T2" fmla="*/ 0 w 38"/>
              <a:gd name="T3" fmla="*/ 0 h 38"/>
              <a:gd name="T4" fmla="*/ 4 w 38"/>
              <a:gd name="T5" fmla="*/ 0 h 38"/>
              <a:gd name="T6" fmla="*/ 38 w 38"/>
              <a:gd name="T7" fmla="*/ 34 h 38"/>
              <a:gd name="T8" fmla="*/ 38 w 38"/>
              <a:gd name="T9" fmla="*/ 38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" h="38">
                <a:moveTo>
                  <a:pt x="38" y="38"/>
                </a:moveTo>
                <a:cubicBezTo>
                  <a:pt x="17" y="38"/>
                  <a:pt x="0" y="21"/>
                  <a:pt x="0" y="0"/>
                </a:cubicBezTo>
                <a:cubicBezTo>
                  <a:pt x="4" y="0"/>
                  <a:pt x="4" y="0"/>
                  <a:pt x="4" y="0"/>
                </a:cubicBezTo>
                <a:cubicBezTo>
                  <a:pt x="4" y="19"/>
                  <a:pt x="19" y="34"/>
                  <a:pt x="38" y="34"/>
                </a:cubicBezTo>
                <a:lnTo>
                  <a:pt x="38" y="38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261"/>
          <p:cNvSpPr>
            <a:spLocks/>
          </p:cNvSpPr>
          <p:nvPr/>
        </p:nvSpPr>
        <p:spPr bwMode="auto">
          <a:xfrm>
            <a:off x="5708279" y="3332333"/>
            <a:ext cx="28748" cy="28748"/>
          </a:xfrm>
          <a:custGeom>
            <a:avLst/>
            <a:gdLst>
              <a:gd name="T0" fmla="*/ 26 w 26"/>
              <a:gd name="T1" fmla="*/ 26 h 26"/>
              <a:gd name="T2" fmla="*/ 0 w 26"/>
              <a:gd name="T3" fmla="*/ 0 h 26"/>
              <a:gd name="T4" fmla="*/ 4 w 26"/>
              <a:gd name="T5" fmla="*/ 0 h 26"/>
              <a:gd name="T6" fmla="*/ 26 w 26"/>
              <a:gd name="T7" fmla="*/ 22 h 26"/>
              <a:gd name="T8" fmla="*/ 26 w 26"/>
              <a:gd name="T9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26">
                <a:moveTo>
                  <a:pt x="26" y="26"/>
                </a:moveTo>
                <a:cubicBezTo>
                  <a:pt x="11" y="26"/>
                  <a:pt x="0" y="14"/>
                  <a:pt x="0" y="0"/>
                </a:cubicBezTo>
                <a:cubicBezTo>
                  <a:pt x="4" y="0"/>
                  <a:pt x="4" y="0"/>
                  <a:pt x="4" y="0"/>
                </a:cubicBezTo>
                <a:cubicBezTo>
                  <a:pt x="4" y="12"/>
                  <a:pt x="13" y="22"/>
                  <a:pt x="26" y="22"/>
                </a:cubicBezTo>
                <a:lnTo>
                  <a:pt x="26" y="26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Freeform 262"/>
          <p:cNvSpPr>
            <a:spLocks noEditPoints="1"/>
          </p:cNvSpPr>
          <p:nvPr/>
        </p:nvSpPr>
        <p:spPr bwMode="auto">
          <a:xfrm>
            <a:off x="5642328" y="3106576"/>
            <a:ext cx="162342" cy="164033"/>
          </a:xfrm>
          <a:custGeom>
            <a:avLst/>
            <a:gdLst>
              <a:gd name="T0" fmla="*/ 127 w 192"/>
              <a:gd name="T1" fmla="*/ 194 h 194"/>
              <a:gd name="T2" fmla="*/ 0 w 192"/>
              <a:gd name="T3" fmla="*/ 66 h 194"/>
              <a:gd name="T4" fmla="*/ 65 w 192"/>
              <a:gd name="T5" fmla="*/ 0 h 194"/>
              <a:gd name="T6" fmla="*/ 192 w 192"/>
              <a:gd name="T7" fmla="*/ 128 h 194"/>
              <a:gd name="T8" fmla="*/ 127 w 192"/>
              <a:gd name="T9" fmla="*/ 194 h 194"/>
              <a:gd name="T10" fmla="*/ 6 w 192"/>
              <a:gd name="T11" fmla="*/ 66 h 194"/>
              <a:gd name="T12" fmla="*/ 127 w 192"/>
              <a:gd name="T13" fmla="*/ 186 h 194"/>
              <a:gd name="T14" fmla="*/ 185 w 192"/>
              <a:gd name="T15" fmla="*/ 128 h 194"/>
              <a:gd name="T16" fmla="*/ 65 w 192"/>
              <a:gd name="T17" fmla="*/ 8 h 194"/>
              <a:gd name="T18" fmla="*/ 6 w 192"/>
              <a:gd name="T19" fmla="*/ 66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2" h="194">
                <a:moveTo>
                  <a:pt x="127" y="194"/>
                </a:moveTo>
                <a:lnTo>
                  <a:pt x="0" y="66"/>
                </a:lnTo>
                <a:lnTo>
                  <a:pt x="65" y="0"/>
                </a:lnTo>
                <a:lnTo>
                  <a:pt x="192" y="128"/>
                </a:lnTo>
                <a:lnTo>
                  <a:pt x="127" y="194"/>
                </a:lnTo>
                <a:close/>
                <a:moveTo>
                  <a:pt x="6" y="66"/>
                </a:moveTo>
                <a:lnTo>
                  <a:pt x="127" y="186"/>
                </a:lnTo>
                <a:lnTo>
                  <a:pt x="185" y="128"/>
                </a:lnTo>
                <a:lnTo>
                  <a:pt x="65" y="8"/>
                </a:lnTo>
                <a:lnTo>
                  <a:pt x="6" y="66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263"/>
          <p:cNvSpPr>
            <a:spLocks noEditPoints="1"/>
          </p:cNvSpPr>
          <p:nvPr/>
        </p:nvSpPr>
        <p:spPr bwMode="auto">
          <a:xfrm>
            <a:off x="5798751" y="3263845"/>
            <a:ext cx="162342" cy="163187"/>
          </a:xfrm>
          <a:custGeom>
            <a:avLst/>
            <a:gdLst>
              <a:gd name="T0" fmla="*/ 128 w 192"/>
              <a:gd name="T1" fmla="*/ 193 h 193"/>
              <a:gd name="T2" fmla="*/ 0 w 192"/>
              <a:gd name="T3" fmla="*/ 66 h 193"/>
              <a:gd name="T4" fmla="*/ 66 w 192"/>
              <a:gd name="T5" fmla="*/ 0 h 193"/>
              <a:gd name="T6" fmla="*/ 192 w 192"/>
              <a:gd name="T7" fmla="*/ 128 h 193"/>
              <a:gd name="T8" fmla="*/ 128 w 192"/>
              <a:gd name="T9" fmla="*/ 193 h 193"/>
              <a:gd name="T10" fmla="*/ 7 w 192"/>
              <a:gd name="T11" fmla="*/ 66 h 193"/>
              <a:gd name="T12" fmla="*/ 128 w 192"/>
              <a:gd name="T13" fmla="*/ 186 h 193"/>
              <a:gd name="T14" fmla="*/ 186 w 192"/>
              <a:gd name="T15" fmla="*/ 128 h 193"/>
              <a:gd name="T16" fmla="*/ 66 w 192"/>
              <a:gd name="T17" fmla="*/ 8 h 193"/>
              <a:gd name="T18" fmla="*/ 7 w 192"/>
              <a:gd name="T19" fmla="*/ 66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2" h="193">
                <a:moveTo>
                  <a:pt x="128" y="193"/>
                </a:moveTo>
                <a:lnTo>
                  <a:pt x="0" y="66"/>
                </a:lnTo>
                <a:lnTo>
                  <a:pt x="66" y="0"/>
                </a:lnTo>
                <a:lnTo>
                  <a:pt x="192" y="128"/>
                </a:lnTo>
                <a:lnTo>
                  <a:pt x="128" y="193"/>
                </a:lnTo>
                <a:close/>
                <a:moveTo>
                  <a:pt x="7" y="66"/>
                </a:moveTo>
                <a:lnTo>
                  <a:pt x="128" y="186"/>
                </a:lnTo>
                <a:lnTo>
                  <a:pt x="186" y="128"/>
                </a:lnTo>
                <a:lnTo>
                  <a:pt x="66" y="8"/>
                </a:lnTo>
                <a:lnTo>
                  <a:pt x="7" y="66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Freeform 264"/>
          <p:cNvSpPr>
            <a:spLocks noEditPoints="1"/>
          </p:cNvSpPr>
          <p:nvPr/>
        </p:nvSpPr>
        <p:spPr bwMode="auto">
          <a:xfrm>
            <a:off x="5720117" y="3185211"/>
            <a:ext cx="163188" cy="164033"/>
          </a:xfrm>
          <a:custGeom>
            <a:avLst/>
            <a:gdLst>
              <a:gd name="T0" fmla="*/ 35 w 193"/>
              <a:gd name="T1" fmla="*/ 194 h 194"/>
              <a:gd name="T2" fmla="*/ 0 w 193"/>
              <a:gd name="T3" fmla="*/ 159 h 194"/>
              <a:gd name="T4" fmla="*/ 159 w 193"/>
              <a:gd name="T5" fmla="*/ 0 h 194"/>
              <a:gd name="T6" fmla="*/ 193 w 193"/>
              <a:gd name="T7" fmla="*/ 35 h 194"/>
              <a:gd name="T8" fmla="*/ 35 w 193"/>
              <a:gd name="T9" fmla="*/ 194 h 194"/>
              <a:gd name="T10" fmla="*/ 7 w 193"/>
              <a:gd name="T11" fmla="*/ 159 h 194"/>
              <a:gd name="T12" fmla="*/ 35 w 193"/>
              <a:gd name="T13" fmla="*/ 186 h 194"/>
              <a:gd name="T14" fmla="*/ 186 w 193"/>
              <a:gd name="T15" fmla="*/ 35 h 194"/>
              <a:gd name="T16" fmla="*/ 159 w 193"/>
              <a:gd name="T17" fmla="*/ 8 h 194"/>
              <a:gd name="T18" fmla="*/ 7 w 193"/>
              <a:gd name="T19" fmla="*/ 159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3" h="194">
                <a:moveTo>
                  <a:pt x="35" y="194"/>
                </a:moveTo>
                <a:lnTo>
                  <a:pt x="0" y="159"/>
                </a:lnTo>
                <a:lnTo>
                  <a:pt x="159" y="0"/>
                </a:lnTo>
                <a:lnTo>
                  <a:pt x="193" y="35"/>
                </a:lnTo>
                <a:lnTo>
                  <a:pt x="35" y="194"/>
                </a:lnTo>
                <a:close/>
                <a:moveTo>
                  <a:pt x="7" y="159"/>
                </a:moveTo>
                <a:lnTo>
                  <a:pt x="35" y="186"/>
                </a:lnTo>
                <a:lnTo>
                  <a:pt x="186" y="35"/>
                </a:lnTo>
                <a:lnTo>
                  <a:pt x="159" y="8"/>
                </a:lnTo>
                <a:lnTo>
                  <a:pt x="7" y="159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265"/>
          <p:cNvSpPr>
            <a:spLocks/>
          </p:cNvSpPr>
          <p:nvPr/>
        </p:nvSpPr>
        <p:spPr bwMode="auto">
          <a:xfrm>
            <a:off x="5774231" y="3240170"/>
            <a:ext cx="16065" cy="15220"/>
          </a:xfrm>
          <a:custGeom>
            <a:avLst/>
            <a:gdLst>
              <a:gd name="T0" fmla="*/ 15 w 19"/>
              <a:gd name="T1" fmla="*/ 18 h 18"/>
              <a:gd name="T2" fmla="*/ 0 w 19"/>
              <a:gd name="T3" fmla="*/ 2 h 18"/>
              <a:gd name="T4" fmla="*/ 3 w 19"/>
              <a:gd name="T5" fmla="*/ 0 h 18"/>
              <a:gd name="T6" fmla="*/ 19 w 19"/>
              <a:gd name="T7" fmla="*/ 15 h 18"/>
              <a:gd name="T8" fmla="*/ 15 w 19"/>
              <a:gd name="T9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" h="18">
                <a:moveTo>
                  <a:pt x="15" y="18"/>
                </a:moveTo>
                <a:lnTo>
                  <a:pt x="0" y="2"/>
                </a:lnTo>
                <a:lnTo>
                  <a:pt x="3" y="0"/>
                </a:lnTo>
                <a:lnTo>
                  <a:pt x="19" y="15"/>
                </a:lnTo>
                <a:lnTo>
                  <a:pt x="15" y="18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Freeform 266"/>
          <p:cNvSpPr>
            <a:spLocks/>
          </p:cNvSpPr>
          <p:nvPr/>
        </p:nvSpPr>
        <p:spPr bwMode="auto">
          <a:xfrm>
            <a:off x="5813125" y="3279064"/>
            <a:ext cx="16065" cy="15220"/>
          </a:xfrm>
          <a:custGeom>
            <a:avLst/>
            <a:gdLst>
              <a:gd name="T0" fmla="*/ 16 w 19"/>
              <a:gd name="T1" fmla="*/ 18 h 18"/>
              <a:gd name="T2" fmla="*/ 0 w 19"/>
              <a:gd name="T3" fmla="*/ 3 h 18"/>
              <a:gd name="T4" fmla="*/ 4 w 19"/>
              <a:gd name="T5" fmla="*/ 0 h 18"/>
              <a:gd name="T6" fmla="*/ 19 w 19"/>
              <a:gd name="T7" fmla="*/ 16 h 18"/>
              <a:gd name="T8" fmla="*/ 16 w 19"/>
              <a:gd name="T9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" h="18">
                <a:moveTo>
                  <a:pt x="16" y="18"/>
                </a:moveTo>
                <a:lnTo>
                  <a:pt x="0" y="3"/>
                </a:lnTo>
                <a:lnTo>
                  <a:pt x="4" y="0"/>
                </a:lnTo>
                <a:lnTo>
                  <a:pt x="19" y="16"/>
                </a:lnTo>
                <a:lnTo>
                  <a:pt x="16" y="18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31" name="Elbow Connector 130"/>
          <p:cNvCxnSpPr/>
          <p:nvPr/>
        </p:nvCxnSpPr>
        <p:spPr>
          <a:xfrm flipV="1">
            <a:off x="5961093" y="2769583"/>
            <a:ext cx="1459021" cy="351642"/>
          </a:xfrm>
          <a:prstGeom prst="bentConnector3">
            <a:avLst>
              <a:gd name="adj1" fmla="val 50000"/>
            </a:avLst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/>
          <p:nvPr/>
        </p:nvCxnSpPr>
        <p:spPr>
          <a:xfrm rot="10800000" flipV="1">
            <a:off x="6020477" y="3332333"/>
            <a:ext cx="1415820" cy="2"/>
          </a:xfrm>
          <a:prstGeom prst="bentConnector3">
            <a:avLst>
              <a:gd name="adj1" fmla="val 50000"/>
            </a:avLst>
          </a:prstGeom>
          <a:ln>
            <a:solidFill>
              <a:srgbClr val="00B050"/>
            </a:solidFill>
            <a:prstDash val="dash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3" name="Elbow Connector 132"/>
          <p:cNvCxnSpPr/>
          <p:nvPr/>
        </p:nvCxnSpPr>
        <p:spPr>
          <a:xfrm rot="10800000">
            <a:off x="3785242" y="2083564"/>
            <a:ext cx="1857088" cy="1248768"/>
          </a:xfrm>
          <a:prstGeom prst="bentConnector3">
            <a:avLst>
              <a:gd name="adj1" fmla="val 66122"/>
            </a:avLst>
          </a:prstGeom>
          <a:ln>
            <a:solidFill>
              <a:srgbClr val="00B050"/>
            </a:solidFill>
            <a:prstDash val="dash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35" name="TextBox 134"/>
          <p:cNvSpPr txBox="1"/>
          <p:nvPr/>
        </p:nvSpPr>
        <p:spPr>
          <a:xfrm>
            <a:off x="5098895" y="3470664"/>
            <a:ext cx="18847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Response</a:t>
            </a:r>
            <a:endParaRPr lang="pl-PL" sz="1000" dirty="0" smtClean="0">
              <a:solidFill>
                <a:srgbClr val="00B050"/>
              </a:solidFill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4824225" y="1514347"/>
            <a:ext cx="1861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smtClean="0">
                <a:solidFill>
                  <a:srgbClr val="00B050"/>
                </a:solidFill>
              </a:rPr>
              <a:t>1) </a:t>
            </a:r>
            <a:r>
              <a:rPr lang="pl-PL" sz="1000" dirty="0" err="1" smtClean="0">
                <a:solidFill>
                  <a:srgbClr val="00B050"/>
                </a:solidFill>
              </a:rPr>
              <a:t>Secure</a:t>
            </a:r>
            <a:r>
              <a:rPr lang="pl-PL" sz="1000" dirty="0" smtClean="0">
                <a:solidFill>
                  <a:srgbClr val="00B050"/>
                </a:solidFill>
              </a:rPr>
              <a:t> channel with </a:t>
            </a:r>
            <a:r>
              <a:rPr lang="pl-PL" sz="1000" dirty="0" err="1" smtClean="0">
                <a:solidFill>
                  <a:srgbClr val="00B050"/>
                </a:solidFill>
              </a:rPr>
              <a:t>KeySet</a:t>
            </a:r>
            <a:endParaRPr lang="pl-PL" sz="1000" dirty="0" smtClean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78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22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73" name="Freeform 581"/>
          <p:cNvSpPr>
            <a:spLocks/>
          </p:cNvSpPr>
          <p:nvPr/>
        </p:nvSpPr>
        <p:spPr bwMode="auto">
          <a:xfrm>
            <a:off x="7656289" y="2769583"/>
            <a:ext cx="55563" cy="174625"/>
          </a:xfrm>
          <a:custGeom>
            <a:avLst/>
            <a:gdLst>
              <a:gd name="T0" fmla="*/ 24 w 27"/>
              <a:gd name="T1" fmla="*/ 85 h 85"/>
              <a:gd name="T2" fmla="*/ 24 w 27"/>
              <a:gd name="T3" fmla="*/ 0 h 85"/>
              <a:gd name="T4" fmla="*/ 27 w 27"/>
              <a:gd name="T5" fmla="*/ 3 h 85"/>
              <a:gd name="T6" fmla="*/ 27 w 27"/>
              <a:gd name="T7" fmla="*/ 82 h 85"/>
              <a:gd name="T8" fmla="*/ 24 w 27"/>
              <a:gd name="T9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85">
                <a:moveTo>
                  <a:pt x="24" y="85"/>
                </a:moveTo>
                <a:cubicBezTo>
                  <a:pt x="0" y="62"/>
                  <a:pt x="0" y="23"/>
                  <a:pt x="24" y="0"/>
                </a:cubicBezTo>
                <a:cubicBezTo>
                  <a:pt x="27" y="3"/>
                  <a:pt x="27" y="3"/>
                  <a:pt x="27" y="3"/>
                </a:cubicBezTo>
                <a:cubicBezTo>
                  <a:pt x="5" y="25"/>
                  <a:pt x="5" y="60"/>
                  <a:pt x="27" y="82"/>
                </a:cubicBezTo>
                <a:lnTo>
                  <a:pt x="24" y="85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582"/>
          <p:cNvSpPr>
            <a:spLocks/>
          </p:cNvSpPr>
          <p:nvPr/>
        </p:nvSpPr>
        <p:spPr bwMode="auto">
          <a:xfrm>
            <a:off x="7621364" y="2726721"/>
            <a:ext cx="60325" cy="260350"/>
          </a:xfrm>
          <a:custGeom>
            <a:avLst/>
            <a:gdLst>
              <a:gd name="T0" fmla="*/ 27 w 29"/>
              <a:gd name="T1" fmla="*/ 127 h 127"/>
              <a:gd name="T2" fmla="*/ 0 w 29"/>
              <a:gd name="T3" fmla="*/ 63 h 127"/>
              <a:gd name="T4" fmla="*/ 27 w 29"/>
              <a:gd name="T5" fmla="*/ 0 h 127"/>
              <a:gd name="T6" fmla="*/ 29 w 29"/>
              <a:gd name="T7" fmla="*/ 3 h 127"/>
              <a:gd name="T8" fmla="*/ 4 w 29"/>
              <a:gd name="T9" fmla="*/ 63 h 127"/>
              <a:gd name="T10" fmla="*/ 29 w 29"/>
              <a:gd name="T11" fmla="*/ 124 h 127"/>
              <a:gd name="T12" fmla="*/ 27 w 29"/>
              <a:gd name="T13" fmla="*/ 127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127">
                <a:moveTo>
                  <a:pt x="27" y="127"/>
                </a:moveTo>
                <a:cubicBezTo>
                  <a:pt x="10" y="110"/>
                  <a:pt x="0" y="87"/>
                  <a:pt x="0" y="63"/>
                </a:cubicBezTo>
                <a:cubicBezTo>
                  <a:pt x="0" y="40"/>
                  <a:pt x="10" y="17"/>
                  <a:pt x="27" y="0"/>
                </a:cubicBezTo>
                <a:cubicBezTo>
                  <a:pt x="29" y="3"/>
                  <a:pt x="29" y="3"/>
                  <a:pt x="29" y="3"/>
                </a:cubicBezTo>
                <a:cubicBezTo>
                  <a:pt x="13" y="19"/>
                  <a:pt x="4" y="41"/>
                  <a:pt x="4" y="63"/>
                </a:cubicBezTo>
                <a:cubicBezTo>
                  <a:pt x="4" y="86"/>
                  <a:pt x="13" y="108"/>
                  <a:pt x="29" y="124"/>
                </a:cubicBezTo>
                <a:lnTo>
                  <a:pt x="27" y="127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583"/>
          <p:cNvSpPr>
            <a:spLocks/>
          </p:cNvSpPr>
          <p:nvPr/>
        </p:nvSpPr>
        <p:spPr bwMode="auto">
          <a:xfrm>
            <a:off x="7549927" y="2687033"/>
            <a:ext cx="100013" cy="341313"/>
          </a:xfrm>
          <a:custGeom>
            <a:avLst/>
            <a:gdLst>
              <a:gd name="T0" fmla="*/ 46 w 49"/>
              <a:gd name="T1" fmla="*/ 167 h 167"/>
              <a:gd name="T2" fmla="*/ 46 w 49"/>
              <a:gd name="T3" fmla="*/ 0 h 167"/>
              <a:gd name="T4" fmla="*/ 49 w 49"/>
              <a:gd name="T5" fmla="*/ 2 h 167"/>
              <a:gd name="T6" fmla="*/ 49 w 49"/>
              <a:gd name="T7" fmla="*/ 165 h 167"/>
              <a:gd name="T8" fmla="*/ 46 w 49"/>
              <a:gd name="T9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167">
                <a:moveTo>
                  <a:pt x="46" y="167"/>
                </a:moveTo>
                <a:cubicBezTo>
                  <a:pt x="0" y="121"/>
                  <a:pt x="0" y="46"/>
                  <a:pt x="46" y="0"/>
                </a:cubicBezTo>
                <a:cubicBezTo>
                  <a:pt x="49" y="2"/>
                  <a:pt x="49" y="2"/>
                  <a:pt x="49" y="2"/>
                </a:cubicBezTo>
                <a:cubicBezTo>
                  <a:pt x="4" y="47"/>
                  <a:pt x="4" y="120"/>
                  <a:pt x="49" y="165"/>
                </a:cubicBezTo>
                <a:lnTo>
                  <a:pt x="46" y="167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584"/>
          <p:cNvSpPr>
            <a:spLocks/>
          </p:cNvSpPr>
          <p:nvPr/>
        </p:nvSpPr>
        <p:spPr bwMode="auto">
          <a:xfrm>
            <a:off x="7522939" y="2644171"/>
            <a:ext cx="95250" cy="427038"/>
          </a:xfrm>
          <a:custGeom>
            <a:avLst/>
            <a:gdLst>
              <a:gd name="T0" fmla="*/ 43 w 46"/>
              <a:gd name="T1" fmla="*/ 209 h 209"/>
              <a:gd name="T2" fmla="*/ 0 w 46"/>
              <a:gd name="T3" fmla="*/ 104 h 209"/>
              <a:gd name="T4" fmla="*/ 43 w 46"/>
              <a:gd name="T5" fmla="*/ 0 h 209"/>
              <a:gd name="T6" fmla="*/ 46 w 46"/>
              <a:gd name="T7" fmla="*/ 3 h 209"/>
              <a:gd name="T8" fmla="*/ 4 w 46"/>
              <a:gd name="T9" fmla="*/ 104 h 209"/>
              <a:gd name="T10" fmla="*/ 46 w 46"/>
              <a:gd name="T11" fmla="*/ 206 h 209"/>
              <a:gd name="T12" fmla="*/ 43 w 46"/>
              <a:gd name="T13" fmla="*/ 20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209">
                <a:moveTo>
                  <a:pt x="43" y="209"/>
                </a:moveTo>
                <a:cubicBezTo>
                  <a:pt x="15" y="181"/>
                  <a:pt x="0" y="144"/>
                  <a:pt x="0" y="104"/>
                </a:cubicBezTo>
                <a:cubicBezTo>
                  <a:pt x="0" y="65"/>
                  <a:pt x="15" y="28"/>
                  <a:pt x="43" y="0"/>
                </a:cubicBezTo>
                <a:cubicBezTo>
                  <a:pt x="46" y="3"/>
                  <a:pt x="46" y="3"/>
                  <a:pt x="46" y="3"/>
                </a:cubicBezTo>
                <a:cubicBezTo>
                  <a:pt x="19" y="30"/>
                  <a:pt x="4" y="66"/>
                  <a:pt x="4" y="104"/>
                </a:cubicBezTo>
                <a:cubicBezTo>
                  <a:pt x="4" y="143"/>
                  <a:pt x="19" y="179"/>
                  <a:pt x="46" y="206"/>
                </a:cubicBezTo>
                <a:lnTo>
                  <a:pt x="43" y="209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585"/>
          <p:cNvSpPr>
            <a:spLocks/>
          </p:cNvSpPr>
          <p:nvPr/>
        </p:nvSpPr>
        <p:spPr bwMode="auto">
          <a:xfrm>
            <a:off x="7932514" y="2769583"/>
            <a:ext cx="53975" cy="174625"/>
          </a:xfrm>
          <a:custGeom>
            <a:avLst/>
            <a:gdLst>
              <a:gd name="T0" fmla="*/ 3 w 26"/>
              <a:gd name="T1" fmla="*/ 85 h 85"/>
              <a:gd name="T2" fmla="*/ 0 w 26"/>
              <a:gd name="T3" fmla="*/ 82 h 85"/>
              <a:gd name="T4" fmla="*/ 0 w 26"/>
              <a:gd name="T5" fmla="*/ 3 h 85"/>
              <a:gd name="T6" fmla="*/ 3 w 26"/>
              <a:gd name="T7" fmla="*/ 0 h 85"/>
              <a:gd name="T8" fmla="*/ 3 w 26"/>
              <a:gd name="T9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85">
                <a:moveTo>
                  <a:pt x="3" y="85"/>
                </a:moveTo>
                <a:cubicBezTo>
                  <a:pt x="0" y="82"/>
                  <a:pt x="0" y="82"/>
                  <a:pt x="0" y="82"/>
                </a:cubicBezTo>
                <a:cubicBezTo>
                  <a:pt x="22" y="60"/>
                  <a:pt x="22" y="25"/>
                  <a:pt x="0" y="3"/>
                </a:cubicBezTo>
                <a:cubicBezTo>
                  <a:pt x="3" y="0"/>
                  <a:pt x="3" y="0"/>
                  <a:pt x="3" y="0"/>
                </a:cubicBezTo>
                <a:cubicBezTo>
                  <a:pt x="26" y="23"/>
                  <a:pt x="26" y="62"/>
                  <a:pt x="3" y="85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586"/>
          <p:cNvSpPr>
            <a:spLocks/>
          </p:cNvSpPr>
          <p:nvPr/>
        </p:nvSpPr>
        <p:spPr bwMode="auto">
          <a:xfrm>
            <a:off x="7961089" y="2726721"/>
            <a:ext cx="60325" cy="260350"/>
          </a:xfrm>
          <a:custGeom>
            <a:avLst/>
            <a:gdLst>
              <a:gd name="T0" fmla="*/ 3 w 29"/>
              <a:gd name="T1" fmla="*/ 127 h 127"/>
              <a:gd name="T2" fmla="*/ 0 w 29"/>
              <a:gd name="T3" fmla="*/ 124 h 127"/>
              <a:gd name="T4" fmla="*/ 25 w 29"/>
              <a:gd name="T5" fmla="*/ 63 h 127"/>
              <a:gd name="T6" fmla="*/ 0 w 29"/>
              <a:gd name="T7" fmla="*/ 3 h 127"/>
              <a:gd name="T8" fmla="*/ 3 w 29"/>
              <a:gd name="T9" fmla="*/ 0 h 127"/>
              <a:gd name="T10" fmla="*/ 29 w 29"/>
              <a:gd name="T11" fmla="*/ 63 h 127"/>
              <a:gd name="T12" fmla="*/ 3 w 29"/>
              <a:gd name="T13" fmla="*/ 127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127">
                <a:moveTo>
                  <a:pt x="3" y="127"/>
                </a:moveTo>
                <a:cubicBezTo>
                  <a:pt x="0" y="124"/>
                  <a:pt x="0" y="124"/>
                  <a:pt x="0" y="124"/>
                </a:cubicBezTo>
                <a:cubicBezTo>
                  <a:pt x="17" y="108"/>
                  <a:pt x="25" y="86"/>
                  <a:pt x="25" y="63"/>
                </a:cubicBezTo>
                <a:cubicBezTo>
                  <a:pt x="25" y="41"/>
                  <a:pt x="17" y="19"/>
                  <a:pt x="0" y="3"/>
                </a:cubicBezTo>
                <a:cubicBezTo>
                  <a:pt x="3" y="0"/>
                  <a:pt x="3" y="0"/>
                  <a:pt x="3" y="0"/>
                </a:cubicBezTo>
                <a:cubicBezTo>
                  <a:pt x="20" y="17"/>
                  <a:pt x="29" y="40"/>
                  <a:pt x="29" y="63"/>
                </a:cubicBezTo>
                <a:cubicBezTo>
                  <a:pt x="29" y="87"/>
                  <a:pt x="20" y="110"/>
                  <a:pt x="3" y="127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587"/>
          <p:cNvSpPr>
            <a:spLocks/>
          </p:cNvSpPr>
          <p:nvPr/>
        </p:nvSpPr>
        <p:spPr bwMode="auto">
          <a:xfrm>
            <a:off x="7994427" y="2687033"/>
            <a:ext cx="100013" cy="341313"/>
          </a:xfrm>
          <a:custGeom>
            <a:avLst/>
            <a:gdLst>
              <a:gd name="T0" fmla="*/ 2 w 49"/>
              <a:gd name="T1" fmla="*/ 167 h 167"/>
              <a:gd name="T2" fmla="*/ 0 w 49"/>
              <a:gd name="T3" fmla="*/ 165 h 167"/>
              <a:gd name="T4" fmla="*/ 0 w 49"/>
              <a:gd name="T5" fmla="*/ 2 h 167"/>
              <a:gd name="T6" fmla="*/ 2 w 49"/>
              <a:gd name="T7" fmla="*/ 0 h 167"/>
              <a:gd name="T8" fmla="*/ 2 w 49"/>
              <a:gd name="T9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167">
                <a:moveTo>
                  <a:pt x="2" y="167"/>
                </a:moveTo>
                <a:cubicBezTo>
                  <a:pt x="0" y="165"/>
                  <a:pt x="0" y="165"/>
                  <a:pt x="0" y="165"/>
                </a:cubicBezTo>
                <a:cubicBezTo>
                  <a:pt x="44" y="120"/>
                  <a:pt x="44" y="47"/>
                  <a:pt x="0" y="2"/>
                </a:cubicBezTo>
                <a:cubicBezTo>
                  <a:pt x="2" y="0"/>
                  <a:pt x="2" y="0"/>
                  <a:pt x="2" y="0"/>
                </a:cubicBezTo>
                <a:cubicBezTo>
                  <a:pt x="49" y="46"/>
                  <a:pt x="49" y="121"/>
                  <a:pt x="2" y="167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588"/>
          <p:cNvSpPr>
            <a:spLocks/>
          </p:cNvSpPr>
          <p:nvPr/>
        </p:nvSpPr>
        <p:spPr bwMode="auto">
          <a:xfrm>
            <a:off x="8027764" y="2644171"/>
            <a:ext cx="93663" cy="427038"/>
          </a:xfrm>
          <a:custGeom>
            <a:avLst/>
            <a:gdLst>
              <a:gd name="T0" fmla="*/ 3 w 46"/>
              <a:gd name="T1" fmla="*/ 209 h 209"/>
              <a:gd name="T2" fmla="*/ 0 w 46"/>
              <a:gd name="T3" fmla="*/ 206 h 209"/>
              <a:gd name="T4" fmla="*/ 42 w 46"/>
              <a:gd name="T5" fmla="*/ 104 h 209"/>
              <a:gd name="T6" fmla="*/ 0 w 46"/>
              <a:gd name="T7" fmla="*/ 3 h 209"/>
              <a:gd name="T8" fmla="*/ 3 w 46"/>
              <a:gd name="T9" fmla="*/ 0 h 209"/>
              <a:gd name="T10" fmla="*/ 46 w 46"/>
              <a:gd name="T11" fmla="*/ 104 h 209"/>
              <a:gd name="T12" fmla="*/ 3 w 46"/>
              <a:gd name="T13" fmla="*/ 20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209">
                <a:moveTo>
                  <a:pt x="3" y="209"/>
                </a:moveTo>
                <a:cubicBezTo>
                  <a:pt x="0" y="206"/>
                  <a:pt x="0" y="206"/>
                  <a:pt x="0" y="206"/>
                </a:cubicBezTo>
                <a:cubicBezTo>
                  <a:pt x="27" y="179"/>
                  <a:pt x="42" y="143"/>
                  <a:pt x="42" y="104"/>
                </a:cubicBezTo>
                <a:cubicBezTo>
                  <a:pt x="42" y="66"/>
                  <a:pt x="27" y="30"/>
                  <a:pt x="0" y="3"/>
                </a:cubicBezTo>
                <a:cubicBezTo>
                  <a:pt x="3" y="0"/>
                  <a:pt x="3" y="0"/>
                  <a:pt x="3" y="0"/>
                </a:cubicBezTo>
                <a:cubicBezTo>
                  <a:pt x="30" y="28"/>
                  <a:pt x="46" y="65"/>
                  <a:pt x="46" y="104"/>
                </a:cubicBezTo>
                <a:cubicBezTo>
                  <a:pt x="46" y="144"/>
                  <a:pt x="30" y="181"/>
                  <a:pt x="3" y="20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589"/>
          <p:cNvSpPr>
            <a:spLocks noEditPoints="1"/>
          </p:cNvSpPr>
          <p:nvPr/>
        </p:nvSpPr>
        <p:spPr bwMode="auto">
          <a:xfrm>
            <a:off x="7742014" y="2796571"/>
            <a:ext cx="166688" cy="120650"/>
          </a:xfrm>
          <a:custGeom>
            <a:avLst/>
            <a:gdLst>
              <a:gd name="T0" fmla="*/ 105 w 105"/>
              <a:gd name="T1" fmla="*/ 76 h 76"/>
              <a:gd name="T2" fmla="*/ 0 w 105"/>
              <a:gd name="T3" fmla="*/ 76 h 76"/>
              <a:gd name="T4" fmla="*/ 0 w 105"/>
              <a:gd name="T5" fmla="*/ 0 h 76"/>
              <a:gd name="T6" fmla="*/ 105 w 105"/>
              <a:gd name="T7" fmla="*/ 0 h 76"/>
              <a:gd name="T8" fmla="*/ 105 w 105"/>
              <a:gd name="T9" fmla="*/ 76 h 76"/>
              <a:gd name="T10" fmla="*/ 6 w 105"/>
              <a:gd name="T11" fmla="*/ 71 h 76"/>
              <a:gd name="T12" fmla="*/ 100 w 105"/>
              <a:gd name="T13" fmla="*/ 71 h 76"/>
              <a:gd name="T14" fmla="*/ 100 w 105"/>
              <a:gd name="T15" fmla="*/ 5 h 76"/>
              <a:gd name="T16" fmla="*/ 6 w 105"/>
              <a:gd name="T17" fmla="*/ 5 h 76"/>
              <a:gd name="T18" fmla="*/ 6 w 105"/>
              <a:gd name="T19" fmla="*/ 71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5" h="76">
                <a:moveTo>
                  <a:pt x="105" y="76"/>
                </a:moveTo>
                <a:lnTo>
                  <a:pt x="0" y="76"/>
                </a:lnTo>
                <a:lnTo>
                  <a:pt x="0" y="0"/>
                </a:lnTo>
                <a:lnTo>
                  <a:pt x="105" y="0"/>
                </a:lnTo>
                <a:lnTo>
                  <a:pt x="105" y="76"/>
                </a:lnTo>
                <a:close/>
                <a:moveTo>
                  <a:pt x="6" y="71"/>
                </a:moveTo>
                <a:lnTo>
                  <a:pt x="100" y="71"/>
                </a:lnTo>
                <a:lnTo>
                  <a:pt x="100" y="5"/>
                </a:lnTo>
                <a:lnTo>
                  <a:pt x="6" y="5"/>
                </a:lnTo>
                <a:lnTo>
                  <a:pt x="6" y="71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Rectangle 590"/>
          <p:cNvSpPr>
            <a:spLocks noChangeArrowheads="1"/>
          </p:cNvSpPr>
          <p:nvPr/>
        </p:nvSpPr>
        <p:spPr bwMode="auto">
          <a:xfrm>
            <a:off x="7770589" y="2801333"/>
            <a:ext cx="9525" cy="112713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Rectangle 591"/>
          <p:cNvSpPr>
            <a:spLocks noChangeArrowheads="1"/>
          </p:cNvSpPr>
          <p:nvPr/>
        </p:nvSpPr>
        <p:spPr bwMode="auto">
          <a:xfrm>
            <a:off x="7746777" y="2818796"/>
            <a:ext cx="28575" cy="9525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Rectangle 592"/>
          <p:cNvSpPr>
            <a:spLocks noChangeArrowheads="1"/>
          </p:cNvSpPr>
          <p:nvPr/>
        </p:nvSpPr>
        <p:spPr bwMode="auto">
          <a:xfrm>
            <a:off x="7746777" y="284260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Rectangle 593"/>
          <p:cNvSpPr>
            <a:spLocks noChangeArrowheads="1"/>
          </p:cNvSpPr>
          <p:nvPr/>
        </p:nvSpPr>
        <p:spPr bwMode="auto">
          <a:xfrm>
            <a:off x="7746777" y="286483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594"/>
          <p:cNvSpPr>
            <a:spLocks noChangeArrowheads="1"/>
          </p:cNvSpPr>
          <p:nvPr/>
        </p:nvSpPr>
        <p:spPr bwMode="auto">
          <a:xfrm>
            <a:off x="7746777" y="288705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Rectangle 595"/>
          <p:cNvSpPr>
            <a:spLocks noChangeArrowheads="1"/>
          </p:cNvSpPr>
          <p:nvPr/>
        </p:nvSpPr>
        <p:spPr bwMode="auto">
          <a:xfrm>
            <a:off x="7746777" y="290928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596"/>
          <p:cNvSpPr>
            <a:spLocks noChangeArrowheads="1"/>
          </p:cNvSpPr>
          <p:nvPr/>
        </p:nvSpPr>
        <p:spPr bwMode="auto">
          <a:xfrm>
            <a:off x="7872189" y="2801333"/>
            <a:ext cx="7938" cy="112713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Rectangle 597"/>
          <p:cNvSpPr>
            <a:spLocks noChangeArrowheads="1"/>
          </p:cNvSpPr>
          <p:nvPr/>
        </p:nvSpPr>
        <p:spPr bwMode="auto">
          <a:xfrm>
            <a:off x="7875364" y="290928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598"/>
          <p:cNvSpPr>
            <a:spLocks noChangeArrowheads="1"/>
          </p:cNvSpPr>
          <p:nvPr/>
        </p:nvSpPr>
        <p:spPr bwMode="auto">
          <a:xfrm>
            <a:off x="7875364" y="288705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Rectangle 599"/>
          <p:cNvSpPr>
            <a:spLocks noChangeArrowheads="1"/>
          </p:cNvSpPr>
          <p:nvPr/>
        </p:nvSpPr>
        <p:spPr bwMode="auto">
          <a:xfrm>
            <a:off x="7875364" y="286483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600"/>
          <p:cNvSpPr>
            <a:spLocks noChangeArrowheads="1"/>
          </p:cNvSpPr>
          <p:nvPr/>
        </p:nvSpPr>
        <p:spPr bwMode="auto">
          <a:xfrm>
            <a:off x="7875364" y="284260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Rectangle 601"/>
          <p:cNvSpPr>
            <a:spLocks noChangeArrowheads="1"/>
          </p:cNvSpPr>
          <p:nvPr/>
        </p:nvSpPr>
        <p:spPr bwMode="auto">
          <a:xfrm>
            <a:off x="7875364" y="2818796"/>
            <a:ext cx="28575" cy="9525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07715" y="2510276"/>
            <a:ext cx="87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PK.SR.ECDSA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326067" y="1974948"/>
            <a:ext cx="141982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Signature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>
                <a:solidFill>
                  <a:srgbClr val="00B050"/>
                </a:solidFill>
              </a:rPr>
              <a:t>Derivation</a:t>
            </a:r>
            <a:r>
              <a:rPr lang="pl-PL" sz="800" dirty="0">
                <a:solidFill>
                  <a:srgbClr val="00B050"/>
                </a:solidFill>
              </a:rPr>
              <a:t> </a:t>
            </a:r>
            <a:r>
              <a:rPr lang="pl-PL" sz="800" dirty="0" err="1">
                <a:solidFill>
                  <a:srgbClr val="00B050"/>
                </a:solidFill>
              </a:rPr>
              <a:t>Random</a:t>
            </a:r>
            <a:endParaRPr lang="pl-PL" sz="800" dirty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Receip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Deriv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KeySet</a:t>
            </a:r>
            <a:endParaRPr lang="pl-PL" sz="800" dirty="0">
              <a:solidFill>
                <a:srgbClr val="00B050"/>
              </a:solidFill>
            </a:endParaRPr>
          </a:p>
          <a:p>
            <a:endParaRPr lang="pl-PL" sz="800" dirty="0" smtClean="0">
              <a:solidFill>
                <a:srgbClr val="00B050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2254114" y="4114517"/>
            <a:ext cx="15167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chemeClr val="tx2"/>
                </a:solidFill>
              </a:rPr>
              <a:t>ePK.SR.ECKA</a:t>
            </a:r>
            <a:r>
              <a:rPr lang="pl-PL" sz="800" dirty="0" smtClean="0">
                <a:solidFill>
                  <a:schemeClr val="tx2"/>
                </a:solidFill>
              </a:rPr>
              <a:t>, </a:t>
            </a:r>
            <a:r>
              <a:rPr lang="pl-PL" sz="800" dirty="0" err="1" smtClean="0">
                <a:solidFill>
                  <a:schemeClr val="tx2"/>
                </a:solidFill>
              </a:rPr>
              <a:t>Signature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Receipt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Derivation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417876" y="3152852"/>
            <a:ext cx="1511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Derivation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Deriv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KeySe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Receipt</a:t>
            </a:r>
            <a:endParaRPr lang="pl-PL" sz="800" dirty="0">
              <a:solidFill>
                <a:srgbClr val="00B050"/>
              </a:solidFill>
            </a:endParaRPr>
          </a:p>
        </p:txBody>
      </p:sp>
      <p:cxnSp>
        <p:nvCxnSpPr>
          <p:cNvPr id="72" name="Elbow Connector 71"/>
          <p:cNvCxnSpPr/>
          <p:nvPr/>
        </p:nvCxnSpPr>
        <p:spPr>
          <a:xfrm rot="16200000" flipH="1">
            <a:off x="2766715" y="3000834"/>
            <a:ext cx="438483" cy="9345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>
          <a:xfrm>
            <a:off x="3037577" y="2868931"/>
            <a:ext cx="20312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HandoverEUICCResponse</a:t>
            </a:r>
            <a:endParaRPr lang="pl-PL" sz="1000" dirty="0" smtClean="0">
              <a:solidFill>
                <a:srgbClr val="00B050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4815840" y="3614036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err="1" smtClean="0">
                <a:solidFill>
                  <a:srgbClr val="FF0000"/>
                </a:solidFill>
              </a:rPr>
              <a:t>Notice</a:t>
            </a:r>
            <a:r>
              <a:rPr lang="pl-PL" dirty="0" smtClean="0">
                <a:solidFill>
                  <a:srgbClr val="FF0000"/>
                </a:solidFill>
              </a:rPr>
              <a:t> no EID</a:t>
            </a:r>
            <a:endParaRPr lang="pl-PL" dirty="0">
              <a:solidFill>
                <a:srgbClr val="FF0000"/>
              </a:solidFill>
            </a:endParaRPr>
          </a:p>
        </p:txBody>
      </p:sp>
      <p:cxnSp>
        <p:nvCxnSpPr>
          <p:cNvPr id="98" name="Straight Arrow Connector 97"/>
          <p:cNvCxnSpPr/>
          <p:nvPr/>
        </p:nvCxnSpPr>
        <p:spPr>
          <a:xfrm flipH="1" flipV="1">
            <a:off x="4490720" y="3228401"/>
            <a:ext cx="406400" cy="442821"/>
          </a:xfrm>
          <a:prstGeom prst="straightConnector1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608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/>
          <p:cNvSpPr/>
          <p:nvPr/>
        </p:nvSpPr>
        <p:spPr>
          <a:xfrm>
            <a:off x="7436298" y="2409309"/>
            <a:ext cx="1508786" cy="1386118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Rectangle 10"/>
          <p:cNvSpPr/>
          <p:nvPr/>
        </p:nvSpPr>
        <p:spPr>
          <a:xfrm>
            <a:off x="2307009" y="1174814"/>
            <a:ext cx="1463883" cy="1621757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2278291" y="3266804"/>
            <a:ext cx="1508786" cy="1766442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23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2292659" y="3469805"/>
            <a:ext cx="646570" cy="533340"/>
            <a:chOff x="3252634" y="1543032"/>
            <a:chExt cx="646570" cy="533340"/>
          </a:xfrm>
        </p:grpSpPr>
        <p:sp>
          <p:nvSpPr>
            <p:cNvPr id="2" name="Rectangle 1"/>
            <p:cNvSpPr/>
            <p:nvPr/>
          </p:nvSpPr>
          <p:spPr>
            <a:xfrm>
              <a:off x="3323715" y="1543032"/>
              <a:ext cx="463358" cy="5333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7" name="Espace réservé du texte 18"/>
            <p:cNvSpPr txBox="1">
              <a:spLocks/>
            </p:cNvSpPr>
            <p:nvPr/>
          </p:nvSpPr>
          <p:spPr>
            <a:xfrm>
              <a:off x="3252634" y="1861982"/>
              <a:ext cx="646570" cy="14428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lang="en-US" sz="1600" b="1" kern="120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200" kern="1200" baseline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b="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lang="en-US"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pl-PL" sz="1000" dirty="0" smtClean="0"/>
                <a:t>SM-SR</a:t>
              </a:r>
              <a:endParaRPr lang="pl-PL" sz="1000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446995" y="1626303"/>
              <a:ext cx="232737" cy="195887"/>
              <a:chOff x="3657601" y="796926"/>
              <a:chExt cx="2095500" cy="1763713"/>
            </a:xfrm>
            <a:solidFill>
              <a:schemeClr val="tx2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8" name="Rectangle 7"/>
          <p:cNvSpPr/>
          <p:nvPr/>
        </p:nvSpPr>
        <p:spPr>
          <a:xfrm>
            <a:off x="1017731" y="2647564"/>
            <a:ext cx="557986" cy="4207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000" dirty="0" smtClean="0"/>
              <a:t>MNO</a:t>
            </a:r>
            <a:endParaRPr lang="pl-PL" sz="10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2292659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73" name="Freeform 581"/>
          <p:cNvSpPr>
            <a:spLocks/>
          </p:cNvSpPr>
          <p:nvPr/>
        </p:nvSpPr>
        <p:spPr bwMode="auto">
          <a:xfrm>
            <a:off x="7656289" y="2769583"/>
            <a:ext cx="55563" cy="174625"/>
          </a:xfrm>
          <a:custGeom>
            <a:avLst/>
            <a:gdLst>
              <a:gd name="T0" fmla="*/ 24 w 27"/>
              <a:gd name="T1" fmla="*/ 85 h 85"/>
              <a:gd name="T2" fmla="*/ 24 w 27"/>
              <a:gd name="T3" fmla="*/ 0 h 85"/>
              <a:gd name="T4" fmla="*/ 27 w 27"/>
              <a:gd name="T5" fmla="*/ 3 h 85"/>
              <a:gd name="T6" fmla="*/ 27 w 27"/>
              <a:gd name="T7" fmla="*/ 82 h 85"/>
              <a:gd name="T8" fmla="*/ 24 w 27"/>
              <a:gd name="T9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85">
                <a:moveTo>
                  <a:pt x="24" y="85"/>
                </a:moveTo>
                <a:cubicBezTo>
                  <a:pt x="0" y="62"/>
                  <a:pt x="0" y="23"/>
                  <a:pt x="24" y="0"/>
                </a:cubicBezTo>
                <a:cubicBezTo>
                  <a:pt x="27" y="3"/>
                  <a:pt x="27" y="3"/>
                  <a:pt x="27" y="3"/>
                </a:cubicBezTo>
                <a:cubicBezTo>
                  <a:pt x="5" y="25"/>
                  <a:pt x="5" y="60"/>
                  <a:pt x="27" y="82"/>
                </a:cubicBezTo>
                <a:lnTo>
                  <a:pt x="24" y="85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582"/>
          <p:cNvSpPr>
            <a:spLocks/>
          </p:cNvSpPr>
          <p:nvPr/>
        </p:nvSpPr>
        <p:spPr bwMode="auto">
          <a:xfrm>
            <a:off x="7621364" y="2726721"/>
            <a:ext cx="60325" cy="260350"/>
          </a:xfrm>
          <a:custGeom>
            <a:avLst/>
            <a:gdLst>
              <a:gd name="T0" fmla="*/ 27 w 29"/>
              <a:gd name="T1" fmla="*/ 127 h 127"/>
              <a:gd name="T2" fmla="*/ 0 w 29"/>
              <a:gd name="T3" fmla="*/ 63 h 127"/>
              <a:gd name="T4" fmla="*/ 27 w 29"/>
              <a:gd name="T5" fmla="*/ 0 h 127"/>
              <a:gd name="T6" fmla="*/ 29 w 29"/>
              <a:gd name="T7" fmla="*/ 3 h 127"/>
              <a:gd name="T8" fmla="*/ 4 w 29"/>
              <a:gd name="T9" fmla="*/ 63 h 127"/>
              <a:gd name="T10" fmla="*/ 29 w 29"/>
              <a:gd name="T11" fmla="*/ 124 h 127"/>
              <a:gd name="T12" fmla="*/ 27 w 29"/>
              <a:gd name="T13" fmla="*/ 127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127">
                <a:moveTo>
                  <a:pt x="27" y="127"/>
                </a:moveTo>
                <a:cubicBezTo>
                  <a:pt x="10" y="110"/>
                  <a:pt x="0" y="87"/>
                  <a:pt x="0" y="63"/>
                </a:cubicBezTo>
                <a:cubicBezTo>
                  <a:pt x="0" y="40"/>
                  <a:pt x="10" y="17"/>
                  <a:pt x="27" y="0"/>
                </a:cubicBezTo>
                <a:cubicBezTo>
                  <a:pt x="29" y="3"/>
                  <a:pt x="29" y="3"/>
                  <a:pt x="29" y="3"/>
                </a:cubicBezTo>
                <a:cubicBezTo>
                  <a:pt x="13" y="19"/>
                  <a:pt x="4" y="41"/>
                  <a:pt x="4" y="63"/>
                </a:cubicBezTo>
                <a:cubicBezTo>
                  <a:pt x="4" y="86"/>
                  <a:pt x="13" y="108"/>
                  <a:pt x="29" y="124"/>
                </a:cubicBezTo>
                <a:lnTo>
                  <a:pt x="27" y="127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583"/>
          <p:cNvSpPr>
            <a:spLocks/>
          </p:cNvSpPr>
          <p:nvPr/>
        </p:nvSpPr>
        <p:spPr bwMode="auto">
          <a:xfrm>
            <a:off x="7549927" y="2687033"/>
            <a:ext cx="100013" cy="341313"/>
          </a:xfrm>
          <a:custGeom>
            <a:avLst/>
            <a:gdLst>
              <a:gd name="T0" fmla="*/ 46 w 49"/>
              <a:gd name="T1" fmla="*/ 167 h 167"/>
              <a:gd name="T2" fmla="*/ 46 w 49"/>
              <a:gd name="T3" fmla="*/ 0 h 167"/>
              <a:gd name="T4" fmla="*/ 49 w 49"/>
              <a:gd name="T5" fmla="*/ 2 h 167"/>
              <a:gd name="T6" fmla="*/ 49 w 49"/>
              <a:gd name="T7" fmla="*/ 165 h 167"/>
              <a:gd name="T8" fmla="*/ 46 w 49"/>
              <a:gd name="T9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167">
                <a:moveTo>
                  <a:pt x="46" y="167"/>
                </a:moveTo>
                <a:cubicBezTo>
                  <a:pt x="0" y="121"/>
                  <a:pt x="0" y="46"/>
                  <a:pt x="46" y="0"/>
                </a:cubicBezTo>
                <a:cubicBezTo>
                  <a:pt x="49" y="2"/>
                  <a:pt x="49" y="2"/>
                  <a:pt x="49" y="2"/>
                </a:cubicBezTo>
                <a:cubicBezTo>
                  <a:pt x="4" y="47"/>
                  <a:pt x="4" y="120"/>
                  <a:pt x="49" y="165"/>
                </a:cubicBezTo>
                <a:lnTo>
                  <a:pt x="46" y="167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584"/>
          <p:cNvSpPr>
            <a:spLocks/>
          </p:cNvSpPr>
          <p:nvPr/>
        </p:nvSpPr>
        <p:spPr bwMode="auto">
          <a:xfrm>
            <a:off x="7522939" y="2644171"/>
            <a:ext cx="95250" cy="427038"/>
          </a:xfrm>
          <a:custGeom>
            <a:avLst/>
            <a:gdLst>
              <a:gd name="T0" fmla="*/ 43 w 46"/>
              <a:gd name="T1" fmla="*/ 209 h 209"/>
              <a:gd name="T2" fmla="*/ 0 w 46"/>
              <a:gd name="T3" fmla="*/ 104 h 209"/>
              <a:gd name="T4" fmla="*/ 43 w 46"/>
              <a:gd name="T5" fmla="*/ 0 h 209"/>
              <a:gd name="T6" fmla="*/ 46 w 46"/>
              <a:gd name="T7" fmla="*/ 3 h 209"/>
              <a:gd name="T8" fmla="*/ 4 w 46"/>
              <a:gd name="T9" fmla="*/ 104 h 209"/>
              <a:gd name="T10" fmla="*/ 46 w 46"/>
              <a:gd name="T11" fmla="*/ 206 h 209"/>
              <a:gd name="T12" fmla="*/ 43 w 46"/>
              <a:gd name="T13" fmla="*/ 20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209">
                <a:moveTo>
                  <a:pt x="43" y="209"/>
                </a:moveTo>
                <a:cubicBezTo>
                  <a:pt x="15" y="181"/>
                  <a:pt x="0" y="144"/>
                  <a:pt x="0" y="104"/>
                </a:cubicBezTo>
                <a:cubicBezTo>
                  <a:pt x="0" y="65"/>
                  <a:pt x="15" y="28"/>
                  <a:pt x="43" y="0"/>
                </a:cubicBezTo>
                <a:cubicBezTo>
                  <a:pt x="46" y="3"/>
                  <a:pt x="46" y="3"/>
                  <a:pt x="46" y="3"/>
                </a:cubicBezTo>
                <a:cubicBezTo>
                  <a:pt x="19" y="30"/>
                  <a:pt x="4" y="66"/>
                  <a:pt x="4" y="104"/>
                </a:cubicBezTo>
                <a:cubicBezTo>
                  <a:pt x="4" y="143"/>
                  <a:pt x="19" y="179"/>
                  <a:pt x="46" y="206"/>
                </a:cubicBezTo>
                <a:lnTo>
                  <a:pt x="43" y="209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585"/>
          <p:cNvSpPr>
            <a:spLocks/>
          </p:cNvSpPr>
          <p:nvPr/>
        </p:nvSpPr>
        <p:spPr bwMode="auto">
          <a:xfrm>
            <a:off x="7932514" y="2769583"/>
            <a:ext cx="53975" cy="174625"/>
          </a:xfrm>
          <a:custGeom>
            <a:avLst/>
            <a:gdLst>
              <a:gd name="T0" fmla="*/ 3 w 26"/>
              <a:gd name="T1" fmla="*/ 85 h 85"/>
              <a:gd name="T2" fmla="*/ 0 w 26"/>
              <a:gd name="T3" fmla="*/ 82 h 85"/>
              <a:gd name="T4" fmla="*/ 0 w 26"/>
              <a:gd name="T5" fmla="*/ 3 h 85"/>
              <a:gd name="T6" fmla="*/ 3 w 26"/>
              <a:gd name="T7" fmla="*/ 0 h 85"/>
              <a:gd name="T8" fmla="*/ 3 w 26"/>
              <a:gd name="T9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85">
                <a:moveTo>
                  <a:pt x="3" y="85"/>
                </a:moveTo>
                <a:cubicBezTo>
                  <a:pt x="0" y="82"/>
                  <a:pt x="0" y="82"/>
                  <a:pt x="0" y="82"/>
                </a:cubicBezTo>
                <a:cubicBezTo>
                  <a:pt x="22" y="60"/>
                  <a:pt x="22" y="25"/>
                  <a:pt x="0" y="3"/>
                </a:cubicBezTo>
                <a:cubicBezTo>
                  <a:pt x="3" y="0"/>
                  <a:pt x="3" y="0"/>
                  <a:pt x="3" y="0"/>
                </a:cubicBezTo>
                <a:cubicBezTo>
                  <a:pt x="26" y="23"/>
                  <a:pt x="26" y="62"/>
                  <a:pt x="3" y="85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586"/>
          <p:cNvSpPr>
            <a:spLocks/>
          </p:cNvSpPr>
          <p:nvPr/>
        </p:nvSpPr>
        <p:spPr bwMode="auto">
          <a:xfrm>
            <a:off x="7961089" y="2726721"/>
            <a:ext cx="60325" cy="260350"/>
          </a:xfrm>
          <a:custGeom>
            <a:avLst/>
            <a:gdLst>
              <a:gd name="T0" fmla="*/ 3 w 29"/>
              <a:gd name="T1" fmla="*/ 127 h 127"/>
              <a:gd name="T2" fmla="*/ 0 w 29"/>
              <a:gd name="T3" fmla="*/ 124 h 127"/>
              <a:gd name="T4" fmla="*/ 25 w 29"/>
              <a:gd name="T5" fmla="*/ 63 h 127"/>
              <a:gd name="T6" fmla="*/ 0 w 29"/>
              <a:gd name="T7" fmla="*/ 3 h 127"/>
              <a:gd name="T8" fmla="*/ 3 w 29"/>
              <a:gd name="T9" fmla="*/ 0 h 127"/>
              <a:gd name="T10" fmla="*/ 29 w 29"/>
              <a:gd name="T11" fmla="*/ 63 h 127"/>
              <a:gd name="T12" fmla="*/ 3 w 29"/>
              <a:gd name="T13" fmla="*/ 127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127">
                <a:moveTo>
                  <a:pt x="3" y="127"/>
                </a:moveTo>
                <a:cubicBezTo>
                  <a:pt x="0" y="124"/>
                  <a:pt x="0" y="124"/>
                  <a:pt x="0" y="124"/>
                </a:cubicBezTo>
                <a:cubicBezTo>
                  <a:pt x="17" y="108"/>
                  <a:pt x="25" y="86"/>
                  <a:pt x="25" y="63"/>
                </a:cubicBezTo>
                <a:cubicBezTo>
                  <a:pt x="25" y="41"/>
                  <a:pt x="17" y="19"/>
                  <a:pt x="0" y="3"/>
                </a:cubicBezTo>
                <a:cubicBezTo>
                  <a:pt x="3" y="0"/>
                  <a:pt x="3" y="0"/>
                  <a:pt x="3" y="0"/>
                </a:cubicBezTo>
                <a:cubicBezTo>
                  <a:pt x="20" y="17"/>
                  <a:pt x="29" y="40"/>
                  <a:pt x="29" y="63"/>
                </a:cubicBezTo>
                <a:cubicBezTo>
                  <a:pt x="29" y="87"/>
                  <a:pt x="20" y="110"/>
                  <a:pt x="3" y="127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587"/>
          <p:cNvSpPr>
            <a:spLocks/>
          </p:cNvSpPr>
          <p:nvPr/>
        </p:nvSpPr>
        <p:spPr bwMode="auto">
          <a:xfrm>
            <a:off x="7994427" y="2687033"/>
            <a:ext cx="100013" cy="341313"/>
          </a:xfrm>
          <a:custGeom>
            <a:avLst/>
            <a:gdLst>
              <a:gd name="T0" fmla="*/ 2 w 49"/>
              <a:gd name="T1" fmla="*/ 167 h 167"/>
              <a:gd name="T2" fmla="*/ 0 w 49"/>
              <a:gd name="T3" fmla="*/ 165 h 167"/>
              <a:gd name="T4" fmla="*/ 0 w 49"/>
              <a:gd name="T5" fmla="*/ 2 h 167"/>
              <a:gd name="T6" fmla="*/ 2 w 49"/>
              <a:gd name="T7" fmla="*/ 0 h 167"/>
              <a:gd name="T8" fmla="*/ 2 w 49"/>
              <a:gd name="T9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167">
                <a:moveTo>
                  <a:pt x="2" y="167"/>
                </a:moveTo>
                <a:cubicBezTo>
                  <a:pt x="0" y="165"/>
                  <a:pt x="0" y="165"/>
                  <a:pt x="0" y="165"/>
                </a:cubicBezTo>
                <a:cubicBezTo>
                  <a:pt x="44" y="120"/>
                  <a:pt x="44" y="47"/>
                  <a:pt x="0" y="2"/>
                </a:cubicBezTo>
                <a:cubicBezTo>
                  <a:pt x="2" y="0"/>
                  <a:pt x="2" y="0"/>
                  <a:pt x="2" y="0"/>
                </a:cubicBezTo>
                <a:cubicBezTo>
                  <a:pt x="49" y="46"/>
                  <a:pt x="49" y="121"/>
                  <a:pt x="2" y="167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588"/>
          <p:cNvSpPr>
            <a:spLocks/>
          </p:cNvSpPr>
          <p:nvPr/>
        </p:nvSpPr>
        <p:spPr bwMode="auto">
          <a:xfrm>
            <a:off x="8027764" y="2644171"/>
            <a:ext cx="93663" cy="427038"/>
          </a:xfrm>
          <a:custGeom>
            <a:avLst/>
            <a:gdLst>
              <a:gd name="T0" fmla="*/ 3 w 46"/>
              <a:gd name="T1" fmla="*/ 209 h 209"/>
              <a:gd name="T2" fmla="*/ 0 w 46"/>
              <a:gd name="T3" fmla="*/ 206 h 209"/>
              <a:gd name="T4" fmla="*/ 42 w 46"/>
              <a:gd name="T5" fmla="*/ 104 h 209"/>
              <a:gd name="T6" fmla="*/ 0 w 46"/>
              <a:gd name="T7" fmla="*/ 3 h 209"/>
              <a:gd name="T8" fmla="*/ 3 w 46"/>
              <a:gd name="T9" fmla="*/ 0 h 209"/>
              <a:gd name="T10" fmla="*/ 46 w 46"/>
              <a:gd name="T11" fmla="*/ 104 h 209"/>
              <a:gd name="T12" fmla="*/ 3 w 46"/>
              <a:gd name="T13" fmla="*/ 20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209">
                <a:moveTo>
                  <a:pt x="3" y="209"/>
                </a:moveTo>
                <a:cubicBezTo>
                  <a:pt x="0" y="206"/>
                  <a:pt x="0" y="206"/>
                  <a:pt x="0" y="206"/>
                </a:cubicBezTo>
                <a:cubicBezTo>
                  <a:pt x="27" y="179"/>
                  <a:pt x="42" y="143"/>
                  <a:pt x="42" y="104"/>
                </a:cubicBezTo>
                <a:cubicBezTo>
                  <a:pt x="42" y="66"/>
                  <a:pt x="27" y="30"/>
                  <a:pt x="0" y="3"/>
                </a:cubicBezTo>
                <a:cubicBezTo>
                  <a:pt x="3" y="0"/>
                  <a:pt x="3" y="0"/>
                  <a:pt x="3" y="0"/>
                </a:cubicBezTo>
                <a:cubicBezTo>
                  <a:pt x="30" y="28"/>
                  <a:pt x="46" y="65"/>
                  <a:pt x="46" y="104"/>
                </a:cubicBezTo>
                <a:cubicBezTo>
                  <a:pt x="46" y="144"/>
                  <a:pt x="30" y="181"/>
                  <a:pt x="3" y="20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589"/>
          <p:cNvSpPr>
            <a:spLocks noEditPoints="1"/>
          </p:cNvSpPr>
          <p:nvPr/>
        </p:nvSpPr>
        <p:spPr bwMode="auto">
          <a:xfrm>
            <a:off x="7742014" y="2796571"/>
            <a:ext cx="166688" cy="120650"/>
          </a:xfrm>
          <a:custGeom>
            <a:avLst/>
            <a:gdLst>
              <a:gd name="T0" fmla="*/ 105 w 105"/>
              <a:gd name="T1" fmla="*/ 76 h 76"/>
              <a:gd name="T2" fmla="*/ 0 w 105"/>
              <a:gd name="T3" fmla="*/ 76 h 76"/>
              <a:gd name="T4" fmla="*/ 0 w 105"/>
              <a:gd name="T5" fmla="*/ 0 h 76"/>
              <a:gd name="T6" fmla="*/ 105 w 105"/>
              <a:gd name="T7" fmla="*/ 0 h 76"/>
              <a:gd name="T8" fmla="*/ 105 w 105"/>
              <a:gd name="T9" fmla="*/ 76 h 76"/>
              <a:gd name="T10" fmla="*/ 6 w 105"/>
              <a:gd name="T11" fmla="*/ 71 h 76"/>
              <a:gd name="T12" fmla="*/ 100 w 105"/>
              <a:gd name="T13" fmla="*/ 71 h 76"/>
              <a:gd name="T14" fmla="*/ 100 w 105"/>
              <a:gd name="T15" fmla="*/ 5 h 76"/>
              <a:gd name="T16" fmla="*/ 6 w 105"/>
              <a:gd name="T17" fmla="*/ 5 h 76"/>
              <a:gd name="T18" fmla="*/ 6 w 105"/>
              <a:gd name="T19" fmla="*/ 71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5" h="76">
                <a:moveTo>
                  <a:pt x="105" y="76"/>
                </a:moveTo>
                <a:lnTo>
                  <a:pt x="0" y="76"/>
                </a:lnTo>
                <a:lnTo>
                  <a:pt x="0" y="0"/>
                </a:lnTo>
                <a:lnTo>
                  <a:pt x="105" y="0"/>
                </a:lnTo>
                <a:lnTo>
                  <a:pt x="105" y="76"/>
                </a:lnTo>
                <a:close/>
                <a:moveTo>
                  <a:pt x="6" y="71"/>
                </a:moveTo>
                <a:lnTo>
                  <a:pt x="100" y="71"/>
                </a:lnTo>
                <a:lnTo>
                  <a:pt x="100" y="5"/>
                </a:lnTo>
                <a:lnTo>
                  <a:pt x="6" y="5"/>
                </a:lnTo>
                <a:lnTo>
                  <a:pt x="6" y="71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Rectangle 590"/>
          <p:cNvSpPr>
            <a:spLocks noChangeArrowheads="1"/>
          </p:cNvSpPr>
          <p:nvPr/>
        </p:nvSpPr>
        <p:spPr bwMode="auto">
          <a:xfrm>
            <a:off x="7770589" y="2801333"/>
            <a:ext cx="9525" cy="112713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Rectangle 591"/>
          <p:cNvSpPr>
            <a:spLocks noChangeArrowheads="1"/>
          </p:cNvSpPr>
          <p:nvPr/>
        </p:nvSpPr>
        <p:spPr bwMode="auto">
          <a:xfrm>
            <a:off x="7746777" y="2818796"/>
            <a:ext cx="28575" cy="9525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Rectangle 592"/>
          <p:cNvSpPr>
            <a:spLocks noChangeArrowheads="1"/>
          </p:cNvSpPr>
          <p:nvPr/>
        </p:nvSpPr>
        <p:spPr bwMode="auto">
          <a:xfrm>
            <a:off x="7746777" y="284260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Rectangle 593"/>
          <p:cNvSpPr>
            <a:spLocks noChangeArrowheads="1"/>
          </p:cNvSpPr>
          <p:nvPr/>
        </p:nvSpPr>
        <p:spPr bwMode="auto">
          <a:xfrm>
            <a:off x="7746777" y="286483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594"/>
          <p:cNvSpPr>
            <a:spLocks noChangeArrowheads="1"/>
          </p:cNvSpPr>
          <p:nvPr/>
        </p:nvSpPr>
        <p:spPr bwMode="auto">
          <a:xfrm>
            <a:off x="7746777" y="288705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Rectangle 595"/>
          <p:cNvSpPr>
            <a:spLocks noChangeArrowheads="1"/>
          </p:cNvSpPr>
          <p:nvPr/>
        </p:nvSpPr>
        <p:spPr bwMode="auto">
          <a:xfrm>
            <a:off x="7746777" y="290928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596"/>
          <p:cNvSpPr>
            <a:spLocks noChangeArrowheads="1"/>
          </p:cNvSpPr>
          <p:nvPr/>
        </p:nvSpPr>
        <p:spPr bwMode="auto">
          <a:xfrm>
            <a:off x="7872189" y="2801333"/>
            <a:ext cx="7938" cy="112713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Rectangle 597"/>
          <p:cNvSpPr>
            <a:spLocks noChangeArrowheads="1"/>
          </p:cNvSpPr>
          <p:nvPr/>
        </p:nvSpPr>
        <p:spPr bwMode="auto">
          <a:xfrm>
            <a:off x="7875364" y="290928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598"/>
          <p:cNvSpPr>
            <a:spLocks noChangeArrowheads="1"/>
          </p:cNvSpPr>
          <p:nvPr/>
        </p:nvSpPr>
        <p:spPr bwMode="auto">
          <a:xfrm>
            <a:off x="7875364" y="288705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Rectangle 599"/>
          <p:cNvSpPr>
            <a:spLocks noChangeArrowheads="1"/>
          </p:cNvSpPr>
          <p:nvPr/>
        </p:nvSpPr>
        <p:spPr bwMode="auto">
          <a:xfrm>
            <a:off x="7875364" y="2864833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600"/>
          <p:cNvSpPr>
            <a:spLocks noChangeArrowheads="1"/>
          </p:cNvSpPr>
          <p:nvPr/>
        </p:nvSpPr>
        <p:spPr bwMode="auto">
          <a:xfrm>
            <a:off x="7875364" y="2842608"/>
            <a:ext cx="28575" cy="7938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Rectangle 601"/>
          <p:cNvSpPr>
            <a:spLocks noChangeArrowheads="1"/>
          </p:cNvSpPr>
          <p:nvPr/>
        </p:nvSpPr>
        <p:spPr bwMode="auto">
          <a:xfrm>
            <a:off x="7875364" y="2818796"/>
            <a:ext cx="28575" cy="9525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TextBox 56"/>
          <p:cNvSpPr txBox="1"/>
          <p:nvPr/>
        </p:nvSpPr>
        <p:spPr>
          <a:xfrm>
            <a:off x="2262926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sp>
        <p:nvSpPr>
          <p:cNvPr id="94" name="TextBox 93"/>
          <p:cNvSpPr txBox="1"/>
          <p:nvPr/>
        </p:nvSpPr>
        <p:spPr>
          <a:xfrm>
            <a:off x="2259269" y="3245194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Dostawca</a:t>
            </a:r>
            <a:endParaRPr lang="pl-PL" sz="1000" dirty="0"/>
          </a:p>
        </p:txBody>
      </p:sp>
      <p:sp>
        <p:nvSpPr>
          <p:cNvPr id="101" name="TextBox 100"/>
          <p:cNvSpPr txBox="1"/>
          <p:nvPr/>
        </p:nvSpPr>
        <p:spPr>
          <a:xfrm>
            <a:off x="7420114" y="241111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EUICC</a:t>
            </a:r>
            <a:endParaRPr lang="pl-PL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2824856" y="1375678"/>
            <a:ext cx="9603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EID, SMSR ID</a:t>
            </a:r>
          </a:p>
          <a:p>
            <a:r>
              <a:rPr lang="pl-PL" sz="800" dirty="0" err="1">
                <a:solidFill>
                  <a:srgbClr val="00B050"/>
                </a:solidFill>
              </a:rPr>
              <a:t>Validity</a:t>
            </a:r>
            <a:r>
              <a:rPr lang="pl-PL" sz="800" dirty="0">
                <a:solidFill>
                  <a:srgbClr val="00B050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rgbClr val="00B050"/>
                </a:solidFill>
              </a:rPr>
              <a:t>EIS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810506" y="3476009"/>
            <a:ext cx="1012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chemeClr val="tx2"/>
                </a:solidFill>
              </a:rPr>
              <a:t>EID, SMSR ID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Validity</a:t>
            </a:r>
            <a:r>
              <a:rPr lang="pl-PL" sz="800" dirty="0" smtClean="0">
                <a:solidFill>
                  <a:schemeClr val="tx2"/>
                </a:solidFill>
              </a:rPr>
              <a:t> Period</a:t>
            </a:r>
          </a:p>
          <a:p>
            <a:r>
              <a:rPr lang="pl-PL" sz="800" dirty="0" smtClean="0">
                <a:solidFill>
                  <a:schemeClr val="tx2"/>
                </a:solidFill>
              </a:rPr>
              <a:t>CERT.SR.ECDSA</a:t>
            </a:r>
          </a:p>
          <a:p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r>
              <a:rPr lang="pl-PL" sz="800" dirty="0" smtClean="0">
                <a:solidFill>
                  <a:schemeClr val="tx2"/>
                </a:solidFill>
              </a:rPr>
              <a:t> Challenge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07715" y="2510276"/>
            <a:ext cx="87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PK.SR.ECDSA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r>
              <a:rPr lang="pl-PL" sz="800" dirty="0" smtClean="0">
                <a:solidFill>
                  <a:srgbClr val="00B050"/>
                </a:solidFill>
              </a:rPr>
              <a:t> Challenge</a:t>
            </a: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>
              <a:solidFill>
                <a:srgbClr val="00B050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326067" y="1974948"/>
            <a:ext cx="141982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Signature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ePK.SR.ECKA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Shar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Secre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>
                <a:solidFill>
                  <a:srgbClr val="00B050"/>
                </a:solidFill>
              </a:rPr>
              <a:t>Derivation</a:t>
            </a:r>
            <a:r>
              <a:rPr lang="pl-PL" sz="800" dirty="0">
                <a:solidFill>
                  <a:srgbClr val="00B050"/>
                </a:solidFill>
              </a:rPr>
              <a:t> </a:t>
            </a:r>
            <a:r>
              <a:rPr lang="pl-PL" sz="800" dirty="0" err="1">
                <a:solidFill>
                  <a:srgbClr val="00B050"/>
                </a:solidFill>
              </a:rPr>
              <a:t>Random</a:t>
            </a:r>
            <a:endParaRPr lang="pl-PL" sz="800" dirty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Receip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Deriv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KeySet</a:t>
            </a:r>
            <a:endParaRPr lang="pl-PL" sz="800" dirty="0">
              <a:solidFill>
                <a:srgbClr val="00B050"/>
              </a:solidFill>
            </a:endParaRPr>
          </a:p>
          <a:p>
            <a:endParaRPr lang="pl-PL" sz="800" dirty="0" smtClean="0">
              <a:solidFill>
                <a:srgbClr val="00B050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2254114" y="4114517"/>
            <a:ext cx="15167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chemeClr val="tx2"/>
                </a:solidFill>
              </a:rPr>
              <a:t>ePK.SR.ECKA</a:t>
            </a:r>
            <a:r>
              <a:rPr lang="pl-PL" sz="800" dirty="0" smtClean="0">
                <a:solidFill>
                  <a:schemeClr val="tx2"/>
                </a:solidFill>
              </a:rPr>
              <a:t>, </a:t>
            </a:r>
            <a:r>
              <a:rPr lang="pl-PL" sz="800" dirty="0" err="1" smtClean="0">
                <a:solidFill>
                  <a:schemeClr val="tx2"/>
                </a:solidFill>
              </a:rPr>
              <a:t>Signature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Receipt</a:t>
            </a:r>
            <a:endParaRPr lang="pl-PL" sz="800" dirty="0" smtClean="0">
              <a:solidFill>
                <a:schemeClr val="tx2"/>
              </a:solidFill>
            </a:endParaRPr>
          </a:p>
          <a:p>
            <a:r>
              <a:rPr lang="pl-PL" sz="800" dirty="0" err="1" smtClean="0">
                <a:solidFill>
                  <a:schemeClr val="tx2"/>
                </a:solidFill>
              </a:rPr>
              <a:t>Derivation</a:t>
            </a:r>
            <a:r>
              <a:rPr lang="pl-PL" sz="800" dirty="0" smtClean="0">
                <a:solidFill>
                  <a:schemeClr val="tx2"/>
                </a:solidFill>
              </a:rPr>
              <a:t> </a:t>
            </a:r>
            <a:r>
              <a:rPr lang="pl-PL" sz="800" dirty="0" err="1" smtClean="0">
                <a:solidFill>
                  <a:schemeClr val="tx2"/>
                </a:solidFill>
              </a:rPr>
              <a:t>Random</a:t>
            </a:r>
            <a:endParaRPr lang="pl-PL" sz="800" dirty="0">
              <a:solidFill>
                <a:schemeClr val="tx2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417876" y="3152852"/>
            <a:ext cx="1511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800" dirty="0" err="1" smtClean="0">
                <a:solidFill>
                  <a:srgbClr val="00B050"/>
                </a:solidFill>
              </a:rPr>
              <a:t>Derivation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Random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Derived</a:t>
            </a:r>
            <a:r>
              <a:rPr lang="pl-PL" sz="800" dirty="0" smtClean="0">
                <a:solidFill>
                  <a:srgbClr val="00B050"/>
                </a:solidFill>
              </a:rPr>
              <a:t> </a:t>
            </a:r>
            <a:r>
              <a:rPr lang="pl-PL" sz="800" dirty="0" err="1" smtClean="0">
                <a:solidFill>
                  <a:srgbClr val="00B050"/>
                </a:solidFill>
              </a:rPr>
              <a:t>KeySet</a:t>
            </a:r>
            <a:endParaRPr lang="pl-PL" sz="800" dirty="0" smtClean="0">
              <a:solidFill>
                <a:srgbClr val="00B050"/>
              </a:solidFill>
            </a:endParaRPr>
          </a:p>
          <a:p>
            <a:r>
              <a:rPr lang="pl-PL" sz="800" dirty="0" err="1" smtClean="0">
                <a:solidFill>
                  <a:srgbClr val="00B050"/>
                </a:solidFill>
              </a:rPr>
              <a:t>Receipt</a:t>
            </a:r>
            <a:endParaRPr lang="pl-PL" sz="800" dirty="0">
              <a:solidFill>
                <a:srgbClr val="00B050"/>
              </a:solidFill>
            </a:endParaRPr>
          </a:p>
        </p:txBody>
      </p:sp>
      <p:cxnSp>
        <p:nvCxnSpPr>
          <p:cNvPr id="60" name="Elbow Connector 59"/>
          <p:cNvCxnSpPr/>
          <p:nvPr/>
        </p:nvCxnSpPr>
        <p:spPr>
          <a:xfrm rot="16200000" flipH="1">
            <a:off x="1194072" y="3171001"/>
            <a:ext cx="1186870" cy="981567"/>
          </a:xfrm>
          <a:prstGeom prst="bentConnector3">
            <a:avLst>
              <a:gd name="adj1" fmla="val 99771"/>
            </a:avLst>
          </a:prstGeom>
          <a:ln>
            <a:headEnd type="triangle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693900" y="4355944"/>
            <a:ext cx="15653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chemeClr val="tx2"/>
                </a:solidFill>
              </a:rPr>
              <a:t>SMSRChangeResponse</a:t>
            </a:r>
            <a:endParaRPr lang="pl-PL" sz="10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964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-133740"/>
            <a:ext cx="7280120" cy="1671300"/>
          </a:xfrm>
        </p:spPr>
        <p:txBody>
          <a:bodyPr/>
          <a:lstStyle/>
          <a:p>
            <a:r>
              <a:rPr lang="pl-PL" dirty="0" smtClean="0"/>
              <a:t>Pytanie do publiczności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24</a:t>
            </a:fld>
            <a:endParaRPr lang="en-GB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3163985" y="1808528"/>
            <a:ext cx="5899639" cy="16713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l-PL" sz="3600" dirty="0" smtClean="0"/>
              <a:t>Jak nazywa się algorytm generowania kluczy przedstawiony w procesie?</a:t>
            </a:r>
            <a:endParaRPr lang="pl-PL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703" y="1935131"/>
            <a:ext cx="2150343" cy="1434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723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-133740"/>
            <a:ext cx="7280120" cy="1671300"/>
          </a:xfrm>
        </p:spPr>
        <p:txBody>
          <a:bodyPr/>
          <a:lstStyle/>
          <a:p>
            <a:r>
              <a:rPr lang="pl-PL" dirty="0" smtClean="0"/>
              <a:t>Podpowiedź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25</a:t>
            </a:fld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760" y="1057165"/>
            <a:ext cx="2687800" cy="3891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199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 smtClean="0"/>
              <a:t>Jak taki proces zaimplementować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7397750" y="4346575"/>
            <a:ext cx="1746250" cy="274638"/>
          </a:xfrm>
        </p:spPr>
        <p:txBody>
          <a:bodyPr/>
          <a:lstStyle/>
          <a:p>
            <a:fld id="{B66DC712-81CA-499C-994D-5056AA16CC09}" type="datetime1">
              <a:rPr lang="en-GB" smtClean="0"/>
              <a:t>24/0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281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-133740"/>
            <a:ext cx="7280120" cy="1671300"/>
          </a:xfrm>
        </p:spPr>
        <p:txBody>
          <a:bodyPr/>
          <a:lstStyle/>
          <a:p>
            <a:r>
              <a:rPr lang="pl-PL" dirty="0" smtClean="0"/>
              <a:t>Klasyk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27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100" y="1011926"/>
            <a:ext cx="1695450" cy="16954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239555" y="2958229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6" name="Rectangle 5"/>
          <p:cNvSpPr/>
          <p:nvPr/>
        </p:nvSpPr>
        <p:spPr>
          <a:xfrm>
            <a:off x="3704213" y="2958229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7" name="Rectangle 6"/>
          <p:cNvSpPr/>
          <p:nvPr/>
        </p:nvSpPr>
        <p:spPr>
          <a:xfrm>
            <a:off x="5166933" y="2958228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6510210" y="2958228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11" name="Oval 10"/>
          <p:cNvSpPr/>
          <p:nvPr/>
        </p:nvSpPr>
        <p:spPr>
          <a:xfrm>
            <a:off x="1802585" y="3188262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" name="Straight Connector 12"/>
          <p:cNvCxnSpPr>
            <a:stCxn id="11" idx="6"/>
            <a:endCxn id="5" idx="1"/>
          </p:cNvCxnSpPr>
          <p:nvPr/>
        </p:nvCxnSpPr>
        <p:spPr>
          <a:xfrm flipV="1">
            <a:off x="2004886" y="3283639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5" idx="3"/>
            <a:endCxn id="6" idx="1"/>
          </p:cNvCxnSpPr>
          <p:nvPr/>
        </p:nvCxnSpPr>
        <p:spPr>
          <a:xfrm>
            <a:off x="3469545" y="328363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6" idx="3"/>
            <a:endCxn id="7" idx="1"/>
          </p:cNvCxnSpPr>
          <p:nvPr/>
        </p:nvCxnSpPr>
        <p:spPr>
          <a:xfrm flipV="1">
            <a:off x="4932265" y="3283638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7" idx="3"/>
            <a:endCxn id="9" idx="1"/>
          </p:cNvCxnSpPr>
          <p:nvPr/>
        </p:nvCxnSpPr>
        <p:spPr>
          <a:xfrm>
            <a:off x="6275542" y="3283638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8939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-133740"/>
            <a:ext cx="7280120" cy="1671300"/>
          </a:xfrm>
        </p:spPr>
        <p:txBody>
          <a:bodyPr/>
          <a:lstStyle/>
          <a:p>
            <a:r>
              <a:rPr lang="pl-PL" dirty="0" smtClean="0"/>
              <a:t>Klasyk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28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100" y="1011926"/>
            <a:ext cx="1695450" cy="16954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239555" y="2958229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6" name="Rectangle 5"/>
          <p:cNvSpPr/>
          <p:nvPr/>
        </p:nvSpPr>
        <p:spPr>
          <a:xfrm>
            <a:off x="3704213" y="2958229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7" name="Rectangle 6"/>
          <p:cNvSpPr/>
          <p:nvPr/>
        </p:nvSpPr>
        <p:spPr>
          <a:xfrm>
            <a:off x="5166933" y="2958228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6510210" y="2958228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11" name="Oval 10"/>
          <p:cNvSpPr/>
          <p:nvPr/>
        </p:nvSpPr>
        <p:spPr>
          <a:xfrm>
            <a:off x="1802585" y="3188262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" name="Straight Connector 12"/>
          <p:cNvCxnSpPr>
            <a:stCxn id="11" idx="6"/>
            <a:endCxn id="5" idx="1"/>
          </p:cNvCxnSpPr>
          <p:nvPr/>
        </p:nvCxnSpPr>
        <p:spPr>
          <a:xfrm flipV="1">
            <a:off x="2004886" y="3283639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5" idx="3"/>
            <a:endCxn id="6" idx="1"/>
          </p:cNvCxnSpPr>
          <p:nvPr/>
        </p:nvCxnSpPr>
        <p:spPr>
          <a:xfrm>
            <a:off x="3469545" y="328363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6" idx="3"/>
            <a:endCxn id="7" idx="1"/>
          </p:cNvCxnSpPr>
          <p:nvPr/>
        </p:nvCxnSpPr>
        <p:spPr>
          <a:xfrm flipV="1">
            <a:off x="4932265" y="3283638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7" idx="3"/>
            <a:endCxn id="9" idx="1"/>
          </p:cNvCxnSpPr>
          <p:nvPr/>
        </p:nvCxnSpPr>
        <p:spPr>
          <a:xfrm>
            <a:off x="6275542" y="3283638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2239555" y="3018329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Rectangle 15"/>
          <p:cNvSpPr/>
          <p:nvPr/>
        </p:nvSpPr>
        <p:spPr>
          <a:xfrm>
            <a:off x="3702275" y="3459936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5162886" y="3402700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0" name="Rectangle 19"/>
          <p:cNvSpPr/>
          <p:nvPr/>
        </p:nvSpPr>
        <p:spPr>
          <a:xfrm>
            <a:off x="6510209" y="3016896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90849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-133740"/>
            <a:ext cx="7280120" cy="1671300"/>
          </a:xfrm>
        </p:spPr>
        <p:txBody>
          <a:bodyPr/>
          <a:lstStyle/>
          <a:p>
            <a:r>
              <a:rPr lang="pl-PL" dirty="0" smtClean="0"/>
              <a:t>Klasyk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29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100" y="1011926"/>
            <a:ext cx="1695450" cy="16954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696121" y="1146239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6" name="Rectangle 5"/>
          <p:cNvSpPr/>
          <p:nvPr/>
        </p:nvSpPr>
        <p:spPr>
          <a:xfrm>
            <a:off x="5160779" y="1146239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7" name="Rectangle 6"/>
          <p:cNvSpPr/>
          <p:nvPr/>
        </p:nvSpPr>
        <p:spPr>
          <a:xfrm>
            <a:off x="6623499" y="1146238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7966776" y="1146238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11" name="Oval 10"/>
          <p:cNvSpPr/>
          <p:nvPr/>
        </p:nvSpPr>
        <p:spPr>
          <a:xfrm>
            <a:off x="3259151" y="1376272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" name="Straight Connector 12"/>
          <p:cNvCxnSpPr>
            <a:stCxn id="11" idx="6"/>
            <a:endCxn id="5" idx="1"/>
          </p:cNvCxnSpPr>
          <p:nvPr/>
        </p:nvCxnSpPr>
        <p:spPr>
          <a:xfrm flipV="1">
            <a:off x="3461452" y="1471649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5" idx="3"/>
            <a:endCxn id="6" idx="1"/>
          </p:cNvCxnSpPr>
          <p:nvPr/>
        </p:nvCxnSpPr>
        <p:spPr>
          <a:xfrm>
            <a:off x="4926111" y="147164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6" idx="3"/>
            <a:endCxn id="7" idx="1"/>
          </p:cNvCxnSpPr>
          <p:nvPr/>
        </p:nvCxnSpPr>
        <p:spPr>
          <a:xfrm flipV="1">
            <a:off x="6388831" y="1471648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7" idx="3"/>
            <a:endCxn id="9" idx="1"/>
          </p:cNvCxnSpPr>
          <p:nvPr/>
        </p:nvCxnSpPr>
        <p:spPr>
          <a:xfrm>
            <a:off x="7732108" y="1471648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3696121" y="1206339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Rectangle 15"/>
          <p:cNvSpPr/>
          <p:nvPr/>
        </p:nvSpPr>
        <p:spPr>
          <a:xfrm>
            <a:off x="5158841" y="1647946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6619452" y="1356042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0" name="Rectangle 19"/>
          <p:cNvSpPr/>
          <p:nvPr/>
        </p:nvSpPr>
        <p:spPr>
          <a:xfrm>
            <a:off x="7966775" y="1204906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1" name="Rectangle 20"/>
          <p:cNvSpPr/>
          <p:nvPr/>
        </p:nvSpPr>
        <p:spPr>
          <a:xfrm>
            <a:off x="3696121" y="1903983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22" name="Rectangle 21"/>
          <p:cNvSpPr/>
          <p:nvPr/>
        </p:nvSpPr>
        <p:spPr>
          <a:xfrm>
            <a:off x="5160779" y="1903983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23" name="Rectangle 22"/>
          <p:cNvSpPr/>
          <p:nvPr/>
        </p:nvSpPr>
        <p:spPr>
          <a:xfrm>
            <a:off x="6623499" y="1903982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24" name="Rectangle 23"/>
          <p:cNvSpPr/>
          <p:nvPr/>
        </p:nvSpPr>
        <p:spPr>
          <a:xfrm>
            <a:off x="7966776" y="1903982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25" name="Oval 24"/>
          <p:cNvSpPr/>
          <p:nvPr/>
        </p:nvSpPr>
        <p:spPr>
          <a:xfrm>
            <a:off x="3259151" y="2134016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26" name="Straight Connector 25"/>
          <p:cNvCxnSpPr>
            <a:stCxn id="25" idx="6"/>
            <a:endCxn id="21" idx="1"/>
          </p:cNvCxnSpPr>
          <p:nvPr/>
        </p:nvCxnSpPr>
        <p:spPr>
          <a:xfrm flipV="1">
            <a:off x="3461452" y="2229393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21" idx="3"/>
            <a:endCxn id="22" idx="1"/>
          </p:cNvCxnSpPr>
          <p:nvPr/>
        </p:nvCxnSpPr>
        <p:spPr>
          <a:xfrm>
            <a:off x="4926111" y="2229393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2" idx="3"/>
            <a:endCxn id="23" idx="1"/>
          </p:cNvCxnSpPr>
          <p:nvPr/>
        </p:nvCxnSpPr>
        <p:spPr>
          <a:xfrm flipV="1">
            <a:off x="6388831" y="2229392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23" idx="3"/>
            <a:endCxn id="24" idx="1"/>
          </p:cNvCxnSpPr>
          <p:nvPr/>
        </p:nvCxnSpPr>
        <p:spPr>
          <a:xfrm>
            <a:off x="7732108" y="2229392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696121" y="2384867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1" name="Rectangle 30"/>
          <p:cNvSpPr/>
          <p:nvPr/>
        </p:nvSpPr>
        <p:spPr>
          <a:xfrm>
            <a:off x="5158841" y="2146746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2" name="Rectangle 31"/>
          <p:cNvSpPr/>
          <p:nvPr/>
        </p:nvSpPr>
        <p:spPr>
          <a:xfrm>
            <a:off x="6619452" y="2057142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3" name="Rectangle 32"/>
          <p:cNvSpPr/>
          <p:nvPr/>
        </p:nvSpPr>
        <p:spPr>
          <a:xfrm>
            <a:off x="7966775" y="1962650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4" name="Rectangle 33"/>
          <p:cNvSpPr/>
          <p:nvPr/>
        </p:nvSpPr>
        <p:spPr>
          <a:xfrm>
            <a:off x="3691907" y="2656250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35" name="Rectangle 34"/>
          <p:cNvSpPr/>
          <p:nvPr/>
        </p:nvSpPr>
        <p:spPr>
          <a:xfrm>
            <a:off x="5156565" y="2656250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36" name="Rectangle 35"/>
          <p:cNvSpPr/>
          <p:nvPr/>
        </p:nvSpPr>
        <p:spPr>
          <a:xfrm>
            <a:off x="6619285" y="2656249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37" name="Rectangle 36"/>
          <p:cNvSpPr/>
          <p:nvPr/>
        </p:nvSpPr>
        <p:spPr>
          <a:xfrm>
            <a:off x="7962562" y="2656249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38" name="Oval 37"/>
          <p:cNvSpPr/>
          <p:nvPr/>
        </p:nvSpPr>
        <p:spPr>
          <a:xfrm>
            <a:off x="3254937" y="2886283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39" name="Straight Connector 38"/>
          <p:cNvCxnSpPr>
            <a:stCxn id="38" idx="6"/>
            <a:endCxn id="34" idx="1"/>
          </p:cNvCxnSpPr>
          <p:nvPr/>
        </p:nvCxnSpPr>
        <p:spPr>
          <a:xfrm flipV="1">
            <a:off x="3457238" y="2981660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34" idx="3"/>
            <a:endCxn id="35" idx="1"/>
          </p:cNvCxnSpPr>
          <p:nvPr/>
        </p:nvCxnSpPr>
        <p:spPr>
          <a:xfrm>
            <a:off x="4921897" y="2981660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35" idx="3"/>
            <a:endCxn id="36" idx="1"/>
          </p:cNvCxnSpPr>
          <p:nvPr/>
        </p:nvCxnSpPr>
        <p:spPr>
          <a:xfrm flipV="1">
            <a:off x="6384617" y="2981659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36" idx="3"/>
            <a:endCxn id="37" idx="1"/>
          </p:cNvCxnSpPr>
          <p:nvPr/>
        </p:nvCxnSpPr>
        <p:spPr>
          <a:xfrm>
            <a:off x="7727894" y="298165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3691907" y="3007662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4" name="Rectangle 43"/>
          <p:cNvSpPr/>
          <p:nvPr/>
        </p:nvSpPr>
        <p:spPr>
          <a:xfrm>
            <a:off x="5154627" y="3044669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5" name="Rectangle 44"/>
          <p:cNvSpPr/>
          <p:nvPr/>
        </p:nvSpPr>
        <p:spPr>
          <a:xfrm>
            <a:off x="6615238" y="2938881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6" name="Rectangle 45"/>
          <p:cNvSpPr/>
          <p:nvPr/>
        </p:nvSpPr>
        <p:spPr>
          <a:xfrm>
            <a:off x="7962561" y="2714917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7" name="Rectangle 46"/>
          <p:cNvSpPr/>
          <p:nvPr/>
        </p:nvSpPr>
        <p:spPr>
          <a:xfrm>
            <a:off x="3687693" y="3414290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48" name="Rectangle 47"/>
          <p:cNvSpPr/>
          <p:nvPr/>
        </p:nvSpPr>
        <p:spPr>
          <a:xfrm>
            <a:off x="5152351" y="3414290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49" name="Rectangle 48"/>
          <p:cNvSpPr/>
          <p:nvPr/>
        </p:nvSpPr>
        <p:spPr>
          <a:xfrm>
            <a:off x="6615071" y="3414289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50" name="Rectangle 49"/>
          <p:cNvSpPr/>
          <p:nvPr/>
        </p:nvSpPr>
        <p:spPr>
          <a:xfrm>
            <a:off x="7958348" y="3414289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51" name="Oval 50"/>
          <p:cNvSpPr/>
          <p:nvPr/>
        </p:nvSpPr>
        <p:spPr>
          <a:xfrm>
            <a:off x="3250723" y="3644323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52" name="Straight Connector 51"/>
          <p:cNvCxnSpPr>
            <a:stCxn id="51" idx="6"/>
            <a:endCxn id="47" idx="1"/>
          </p:cNvCxnSpPr>
          <p:nvPr/>
        </p:nvCxnSpPr>
        <p:spPr>
          <a:xfrm flipV="1">
            <a:off x="3453024" y="3739700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47" idx="3"/>
            <a:endCxn id="48" idx="1"/>
          </p:cNvCxnSpPr>
          <p:nvPr/>
        </p:nvCxnSpPr>
        <p:spPr>
          <a:xfrm>
            <a:off x="4917683" y="3739700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48" idx="3"/>
            <a:endCxn id="49" idx="1"/>
          </p:cNvCxnSpPr>
          <p:nvPr/>
        </p:nvCxnSpPr>
        <p:spPr>
          <a:xfrm flipV="1">
            <a:off x="6380403" y="3739699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49" idx="3"/>
            <a:endCxn id="50" idx="1"/>
          </p:cNvCxnSpPr>
          <p:nvPr/>
        </p:nvCxnSpPr>
        <p:spPr>
          <a:xfrm>
            <a:off x="7723680" y="373969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3687693" y="3611954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7" name="Rectangle 56"/>
          <p:cNvSpPr/>
          <p:nvPr/>
        </p:nvSpPr>
        <p:spPr>
          <a:xfrm>
            <a:off x="5150413" y="3648961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8" name="Rectangle 57"/>
          <p:cNvSpPr/>
          <p:nvPr/>
        </p:nvSpPr>
        <p:spPr>
          <a:xfrm>
            <a:off x="6611024" y="3559357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9" name="Rectangle 58"/>
          <p:cNvSpPr/>
          <p:nvPr/>
        </p:nvSpPr>
        <p:spPr>
          <a:xfrm>
            <a:off x="7958347" y="3472957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22829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70992"/>
            <a:ext cx="5918400" cy="1671300"/>
          </a:xfrm>
        </p:spPr>
        <p:txBody>
          <a:bodyPr/>
          <a:lstStyle/>
          <a:p>
            <a:r>
              <a:rPr lang="pl-PL" dirty="0" smtClean="0"/>
              <a:t>Małe przeprosiny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3</a:t>
            </a:fld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00" y="1397319"/>
            <a:ext cx="3049694" cy="358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196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-133740"/>
            <a:ext cx="7280120" cy="1671300"/>
          </a:xfrm>
        </p:spPr>
        <p:txBody>
          <a:bodyPr/>
          <a:lstStyle/>
          <a:p>
            <a:r>
              <a:rPr lang="pl-PL" dirty="0" smtClean="0"/>
              <a:t>Klasyk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30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100" y="1011926"/>
            <a:ext cx="1695450" cy="16954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696121" y="1146239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6" name="Rectangle 5"/>
          <p:cNvSpPr/>
          <p:nvPr/>
        </p:nvSpPr>
        <p:spPr>
          <a:xfrm>
            <a:off x="5160779" y="1146239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7" name="Rectangle 6"/>
          <p:cNvSpPr/>
          <p:nvPr/>
        </p:nvSpPr>
        <p:spPr>
          <a:xfrm>
            <a:off x="6623499" y="1146238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7966776" y="1146238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11" name="Oval 10"/>
          <p:cNvSpPr/>
          <p:nvPr/>
        </p:nvSpPr>
        <p:spPr>
          <a:xfrm>
            <a:off x="3259151" y="1376272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" name="Straight Connector 12"/>
          <p:cNvCxnSpPr>
            <a:stCxn id="11" idx="6"/>
            <a:endCxn id="5" idx="1"/>
          </p:cNvCxnSpPr>
          <p:nvPr/>
        </p:nvCxnSpPr>
        <p:spPr>
          <a:xfrm flipV="1">
            <a:off x="3461452" y="1471649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5" idx="3"/>
            <a:endCxn id="6" idx="1"/>
          </p:cNvCxnSpPr>
          <p:nvPr/>
        </p:nvCxnSpPr>
        <p:spPr>
          <a:xfrm>
            <a:off x="4926111" y="147164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6" idx="3"/>
            <a:endCxn id="7" idx="1"/>
          </p:cNvCxnSpPr>
          <p:nvPr/>
        </p:nvCxnSpPr>
        <p:spPr>
          <a:xfrm flipV="1">
            <a:off x="6388831" y="1471648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7" idx="3"/>
            <a:endCxn id="9" idx="1"/>
          </p:cNvCxnSpPr>
          <p:nvPr/>
        </p:nvCxnSpPr>
        <p:spPr>
          <a:xfrm>
            <a:off x="7732108" y="1471648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3696121" y="1206339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Rectangle 15"/>
          <p:cNvSpPr/>
          <p:nvPr/>
        </p:nvSpPr>
        <p:spPr>
          <a:xfrm>
            <a:off x="5158841" y="1647946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6619452" y="1356042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0" name="Rectangle 19"/>
          <p:cNvSpPr/>
          <p:nvPr/>
        </p:nvSpPr>
        <p:spPr>
          <a:xfrm>
            <a:off x="7966775" y="1204906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1" name="Rectangle 20"/>
          <p:cNvSpPr/>
          <p:nvPr/>
        </p:nvSpPr>
        <p:spPr>
          <a:xfrm>
            <a:off x="3696121" y="1903983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22" name="Rectangle 21"/>
          <p:cNvSpPr/>
          <p:nvPr/>
        </p:nvSpPr>
        <p:spPr>
          <a:xfrm>
            <a:off x="5160779" y="1903983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23" name="Rectangle 22"/>
          <p:cNvSpPr/>
          <p:nvPr/>
        </p:nvSpPr>
        <p:spPr>
          <a:xfrm>
            <a:off x="6623499" y="1903982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24" name="Rectangle 23"/>
          <p:cNvSpPr/>
          <p:nvPr/>
        </p:nvSpPr>
        <p:spPr>
          <a:xfrm>
            <a:off x="7966776" y="1903982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25" name="Oval 24"/>
          <p:cNvSpPr/>
          <p:nvPr/>
        </p:nvSpPr>
        <p:spPr>
          <a:xfrm>
            <a:off x="3259151" y="2134016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26" name="Straight Connector 25"/>
          <p:cNvCxnSpPr>
            <a:stCxn id="25" idx="6"/>
            <a:endCxn id="21" idx="1"/>
          </p:cNvCxnSpPr>
          <p:nvPr/>
        </p:nvCxnSpPr>
        <p:spPr>
          <a:xfrm flipV="1">
            <a:off x="3461452" y="2229393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21" idx="3"/>
            <a:endCxn id="22" idx="1"/>
          </p:cNvCxnSpPr>
          <p:nvPr/>
        </p:nvCxnSpPr>
        <p:spPr>
          <a:xfrm>
            <a:off x="4926111" y="2229393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2" idx="3"/>
            <a:endCxn id="23" idx="1"/>
          </p:cNvCxnSpPr>
          <p:nvPr/>
        </p:nvCxnSpPr>
        <p:spPr>
          <a:xfrm flipV="1">
            <a:off x="6388831" y="2229392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23" idx="3"/>
            <a:endCxn id="24" idx="1"/>
          </p:cNvCxnSpPr>
          <p:nvPr/>
        </p:nvCxnSpPr>
        <p:spPr>
          <a:xfrm>
            <a:off x="7732108" y="2229392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696121" y="2384867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1" name="Rectangle 30"/>
          <p:cNvSpPr/>
          <p:nvPr/>
        </p:nvSpPr>
        <p:spPr>
          <a:xfrm>
            <a:off x="5158841" y="2146746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2" name="Rectangle 31"/>
          <p:cNvSpPr/>
          <p:nvPr/>
        </p:nvSpPr>
        <p:spPr>
          <a:xfrm>
            <a:off x="6619452" y="2057142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3" name="Rectangle 32"/>
          <p:cNvSpPr/>
          <p:nvPr/>
        </p:nvSpPr>
        <p:spPr>
          <a:xfrm>
            <a:off x="7966775" y="1962650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4" name="Rectangle 33"/>
          <p:cNvSpPr/>
          <p:nvPr/>
        </p:nvSpPr>
        <p:spPr>
          <a:xfrm>
            <a:off x="3691907" y="2656250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35" name="Rectangle 34"/>
          <p:cNvSpPr/>
          <p:nvPr/>
        </p:nvSpPr>
        <p:spPr>
          <a:xfrm>
            <a:off x="5156565" y="2656250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36" name="Rectangle 35"/>
          <p:cNvSpPr/>
          <p:nvPr/>
        </p:nvSpPr>
        <p:spPr>
          <a:xfrm>
            <a:off x="6619285" y="2656249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37" name="Rectangle 36"/>
          <p:cNvSpPr/>
          <p:nvPr/>
        </p:nvSpPr>
        <p:spPr>
          <a:xfrm>
            <a:off x="7962562" y="2656249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38" name="Oval 37"/>
          <p:cNvSpPr/>
          <p:nvPr/>
        </p:nvSpPr>
        <p:spPr>
          <a:xfrm>
            <a:off x="3254937" y="2886283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39" name="Straight Connector 38"/>
          <p:cNvCxnSpPr>
            <a:stCxn id="38" idx="6"/>
            <a:endCxn id="34" idx="1"/>
          </p:cNvCxnSpPr>
          <p:nvPr/>
        </p:nvCxnSpPr>
        <p:spPr>
          <a:xfrm flipV="1">
            <a:off x="3457238" y="2981660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34" idx="3"/>
            <a:endCxn id="35" idx="1"/>
          </p:cNvCxnSpPr>
          <p:nvPr/>
        </p:nvCxnSpPr>
        <p:spPr>
          <a:xfrm>
            <a:off x="4921897" y="2981660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35" idx="3"/>
            <a:endCxn id="36" idx="1"/>
          </p:cNvCxnSpPr>
          <p:nvPr/>
        </p:nvCxnSpPr>
        <p:spPr>
          <a:xfrm flipV="1">
            <a:off x="6384617" y="2981659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36" idx="3"/>
            <a:endCxn id="37" idx="1"/>
          </p:cNvCxnSpPr>
          <p:nvPr/>
        </p:nvCxnSpPr>
        <p:spPr>
          <a:xfrm>
            <a:off x="7727894" y="298165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3691907" y="3007662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4" name="Rectangle 43"/>
          <p:cNvSpPr/>
          <p:nvPr/>
        </p:nvSpPr>
        <p:spPr>
          <a:xfrm>
            <a:off x="5154627" y="3044669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5" name="Rectangle 44"/>
          <p:cNvSpPr/>
          <p:nvPr/>
        </p:nvSpPr>
        <p:spPr>
          <a:xfrm>
            <a:off x="6615238" y="2938881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6" name="Rectangle 45"/>
          <p:cNvSpPr/>
          <p:nvPr/>
        </p:nvSpPr>
        <p:spPr>
          <a:xfrm>
            <a:off x="7962561" y="2714917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7" name="Rectangle 46"/>
          <p:cNvSpPr/>
          <p:nvPr/>
        </p:nvSpPr>
        <p:spPr>
          <a:xfrm>
            <a:off x="3687693" y="3414290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48" name="Rectangle 47"/>
          <p:cNvSpPr/>
          <p:nvPr/>
        </p:nvSpPr>
        <p:spPr>
          <a:xfrm>
            <a:off x="5152351" y="3414290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49" name="Rectangle 48"/>
          <p:cNvSpPr/>
          <p:nvPr/>
        </p:nvSpPr>
        <p:spPr>
          <a:xfrm>
            <a:off x="6615071" y="3414289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50" name="Rectangle 49"/>
          <p:cNvSpPr/>
          <p:nvPr/>
        </p:nvSpPr>
        <p:spPr>
          <a:xfrm>
            <a:off x="7958348" y="3414289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51" name="Oval 50"/>
          <p:cNvSpPr/>
          <p:nvPr/>
        </p:nvSpPr>
        <p:spPr>
          <a:xfrm>
            <a:off x="3250723" y="3644323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52" name="Straight Connector 51"/>
          <p:cNvCxnSpPr>
            <a:stCxn id="51" idx="6"/>
            <a:endCxn id="47" idx="1"/>
          </p:cNvCxnSpPr>
          <p:nvPr/>
        </p:nvCxnSpPr>
        <p:spPr>
          <a:xfrm flipV="1">
            <a:off x="3453024" y="3739700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47" idx="3"/>
            <a:endCxn id="48" idx="1"/>
          </p:cNvCxnSpPr>
          <p:nvPr/>
        </p:nvCxnSpPr>
        <p:spPr>
          <a:xfrm>
            <a:off x="4917683" y="3739700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48" idx="3"/>
            <a:endCxn id="49" idx="1"/>
          </p:cNvCxnSpPr>
          <p:nvPr/>
        </p:nvCxnSpPr>
        <p:spPr>
          <a:xfrm flipV="1">
            <a:off x="6380403" y="3739699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49" idx="3"/>
            <a:endCxn id="50" idx="1"/>
          </p:cNvCxnSpPr>
          <p:nvPr/>
        </p:nvCxnSpPr>
        <p:spPr>
          <a:xfrm>
            <a:off x="7723680" y="373969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3687693" y="3611954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7" name="Rectangle 56"/>
          <p:cNvSpPr/>
          <p:nvPr/>
        </p:nvSpPr>
        <p:spPr>
          <a:xfrm>
            <a:off x="5150413" y="3648961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8" name="Rectangle 57"/>
          <p:cNvSpPr/>
          <p:nvPr/>
        </p:nvSpPr>
        <p:spPr>
          <a:xfrm>
            <a:off x="6611024" y="3559357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9" name="Rectangle 58"/>
          <p:cNvSpPr/>
          <p:nvPr/>
        </p:nvSpPr>
        <p:spPr>
          <a:xfrm>
            <a:off x="7958347" y="3472957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4" name="Straight Arrow Connector 13"/>
          <p:cNvCxnSpPr>
            <a:stCxn id="5" idx="3"/>
          </p:cNvCxnSpPr>
          <p:nvPr/>
        </p:nvCxnSpPr>
        <p:spPr>
          <a:xfrm>
            <a:off x="4926111" y="1471649"/>
            <a:ext cx="232730" cy="4323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stCxn id="21" idx="3"/>
            <a:endCxn id="57" idx="1"/>
          </p:cNvCxnSpPr>
          <p:nvPr/>
        </p:nvCxnSpPr>
        <p:spPr>
          <a:xfrm>
            <a:off x="4926111" y="2229393"/>
            <a:ext cx="224302" cy="1464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34" idx="3"/>
            <a:endCxn id="22" idx="2"/>
          </p:cNvCxnSpPr>
          <p:nvPr/>
        </p:nvCxnSpPr>
        <p:spPr>
          <a:xfrm flipV="1">
            <a:off x="4921897" y="2554802"/>
            <a:ext cx="852908" cy="4268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stCxn id="6" idx="2"/>
            <a:endCxn id="23" idx="1"/>
          </p:cNvCxnSpPr>
          <p:nvPr/>
        </p:nvCxnSpPr>
        <p:spPr>
          <a:xfrm>
            <a:off x="5774805" y="1797058"/>
            <a:ext cx="848694" cy="4323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/>
          <p:cNvCxnSpPr>
            <a:stCxn id="35" idx="3"/>
            <a:endCxn id="24" idx="1"/>
          </p:cNvCxnSpPr>
          <p:nvPr/>
        </p:nvCxnSpPr>
        <p:spPr>
          <a:xfrm flipV="1">
            <a:off x="6384617" y="2229392"/>
            <a:ext cx="1582159" cy="752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stCxn id="48" idx="3"/>
            <a:endCxn id="37" idx="1"/>
          </p:cNvCxnSpPr>
          <p:nvPr/>
        </p:nvCxnSpPr>
        <p:spPr>
          <a:xfrm flipV="1">
            <a:off x="6380403" y="2981659"/>
            <a:ext cx="1582159" cy="7580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>
            <a:endCxn id="35" idx="1"/>
          </p:cNvCxnSpPr>
          <p:nvPr/>
        </p:nvCxnSpPr>
        <p:spPr>
          <a:xfrm flipH="1">
            <a:off x="5156565" y="1537560"/>
            <a:ext cx="1454459" cy="14441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>
            <a:stCxn id="57" idx="1"/>
            <a:endCxn id="45" idx="1"/>
          </p:cNvCxnSpPr>
          <p:nvPr/>
        </p:nvCxnSpPr>
        <p:spPr>
          <a:xfrm flipV="1">
            <a:off x="5150413" y="2995821"/>
            <a:ext cx="1464825" cy="6976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5" idx="3"/>
            <a:endCxn id="50" idx="1"/>
          </p:cNvCxnSpPr>
          <p:nvPr/>
        </p:nvCxnSpPr>
        <p:spPr>
          <a:xfrm>
            <a:off x="4926111" y="1471649"/>
            <a:ext cx="3032237" cy="22680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450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ctangle 77"/>
          <p:cNvSpPr/>
          <p:nvPr/>
        </p:nvSpPr>
        <p:spPr>
          <a:xfrm>
            <a:off x="6125669" y="147146"/>
            <a:ext cx="1832677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-133740"/>
            <a:ext cx="4048653" cy="1671300"/>
          </a:xfrm>
        </p:spPr>
        <p:txBody>
          <a:bodyPr/>
          <a:lstStyle/>
          <a:p>
            <a:r>
              <a:rPr lang="pl-PL" dirty="0" smtClean="0"/>
              <a:t>Klasyk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31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100" y="1011926"/>
            <a:ext cx="1695450" cy="16954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696121" y="1146239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6" name="Rectangle 5"/>
          <p:cNvSpPr/>
          <p:nvPr/>
        </p:nvSpPr>
        <p:spPr>
          <a:xfrm>
            <a:off x="5160779" y="1146239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7" name="Rectangle 6"/>
          <p:cNvSpPr/>
          <p:nvPr/>
        </p:nvSpPr>
        <p:spPr>
          <a:xfrm>
            <a:off x="6623499" y="1146238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7966776" y="1146238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11" name="Oval 10"/>
          <p:cNvSpPr/>
          <p:nvPr/>
        </p:nvSpPr>
        <p:spPr>
          <a:xfrm>
            <a:off x="3259151" y="1376272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" name="Straight Connector 12"/>
          <p:cNvCxnSpPr>
            <a:stCxn id="11" idx="6"/>
            <a:endCxn id="5" idx="1"/>
          </p:cNvCxnSpPr>
          <p:nvPr/>
        </p:nvCxnSpPr>
        <p:spPr>
          <a:xfrm flipV="1">
            <a:off x="3461452" y="1471649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5" idx="3"/>
            <a:endCxn id="6" idx="1"/>
          </p:cNvCxnSpPr>
          <p:nvPr/>
        </p:nvCxnSpPr>
        <p:spPr>
          <a:xfrm>
            <a:off x="4926111" y="147164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6" idx="3"/>
            <a:endCxn id="7" idx="1"/>
          </p:cNvCxnSpPr>
          <p:nvPr/>
        </p:nvCxnSpPr>
        <p:spPr>
          <a:xfrm flipV="1">
            <a:off x="6388831" y="1471648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7" idx="3"/>
            <a:endCxn id="9" idx="1"/>
          </p:cNvCxnSpPr>
          <p:nvPr/>
        </p:nvCxnSpPr>
        <p:spPr>
          <a:xfrm>
            <a:off x="7732108" y="1471648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3696121" y="1206339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Rectangle 15"/>
          <p:cNvSpPr/>
          <p:nvPr/>
        </p:nvSpPr>
        <p:spPr>
          <a:xfrm>
            <a:off x="5158841" y="1647946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6619452" y="1356042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0" name="Rectangle 19"/>
          <p:cNvSpPr/>
          <p:nvPr/>
        </p:nvSpPr>
        <p:spPr>
          <a:xfrm>
            <a:off x="7966775" y="1204906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1" name="Rectangle 20"/>
          <p:cNvSpPr/>
          <p:nvPr/>
        </p:nvSpPr>
        <p:spPr>
          <a:xfrm>
            <a:off x="3696121" y="1903983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22" name="Rectangle 21"/>
          <p:cNvSpPr/>
          <p:nvPr/>
        </p:nvSpPr>
        <p:spPr>
          <a:xfrm>
            <a:off x="5160779" y="1903983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23" name="Rectangle 22"/>
          <p:cNvSpPr/>
          <p:nvPr/>
        </p:nvSpPr>
        <p:spPr>
          <a:xfrm>
            <a:off x="6623499" y="1903982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24" name="Rectangle 23"/>
          <p:cNvSpPr/>
          <p:nvPr/>
        </p:nvSpPr>
        <p:spPr>
          <a:xfrm>
            <a:off x="7966776" y="1903982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25" name="Oval 24"/>
          <p:cNvSpPr/>
          <p:nvPr/>
        </p:nvSpPr>
        <p:spPr>
          <a:xfrm>
            <a:off x="3259151" y="2134016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26" name="Straight Connector 25"/>
          <p:cNvCxnSpPr>
            <a:stCxn id="25" idx="6"/>
            <a:endCxn id="21" idx="1"/>
          </p:cNvCxnSpPr>
          <p:nvPr/>
        </p:nvCxnSpPr>
        <p:spPr>
          <a:xfrm flipV="1">
            <a:off x="3461452" y="2229393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21" idx="3"/>
            <a:endCxn id="22" idx="1"/>
          </p:cNvCxnSpPr>
          <p:nvPr/>
        </p:nvCxnSpPr>
        <p:spPr>
          <a:xfrm>
            <a:off x="4926111" y="2229393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2" idx="3"/>
            <a:endCxn id="23" idx="1"/>
          </p:cNvCxnSpPr>
          <p:nvPr/>
        </p:nvCxnSpPr>
        <p:spPr>
          <a:xfrm flipV="1">
            <a:off x="6388831" y="2229392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23" idx="3"/>
            <a:endCxn id="24" idx="1"/>
          </p:cNvCxnSpPr>
          <p:nvPr/>
        </p:nvCxnSpPr>
        <p:spPr>
          <a:xfrm>
            <a:off x="7732108" y="2229392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696121" y="2384867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1" name="Rectangle 30"/>
          <p:cNvSpPr/>
          <p:nvPr/>
        </p:nvSpPr>
        <p:spPr>
          <a:xfrm>
            <a:off x="5158841" y="2146746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2" name="Rectangle 31"/>
          <p:cNvSpPr/>
          <p:nvPr/>
        </p:nvSpPr>
        <p:spPr>
          <a:xfrm>
            <a:off x="6619452" y="2057142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3" name="Rectangle 32"/>
          <p:cNvSpPr/>
          <p:nvPr/>
        </p:nvSpPr>
        <p:spPr>
          <a:xfrm>
            <a:off x="7966775" y="1962650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4" name="Rectangle 33"/>
          <p:cNvSpPr/>
          <p:nvPr/>
        </p:nvSpPr>
        <p:spPr>
          <a:xfrm>
            <a:off x="3691907" y="2656250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35" name="Rectangle 34"/>
          <p:cNvSpPr/>
          <p:nvPr/>
        </p:nvSpPr>
        <p:spPr>
          <a:xfrm>
            <a:off x="5156565" y="2656250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36" name="Rectangle 35"/>
          <p:cNvSpPr/>
          <p:nvPr/>
        </p:nvSpPr>
        <p:spPr>
          <a:xfrm>
            <a:off x="6619285" y="2656249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37" name="Rectangle 36"/>
          <p:cNvSpPr/>
          <p:nvPr/>
        </p:nvSpPr>
        <p:spPr>
          <a:xfrm>
            <a:off x="7962562" y="2656249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38" name="Oval 37"/>
          <p:cNvSpPr/>
          <p:nvPr/>
        </p:nvSpPr>
        <p:spPr>
          <a:xfrm>
            <a:off x="3254937" y="2886283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39" name="Straight Connector 38"/>
          <p:cNvCxnSpPr>
            <a:stCxn id="38" idx="6"/>
            <a:endCxn id="34" idx="1"/>
          </p:cNvCxnSpPr>
          <p:nvPr/>
        </p:nvCxnSpPr>
        <p:spPr>
          <a:xfrm flipV="1">
            <a:off x="3457238" y="2981660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34" idx="3"/>
            <a:endCxn id="35" idx="1"/>
          </p:cNvCxnSpPr>
          <p:nvPr/>
        </p:nvCxnSpPr>
        <p:spPr>
          <a:xfrm>
            <a:off x="4921897" y="2981660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35" idx="3"/>
            <a:endCxn id="36" idx="1"/>
          </p:cNvCxnSpPr>
          <p:nvPr/>
        </p:nvCxnSpPr>
        <p:spPr>
          <a:xfrm flipV="1">
            <a:off x="6384617" y="2981659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36" idx="3"/>
            <a:endCxn id="37" idx="1"/>
          </p:cNvCxnSpPr>
          <p:nvPr/>
        </p:nvCxnSpPr>
        <p:spPr>
          <a:xfrm>
            <a:off x="7727894" y="298165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3691907" y="3007662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4" name="Rectangle 43"/>
          <p:cNvSpPr/>
          <p:nvPr/>
        </p:nvSpPr>
        <p:spPr>
          <a:xfrm>
            <a:off x="5154627" y="3044669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5" name="Rectangle 44"/>
          <p:cNvSpPr/>
          <p:nvPr/>
        </p:nvSpPr>
        <p:spPr>
          <a:xfrm>
            <a:off x="6615238" y="2938881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6" name="Rectangle 45"/>
          <p:cNvSpPr/>
          <p:nvPr/>
        </p:nvSpPr>
        <p:spPr>
          <a:xfrm>
            <a:off x="7962561" y="2714917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7" name="Rectangle 46"/>
          <p:cNvSpPr/>
          <p:nvPr/>
        </p:nvSpPr>
        <p:spPr>
          <a:xfrm>
            <a:off x="3687693" y="3414290"/>
            <a:ext cx="1229990" cy="6508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Endpoint</a:t>
            </a:r>
            <a:endParaRPr lang="pl-PL" dirty="0"/>
          </a:p>
        </p:txBody>
      </p:sp>
      <p:sp>
        <p:nvSpPr>
          <p:cNvPr id="48" name="Rectangle 47"/>
          <p:cNvSpPr/>
          <p:nvPr/>
        </p:nvSpPr>
        <p:spPr>
          <a:xfrm>
            <a:off x="5152351" y="3414290"/>
            <a:ext cx="1228052" cy="6508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Controller</a:t>
            </a:r>
            <a:endParaRPr lang="pl-PL" dirty="0"/>
          </a:p>
        </p:txBody>
      </p:sp>
      <p:sp>
        <p:nvSpPr>
          <p:cNvPr id="49" name="Rectangle 48"/>
          <p:cNvSpPr/>
          <p:nvPr/>
        </p:nvSpPr>
        <p:spPr>
          <a:xfrm>
            <a:off x="6615071" y="3414289"/>
            <a:ext cx="1108609" cy="6508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Service</a:t>
            </a:r>
            <a:endParaRPr lang="pl-PL" dirty="0"/>
          </a:p>
        </p:txBody>
      </p:sp>
      <p:sp>
        <p:nvSpPr>
          <p:cNvPr id="50" name="Rectangle 49"/>
          <p:cNvSpPr/>
          <p:nvPr/>
        </p:nvSpPr>
        <p:spPr>
          <a:xfrm>
            <a:off x="7958348" y="3414289"/>
            <a:ext cx="914400" cy="65081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ao</a:t>
            </a:r>
            <a:endParaRPr lang="pl-PL" dirty="0"/>
          </a:p>
        </p:txBody>
      </p:sp>
      <p:sp>
        <p:nvSpPr>
          <p:cNvPr id="51" name="Oval 50"/>
          <p:cNvSpPr/>
          <p:nvPr/>
        </p:nvSpPr>
        <p:spPr>
          <a:xfrm>
            <a:off x="3250723" y="3644323"/>
            <a:ext cx="202301" cy="2023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52" name="Straight Connector 51"/>
          <p:cNvCxnSpPr>
            <a:stCxn id="51" idx="6"/>
            <a:endCxn id="47" idx="1"/>
          </p:cNvCxnSpPr>
          <p:nvPr/>
        </p:nvCxnSpPr>
        <p:spPr>
          <a:xfrm flipV="1">
            <a:off x="3453024" y="3739700"/>
            <a:ext cx="234669" cy="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47" idx="3"/>
            <a:endCxn id="48" idx="1"/>
          </p:cNvCxnSpPr>
          <p:nvPr/>
        </p:nvCxnSpPr>
        <p:spPr>
          <a:xfrm>
            <a:off x="4917683" y="3739700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48" idx="3"/>
            <a:endCxn id="49" idx="1"/>
          </p:cNvCxnSpPr>
          <p:nvPr/>
        </p:nvCxnSpPr>
        <p:spPr>
          <a:xfrm flipV="1">
            <a:off x="6380403" y="3739699"/>
            <a:ext cx="23466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49" idx="3"/>
            <a:endCxn id="50" idx="1"/>
          </p:cNvCxnSpPr>
          <p:nvPr/>
        </p:nvCxnSpPr>
        <p:spPr>
          <a:xfrm>
            <a:off x="7723680" y="3739699"/>
            <a:ext cx="234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3687693" y="3611954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7" name="Rectangle 56"/>
          <p:cNvSpPr/>
          <p:nvPr/>
        </p:nvSpPr>
        <p:spPr>
          <a:xfrm>
            <a:off x="5150413" y="3648961"/>
            <a:ext cx="1229990" cy="8901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8" name="Rectangle 57"/>
          <p:cNvSpPr/>
          <p:nvPr/>
        </p:nvSpPr>
        <p:spPr>
          <a:xfrm>
            <a:off x="6611024" y="3559357"/>
            <a:ext cx="1112656" cy="11388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9" name="Rectangle 58"/>
          <p:cNvSpPr/>
          <p:nvPr/>
        </p:nvSpPr>
        <p:spPr>
          <a:xfrm>
            <a:off x="7958347" y="3472957"/>
            <a:ext cx="918615" cy="9044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4" name="Straight Arrow Connector 13"/>
          <p:cNvCxnSpPr>
            <a:stCxn id="5" idx="3"/>
          </p:cNvCxnSpPr>
          <p:nvPr/>
        </p:nvCxnSpPr>
        <p:spPr>
          <a:xfrm>
            <a:off x="4926111" y="1471649"/>
            <a:ext cx="232730" cy="4323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stCxn id="21" idx="3"/>
            <a:endCxn id="57" idx="1"/>
          </p:cNvCxnSpPr>
          <p:nvPr/>
        </p:nvCxnSpPr>
        <p:spPr>
          <a:xfrm>
            <a:off x="4926111" y="2229393"/>
            <a:ext cx="224302" cy="1464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34" idx="3"/>
            <a:endCxn id="22" idx="2"/>
          </p:cNvCxnSpPr>
          <p:nvPr/>
        </p:nvCxnSpPr>
        <p:spPr>
          <a:xfrm flipV="1">
            <a:off x="4921897" y="2554802"/>
            <a:ext cx="852908" cy="4268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stCxn id="6" idx="2"/>
            <a:endCxn id="23" idx="1"/>
          </p:cNvCxnSpPr>
          <p:nvPr/>
        </p:nvCxnSpPr>
        <p:spPr>
          <a:xfrm>
            <a:off x="5774805" y="1797058"/>
            <a:ext cx="848694" cy="4323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/>
          <p:cNvCxnSpPr>
            <a:stCxn id="35" idx="3"/>
            <a:endCxn id="24" idx="1"/>
          </p:cNvCxnSpPr>
          <p:nvPr/>
        </p:nvCxnSpPr>
        <p:spPr>
          <a:xfrm flipV="1">
            <a:off x="6384617" y="2229392"/>
            <a:ext cx="1582159" cy="752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stCxn id="48" idx="3"/>
            <a:endCxn id="37" idx="1"/>
          </p:cNvCxnSpPr>
          <p:nvPr/>
        </p:nvCxnSpPr>
        <p:spPr>
          <a:xfrm flipV="1">
            <a:off x="6380403" y="2981659"/>
            <a:ext cx="1582159" cy="7580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>
            <a:endCxn id="35" idx="1"/>
          </p:cNvCxnSpPr>
          <p:nvPr/>
        </p:nvCxnSpPr>
        <p:spPr>
          <a:xfrm flipH="1">
            <a:off x="5156565" y="1537560"/>
            <a:ext cx="1454459" cy="14441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>
            <a:stCxn id="57" idx="1"/>
            <a:endCxn id="45" idx="1"/>
          </p:cNvCxnSpPr>
          <p:nvPr/>
        </p:nvCxnSpPr>
        <p:spPr>
          <a:xfrm flipV="1">
            <a:off x="5150413" y="2995821"/>
            <a:ext cx="1464825" cy="6976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5" idx="3"/>
            <a:endCxn id="50" idx="1"/>
          </p:cNvCxnSpPr>
          <p:nvPr/>
        </p:nvCxnSpPr>
        <p:spPr>
          <a:xfrm>
            <a:off x="4926111" y="1471649"/>
            <a:ext cx="3032237" cy="22680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66"/>
          <p:cNvGrpSpPr/>
          <p:nvPr/>
        </p:nvGrpSpPr>
        <p:grpSpPr>
          <a:xfrm>
            <a:off x="6195577" y="178869"/>
            <a:ext cx="596900" cy="596900"/>
            <a:chOff x="3433763" y="2622551"/>
            <a:chExt cx="596900" cy="596900"/>
          </a:xfrm>
          <a:solidFill>
            <a:schemeClr val="tx2"/>
          </a:solidFill>
        </p:grpSpPr>
        <p:sp>
          <p:nvSpPr>
            <p:cNvPr id="68" name="Freeform 124"/>
            <p:cNvSpPr>
              <a:spLocks noEditPoints="1"/>
            </p:cNvSpPr>
            <p:nvPr/>
          </p:nvSpPr>
          <p:spPr bwMode="auto">
            <a:xfrm>
              <a:off x="3433763" y="2622551"/>
              <a:ext cx="596900" cy="596900"/>
            </a:xfrm>
            <a:custGeom>
              <a:avLst/>
              <a:gdLst>
                <a:gd name="T0" fmla="*/ 146 w 292"/>
                <a:gd name="T1" fmla="*/ 292 h 292"/>
                <a:gd name="T2" fmla="*/ 0 w 292"/>
                <a:gd name="T3" fmla="*/ 146 h 292"/>
                <a:gd name="T4" fmla="*/ 146 w 292"/>
                <a:gd name="T5" fmla="*/ 0 h 292"/>
                <a:gd name="T6" fmla="*/ 292 w 292"/>
                <a:gd name="T7" fmla="*/ 146 h 292"/>
                <a:gd name="T8" fmla="*/ 146 w 292"/>
                <a:gd name="T9" fmla="*/ 292 h 292"/>
                <a:gd name="T10" fmla="*/ 146 w 292"/>
                <a:gd name="T11" fmla="*/ 4 h 292"/>
                <a:gd name="T12" fmla="*/ 4 w 292"/>
                <a:gd name="T13" fmla="*/ 146 h 292"/>
                <a:gd name="T14" fmla="*/ 146 w 292"/>
                <a:gd name="T15" fmla="*/ 288 h 292"/>
                <a:gd name="T16" fmla="*/ 288 w 292"/>
                <a:gd name="T17" fmla="*/ 146 h 292"/>
                <a:gd name="T18" fmla="*/ 146 w 292"/>
                <a:gd name="T19" fmla="*/ 4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2" h="292">
                  <a:moveTo>
                    <a:pt x="146" y="292"/>
                  </a:moveTo>
                  <a:cubicBezTo>
                    <a:pt x="66" y="292"/>
                    <a:pt x="0" y="227"/>
                    <a:pt x="0" y="146"/>
                  </a:cubicBezTo>
                  <a:cubicBezTo>
                    <a:pt x="0" y="65"/>
                    <a:pt x="66" y="0"/>
                    <a:pt x="146" y="0"/>
                  </a:cubicBezTo>
                  <a:cubicBezTo>
                    <a:pt x="227" y="0"/>
                    <a:pt x="292" y="65"/>
                    <a:pt x="292" y="146"/>
                  </a:cubicBezTo>
                  <a:cubicBezTo>
                    <a:pt x="292" y="227"/>
                    <a:pt x="227" y="292"/>
                    <a:pt x="146" y="292"/>
                  </a:cubicBezTo>
                  <a:close/>
                  <a:moveTo>
                    <a:pt x="146" y="4"/>
                  </a:moveTo>
                  <a:cubicBezTo>
                    <a:pt x="68" y="4"/>
                    <a:pt x="4" y="68"/>
                    <a:pt x="4" y="146"/>
                  </a:cubicBezTo>
                  <a:cubicBezTo>
                    <a:pt x="4" y="224"/>
                    <a:pt x="68" y="288"/>
                    <a:pt x="146" y="288"/>
                  </a:cubicBezTo>
                  <a:cubicBezTo>
                    <a:pt x="224" y="288"/>
                    <a:pt x="288" y="224"/>
                    <a:pt x="288" y="146"/>
                  </a:cubicBezTo>
                  <a:cubicBezTo>
                    <a:pt x="288" y="68"/>
                    <a:pt x="224" y="4"/>
                    <a:pt x="1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25"/>
            <p:cNvSpPr>
              <a:spLocks/>
            </p:cNvSpPr>
            <p:nvPr/>
          </p:nvSpPr>
          <p:spPr bwMode="auto">
            <a:xfrm>
              <a:off x="3627438" y="2767013"/>
              <a:ext cx="258763" cy="160338"/>
            </a:xfrm>
            <a:custGeom>
              <a:avLst/>
              <a:gdLst>
                <a:gd name="T0" fmla="*/ 66 w 163"/>
                <a:gd name="T1" fmla="*/ 101 h 101"/>
                <a:gd name="T2" fmla="*/ 0 w 163"/>
                <a:gd name="T3" fmla="*/ 35 h 101"/>
                <a:gd name="T4" fmla="*/ 4 w 163"/>
                <a:gd name="T5" fmla="*/ 31 h 101"/>
                <a:gd name="T6" fmla="*/ 66 w 163"/>
                <a:gd name="T7" fmla="*/ 93 h 101"/>
                <a:gd name="T8" fmla="*/ 159 w 163"/>
                <a:gd name="T9" fmla="*/ 0 h 101"/>
                <a:gd name="T10" fmla="*/ 163 w 163"/>
                <a:gd name="T11" fmla="*/ 4 h 101"/>
                <a:gd name="T12" fmla="*/ 66 w 163"/>
                <a:gd name="T1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101">
                  <a:moveTo>
                    <a:pt x="66" y="101"/>
                  </a:moveTo>
                  <a:lnTo>
                    <a:pt x="0" y="35"/>
                  </a:lnTo>
                  <a:lnTo>
                    <a:pt x="4" y="31"/>
                  </a:lnTo>
                  <a:lnTo>
                    <a:pt x="66" y="93"/>
                  </a:lnTo>
                  <a:lnTo>
                    <a:pt x="159" y="0"/>
                  </a:lnTo>
                  <a:lnTo>
                    <a:pt x="163" y="4"/>
                  </a:lnTo>
                  <a:lnTo>
                    <a:pt x="66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126"/>
            <p:cNvSpPr>
              <a:spLocks noChangeArrowheads="1"/>
            </p:cNvSpPr>
            <p:nvPr/>
          </p:nvSpPr>
          <p:spPr bwMode="auto">
            <a:xfrm>
              <a:off x="3727450" y="2622551"/>
              <a:ext cx="9525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127"/>
            <p:cNvSpPr>
              <a:spLocks noChangeArrowheads="1"/>
            </p:cNvSpPr>
            <p:nvPr/>
          </p:nvSpPr>
          <p:spPr bwMode="auto">
            <a:xfrm>
              <a:off x="3727450" y="3162301"/>
              <a:ext cx="9525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128"/>
            <p:cNvSpPr>
              <a:spLocks noChangeArrowheads="1"/>
            </p:cNvSpPr>
            <p:nvPr/>
          </p:nvSpPr>
          <p:spPr bwMode="auto">
            <a:xfrm>
              <a:off x="3433763" y="2916238"/>
              <a:ext cx="57150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129"/>
            <p:cNvSpPr>
              <a:spLocks noChangeArrowheads="1"/>
            </p:cNvSpPr>
            <p:nvPr/>
          </p:nvSpPr>
          <p:spPr bwMode="auto">
            <a:xfrm>
              <a:off x="3973513" y="2916238"/>
              <a:ext cx="57150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0" name="Elbow Connector 59"/>
          <p:cNvCxnSpPr>
            <a:stCxn id="78" idx="2"/>
            <a:endCxn id="6" idx="0"/>
          </p:cNvCxnSpPr>
          <p:nvPr/>
        </p:nvCxnSpPr>
        <p:spPr>
          <a:xfrm rot="5400000">
            <a:off x="6234270" y="338501"/>
            <a:ext cx="348274" cy="126720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Elbow Connector 63"/>
          <p:cNvCxnSpPr>
            <a:stCxn id="78" idx="2"/>
            <a:endCxn id="7" idx="0"/>
          </p:cNvCxnSpPr>
          <p:nvPr/>
        </p:nvCxnSpPr>
        <p:spPr>
          <a:xfrm rot="16200000" flipH="1">
            <a:off x="6935770" y="904203"/>
            <a:ext cx="348273" cy="13579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79"/>
          <p:cNvCxnSpPr>
            <a:stCxn id="78" idx="2"/>
            <a:endCxn id="23" idx="2"/>
          </p:cNvCxnSpPr>
          <p:nvPr/>
        </p:nvCxnSpPr>
        <p:spPr>
          <a:xfrm rot="16200000" flipH="1">
            <a:off x="6231488" y="1608485"/>
            <a:ext cx="1756836" cy="135796"/>
          </a:xfrm>
          <a:prstGeom prst="bentConnector5">
            <a:avLst>
              <a:gd name="adj1" fmla="val 31477"/>
              <a:gd name="adj2" fmla="val 676530"/>
              <a:gd name="adj3" fmla="val 11301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81"/>
          <p:cNvCxnSpPr>
            <a:stCxn id="78" idx="2"/>
            <a:endCxn id="35" idx="2"/>
          </p:cNvCxnSpPr>
          <p:nvPr/>
        </p:nvCxnSpPr>
        <p:spPr>
          <a:xfrm rot="5400000">
            <a:off x="5151748" y="1416809"/>
            <a:ext cx="2509104" cy="1271417"/>
          </a:xfrm>
          <a:prstGeom prst="bentConnector3">
            <a:avLst>
              <a:gd name="adj1" fmla="val 10911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85"/>
          <p:cNvCxnSpPr>
            <a:stCxn id="78" idx="1"/>
          </p:cNvCxnSpPr>
          <p:nvPr/>
        </p:nvCxnSpPr>
        <p:spPr>
          <a:xfrm rot="10800000" flipV="1">
            <a:off x="5599863" y="472556"/>
            <a:ext cx="525807" cy="294173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1"/>
          <p:cNvSpPr/>
          <p:nvPr/>
        </p:nvSpPr>
        <p:spPr>
          <a:xfrm>
            <a:off x="7042008" y="145419"/>
            <a:ext cx="906614" cy="9060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93" name="Rectangle 92"/>
          <p:cNvSpPr/>
          <p:nvPr/>
        </p:nvSpPr>
        <p:spPr>
          <a:xfrm>
            <a:off x="7042007" y="500410"/>
            <a:ext cx="906614" cy="9060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95" name="Elbow Connector 94"/>
          <p:cNvCxnSpPr>
            <a:stCxn id="78" idx="3"/>
            <a:endCxn id="9" idx="0"/>
          </p:cNvCxnSpPr>
          <p:nvPr/>
        </p:nvCxnSpPr>
        <p:spPr>
          <a:xfrm>
            <a:off x="7958346" y="472556"/>
            <a:ext cx="465630" cy="67368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96"/>
          <p:cNvCxnSpPr>
            <a:stCxn id="78" idx="3"/>
          </p:cNvCxnSpPr>
          <p:nvPr/>
        </p:nvCxnSpPr>
        <p:spPr>
          <a:xfrm>
            <a:off x="7958346" y="472556"/>
            <a:ext cx="267377" cy="22282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331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-133740"/>
            <a:ext cx="4048653" cy="1671300"/>
          </a:xfrm>
        </p:spPr>
        <p:txBody>
          <a:bodyPr/>
          <a:lstStyle/>
          <a:p>
            <a:r>
              <a:rPr lang="pl-PL" dirty="0" smtClean="0"/>
              <a:t>Klasyk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32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100" y="1011926"/>
            <a:ext cx="1695450" cy="16954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19" y="2707376"/>
            <a:ext cx="5676900" cy="143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473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-133740"/>
            <a:ext cx="7280120" cy="1671300"/>
          </a:xfrm>
        </p:spPr>
        <p:txBody>
          <a:bodyPr/>
          <a:lstStyle/>
          <a:p>
            <a:r>
              <a:rPr lang="pl-PL" dirty="0" smtClean="0"/>
              <a:t>Jak to robili pradawni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33</a:t>
            </a:fld>
            <a:endParaRPr lang="en-GB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813" y="1332371"/>
            <a:ext cx="5833693" cy="3446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309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 err="1"/>
              <a:t>Persystentny</a:t>
            </a:r>
            <a:r>
              <a:rPr lang="pl-PL" dirty="0"/>
              <a:t> Multi-</a:t>
            </a:r>
            <a:r>
              <a:rPr lang="pl-PL" dirty="0" err="1"/>
              <a:t>Listener</a:t>
            </a:r>
            <a:r>
              <a:rPr lang="pl-PL" dirty="0"/>
              <a:t>, czyli... Sag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7397750" y="4346575"/>
            <a:ext cx="1746250" cy="274638"/>
          </a:xfrm>
        </p:spPr>
        <p:txBody>
          <a:bodyPr/>
          <a:lstStyle/>
          <a:p>
            <a:fld id="{B66DC712-81CA-499C-994D-5056AA16CC09}" type="datetime1">
              <a:rPr lang="en-GB" smtClean="0"/>
              <a:t>24/01/2018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647999" y="2970106"/>
            <a:ext cx="55019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dirty="0" err="1"/>
              <a:t>Persystentny</a:t>
            </a:r>
            <a:r>
              <a:rPr lang="pl-PL" dirty="0"/>
              <a:t> </a:t>
            </a:r>
            <a:r>
              <a:rPr lang="pl-PL" dirty="0" err="1"/>
              <a:t>multi-listener</a:t>
            </a:r>
            <a:r>
              <a:rPr lang="pl-PL" dirty="0"/>
              <a:t>... jak to pięknie brzmi...:) </a:t>
            </a:r>
          </a:p>
        </p:txBody>
      </p:sp>
    </p:spTree>
    <p:extLst>
      <p:ext uri="{BB962C8B-B14F-4D97-AF65-F5344CB8AC3E}">
        <p14:creationId xmlns:p14="http://schemas.microsoft.com/office/powerpoint/2010/main" val="26417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35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857250"/>
            <a:ext cx="6096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832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36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83535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320233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</a:t>
            </a:r>
            <a:r>
              <a:rPr lang="pl-PL" sz="1000" dirty="0" err="1" smtClean="0">
                <a:solidFill>
                  <a:srgbClr val="00B050"/>
                </a:solidFill>
              </a:rPr>
              <a:t>currentSmsrId</a:t>
            </a:r>
            <a:r>
              <a:rPr lang="pl-PL" sz="1000" dirty="0" smtClean="0">
                <a:solidFill>
                  <a:srgbClr val="00B050"/>
                </a:solidFill>
              </a:rPr>
              <a:t>)</a:t>
            </a:r>
            <a:endParaRPr lang="pl-PL" sz="1000" dirty="0">
              <a:solidFill>
                <a:srgbClr val="00B050"/>
              </a:solidFill>
            </a:endParaRPr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83535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2083366" y="274196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</p:spTree>
    <p:extLst>
      <p:ext uri="{BB962C8B-B14F-4D97-AF65-F5344CB8AC3E}">
        <p14:creationId xmlns:p14="http://schemas.microsoft.com/office/powerpoint/2010/main" val="243801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83535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320233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</a:t>
            </a:r>
            <a:r>
              <a:rPr lang="pl-PL" sz="1000" dirty="0" err="1" smtClean="0">
                <a:solidFill>
                  <a:srgbClr val="00B050"/>
                </a:solidFill>
              </a:rPr>
              <a:t>currentSmsrId</a:t>
            </a:r>
            <a:r>
              <a:rPr lang="pl-PL" sz="1000" dirty="0" smtClean="0">
                <a:solidFill>
                  <a:srgbClr val="00B050"/>
                </a:solidFill>
              </a:rPr>
              <a:t>)</a:t>
            </a:r>
            <a:endParaRPr lang="pl-PL" sz="1000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83974" y="194586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83535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242192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92345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2083366" y="274196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</p:spTree>
    <p:extLst>
      <p:ext uri="{BB962C8B-B14F-4D97-AF65-F5344CB8AC3E}">
        <p14:creationId xmlns:p14="http://schemas.microsoft.com/office/powerpoint/2010/main" val="2605321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83535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320233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</a:t>
            </a:r>
            <a:r>
              <a:rPr lang="pl-PL" sz="1000" dirty="0" err="1" smtClean="0">
                <a:solidFill>
                  <a:srgbClr val="00B050"/>
                </a:solidFill>
              </a:rPr>
              <a:t>currentSmsrId</a:t>
            </a:r>
            <a:r>
              <a:rPr lang="pl-PL" sz="1000" dirty="0" smtClean="0">
                <a:solidFill>
                  <a:srgbClr val="00B050"/>
                </a:solidFill>
              </a:rPr>
              <a:t>)</a:t>
            </a:r>
            <a:endParaRPr lang="pl-PL" sz="1000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83974" y="194586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83535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2" idx="2"/>
          </p:cNvCxnSpPr>
          <p:nvPr/>
        </p:nvCxnSpPr>
        <p:spPr>
          <a:xfrm>
            <a:off x="3157988" y="2328319"/>
            <a:ext cx="0" cy="17724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242192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92345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4726657" y="2674528"/>
            <a:ext cx="164177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SmsrChangeReceiverSaga</a:t>
            </a:r>
            <a:endParaRPr lang="pl-PL" sz="1100" dirty="0"/>
          </a:p>
        </p:txBody>
      </p:sp>
      <p:cxnSp>
        <p:nvCxnSpPr>
          <p:cNvPr id="99" name="Elbow Connector 98"/>
          <p:cNvCxnSpPr/>
          <p:nvPr/>
        </p:nvCxnSpPr>
        <p:spPr>
          <a:xfrm flipV="1">
            <a:off x="3233252" y="2895716"/>
            <a:ext cx="1493404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3233252" y="2631315"/>
            <a:ext cx="1643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findOrCreate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cxnSp>
        <p:nvCxnSpPr>
          <p:cNvPr id="112" name="Straight Connector 111"/>
          <p:cNvCxnSpPr/>
          <p:nvPr/>
        </p:nvCxnSpPr>
        <p:spPr>
          <a:xfrm>
            <a:off x="5576156" y="3081961"/>
            <a:ext cx="0" cy="1279646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2083366" y="274196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</p:spTree>
    <p:extLst>
      <p:ext uri="{BB962C8B-B14F-4D97-AF65-F5344CB8AC3E}">
        <p14:creationId xmlns:p14="http://schemas.microsoft.com/office/powerpoint/2010/main" val="342747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83535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320233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</a:t>
            </a:r>
            <a:r>
              <a:rPr lang="pl-PL" sz="1000" dirty="0" err="1" smtClean="0">
                <a:solidFill>
                  <a:srgbClr val="00B050"/>
                </a:solidFill>
              </a:rPr>
              <a:t>currentSmsrId</a:t>
            </a:r>
            <a:r>
              <a:rPr lang="pl-PL" sz="1000" dirty="0" smtClean="0">
                <a:solidFill>
                  <a:srgbClr val="00B050"/>
                </a:solidFill>
              </a:rPr>
              <a:t>)</a:t>
            </a:r>
            <a:endParaRPr lang="pl-PL" sz="1000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83974" y="194586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83535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2" idx="2"/>
          </p:cNvCxnSpPr>
          <p:nvPr/>
        </p:nvCxnSpPr>
        <p:spPr>
          <a:xfrm>
            <a:off x="3157988" y="2328319"/>
            <a:ext cx="0" cy="17724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242192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92345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4726657" y="2674528"/>
            <a:ext cx="164177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SmsrChangeReceiverSaga</a:t>
            </a:r>
            <a:endParaRPr lang="pl-PL" sz="1100" dirty="0"/>
          </a:p>
        </p:txBody>
      </p:sp>
      <p:cxnSp>
        <p:nvCxnSpPr>
          <p:cNvPr id="99" name="Elbow Connector 98"/>
          <p:cNvCxnSpPr/>
          <p:nvPr/>
        </p:nvCxnSpPr>
        <p:spPr>
          <a:xfrm flipV="1">
            <a:off x="3233252" y="2895716"/>
            <a:ext cx="1493404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3233252" y="2631315"/>
            <a:ext cx="1643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findOrCreate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5499859" y="3175568"/>
            <a:ext cx="154641" cy="100801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4" name="Elbow Connector 113"/>
          <p:cNvCxnSpPr/>
          <p:nvPr/>
        </p:nvCxnSpPr>
        <p:spPr>
          <a:xfrm flipV="1">
            <a:off x="3233148" y="3369108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3202070" y="3115820"/>
            <a:ext cx="22302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handlePrepareSMSRChange</a:t>
            </a:r>
            <a:r>
              <a:rPr lang="pl-PL" sz="1100" dirty="0" smtClean="0">
                <a:solidFill>
                  <a:srgbClr val="00B050"/>
                </a:solidFill>
              </a:rPr>
              <a:t>(…)</a:t>
            </a:r>
            <a:endParaRPr lang="pl-PL" sz="1100" dirty="0">
              <a:solidFill>
                <a:srgbClr val="00B05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2083366" y="274196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</p:spTree>
    <p:extLst>
      <p:ext uri="{BB962C8B-B14F-4D97-AF65-F5344CB8AC3E}">
        <p14:creationId xmlns:p14="http://schemas.microsoft.com/office/powerpoint/2010/main" val="3886661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600" y="70992"/>
            <a:ext cx="5918400" cy="1671300"/>
          </a:xfrm>
        </p:spPr>
        <p:txBody>
          <a:bodyPr/>
          <a:lstStyle/>
          <a:p>
            <a:r>
              <a:rPr lang="pl-PL" dirty="0" smtClean="0"/>
              <a:t>Małe przeprosiny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4</a:t>
            </a:fld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00" y="1295097"/>
            <a:ext cx="2055377" cy="3654003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3075977" y="1450798"/>
            <a:ext cx="5918400" cy="16713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l-PL" sz="2800" dirty="0" smtClean="0"/>
              <a:t>Zawodnik okazał się za mocny…</a:t>
            </a:r>
          </a:p>
          <a:p>
            <a:r>
              <a:rPr lang="pl-PL" sz="2800" dirty="0" smtClean="0"/>
              <a:t>Ale będzie rewanż!</a:t>
            </a:r>
          </a:p>
        </p:txBody>
      </p:sp>
    </p:spTree>
    <p:extLst>
      <p:ext uri="{BB962C8B-B14F-4D97-AF65-F5344CB8AC3E}">
        <p14:creationId xmlns:p14="http://schemas.microsoft.com/office/powerpoint/2010/main" val="1669078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40</a:t>
            </a:fld>
            <a:endParaRPr lang="en-GB" dirty="0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83535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320233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</a:t>
            </a:r>
            <a:r>
              <a:rPr lang="pl-PL" sz="1000" dirty="0" err="1" smtClean="0">
                <a:solidFill>
                  <a:srgbClr val="00B050"/>
                </a:solidFill>
              </a:rPr>
              <a:t>currentSmsrId</a:t>
            </a:r>
            <a:r>
              <a:rPr lang="pl-PL" sz="1000" dirty="0" smtClean="0">
                <a:solidFill>
                  <a:srgbClr val="00B050"/>
                </a:solidFill>
              </a:rPr>
              <a:t>)</a:t>
            </a:r>
            <a:endParaRPr lang="pl-PL" sz="1000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83974" y="194586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83535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2" idx="2"/>
          </p:cNvCxnSpPr>
          <p:nvPr/>
        </p:nvCxnSpPr>
        <p:spPr>
          <a:xfrm>
            <a:off x="3157988" y="2328319"/>
            <a:ext cx="0" cy="17724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242192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92345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4726657" y="2674528"/>
            <a:ext cx="164177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SmsrChangeReceiverSaga</a:t>
            </a:r>
            <a:endParaRPr lang="pl-PL" sz="1100" dirty="0"/>
          </a:p>
        </p:txBody>
      </p:sp>
      <p:cxnSp>
        <p:nvCxnSpPr>
          <p:cNvPr id="99" name="Elbow Connector 98"/>
          <p:cNvCxnSpPr/>
          <p:nvPr/>
        </p:nvCxnSpPr>
        <p:spPr>
          <a:xfrm flipV="1">
            <a:off x="3233252" y="2895716"/>
            <a:ext cx="1493404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3233252" y="2631315"/>
            <a:ext cx="1643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findOrCreate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cxnSp>
        <p:nvCxnSpPr>
          <p:cNvPr id="112" name="Straight Connector 111"/>
          <p:cNvCxnSpPr/>
          <p:nvPr/>
        </p:nvCxnSpPr>
        <p:spPr>
          <a:xfrm>
            <a:off x="5576156" y="3081961"/>
            <a:ext cx="0" cy="1279646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5499859" y="3175568"/>
            <a:ext cx="154641" cy="100801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4" name="Elbow Connector 113"/>
          <p:cNvCxnSpPr/>
          <p:nvPr/>
        </p:nvCxnSpPr>
        <p:spPr>
          <a:xfrm flipV="1">
            <a:off x="3233148" y="3369108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3202070" y="3115820"/>
            <a:ext cx="22302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handlePrepareSMSRChange</a:t>
            </a:r>
            <a:r>
              <a:rPr lang="pl-PL" sz="1100" dirty="0" smtClean="0">
                <a:solidFill>
                  <a:srgbClr val="00B050"/>
                </a:solidFill>
              </a:rPr>
              <a:t>(…)</a:t>
            </a:r>
            <a:endParaRPr lang="pl-PL" sz="1100" dirty="0">
              <a:solidFill>
                <a:srgbClr val="00B05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2083366" y="274196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6840642" y="3422486"/>
            <a:ext cx="716480" cy="338554"/>
            <a:chOff x="2033674" y="2741962"/>
            <a:chExt cx="716480" cy="338554"/>
          </a:xfrm>
        </p:grpSpPr>
        <p:sp>
          <p:nvSpPr>
            <p:cNvPr id="119" name="Flowchart: Direct Access Storage 118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2033674" y="2741962"/>
              <a:ext cx="61747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sz="1600" dirty="0" err="1" smtClean="0"/>
                <a:t>Cmd</a:t>
              </a:r>
              <a:endParaRPr lang="pl-PL" sz="1600" dirty="0"/>
            </a:p>
          </p:txBody>
        </p:sp>
      </p:grpSp>
      <p:cxnSp>
        <p:nvCxnSpPr>
          <p:cNvPr id="121" name="Elbow Connector 120"/>
          <p:cNvCxnSpPr/>
          <p:nvPr/>
        </p:nvCxnSpPr>
        <p:spPr>
          <a:xfrm>
            <a:off x="5661673" y="3422486"/>
            <a:ext cx="1271314" cy="181040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2" name="Elbow Connector 121"/>
          <p:cNvCxnSpPr/>
          <p:nvPr/>
        </p:nvCxnSpPr>
        <p:spPr>
          <a:xfrm flipV="1">
            <a:off x="5683202" y="3604933"/>
            <a:ext cx="1249785" cy="22027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5620237" y="3139140"/>
            <a:ext cx="26012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ScheduleSmsrChangeTimeout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5643902" y="3823761"/>
            <a:ext cx="26989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SendPrepareSmsrChangeResponse</a:t>
            </a:r>
            <a:endParaRPr lang="pl-PL" sz="12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92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41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83535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320233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</a:t>
            </a:r>
            <a:r>
              <a:rPr lang="pl-PL" sz="1000" dirty="0" err="1" smtClean="0">
                <a:solidFill>
                  <a:srgbClr val="00B050"/>
                </a:solidFill>
              </a:rPr>
              <a:t>currentSmsrId</a:t>
            </a:r>
            <a:r>
              <a:rPr lang="pl-PL" sz="1000" dirty="0" smtClean="0">
                <a:solidFill>
                  <a:srgbClr val="00B050"/>
                </a:solidFill>
              </a:rPr>
              <a:t>)</a:t>
            </a:r>
            <a:endParaRPr lang="pl-PL" sz="1000" dirty="0">
              <a:solidFill>
                <a:srgbClr val="00B050"/>
              </a:solidFill>
            </a:endParaRPr>
          </a:p>
        </p:txBody>
      </p:sp>
      <p:cxnSp>
        <p:nvCxnSpPr>
          <p:cNvPr id="104" name="Elbow Connector 103"/>
          <p:cNvCxnSpPr>
            <a:stCxn id="125" idx="1"/>
          </p:cNvCxnSpPr>
          <p:nvPr/>
        </p:nvCxnSpPr>
        <p:spPr>
          <a:xfrm rot="10800000" flipV="1">
            <a:off x="1091117" y="4463138"/>
            <a:ext cx="866537" cy="492010"/>
          </a:xfrm>
          <a:prstGeom prst="bentConnector3">
            <a:avLst>
              <a:gd name="adj1" fmla="val 50000"/>
            </a:avLst>
          </a:prstGeom>
          <a:ln>
            <a:prstDash val="sys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2583974" y="194586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83535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2" idx="2"/>
          </p:cNvCxnSpPr>
          <p:nvPr/>
        </p:nvCxnSpPr>
        <p:spPr>
          <a:xfrm>
            <a:off x="3157988" y="2328319"/>
            <a:ext cx="0" cy="17724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242192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92345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4726657" y="2674528"/>
            <a:ext cx="164177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SmsrChangeReceiverSaga</a:t>
            </a:r>
            <a:endParaRPr lang="pl-PL" sz="1100" dirty="0"/>
          </a:p>
        </p:txBody>
      </p:sp>
      <p:cxnSp>
        <p:nvCxnSpPr>
          <p:cNvPr id="99" name="Elbow Connector 98"/>
          <p:cNvCxnSpPr/>
          <p:nvPr/>
        </p:nvCxnSpPr>
        <p:spPr>
          <a:xfrm flipV="1">
            <a:off x="3233252" y="2895716"/>
            <a:ext cx="1493404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3233252" y="2631315"/>
            <a:ext cx="1643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findOrCreate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sp>
        <p:nvSpPr>
          <p:cNvPr id="106" name="Freeform 124"/>
          <p:cNvSpPr>
            <a:spLocks noEditPoints="1"/>
          </p:cNvSpPr>
          <p:nvPr/>
        </p:nvSpPr>
        <p:spPr bwMode="auto">
          <a:xfrm>
            <a:off x="6992574" y="1308060"/>
            <a:ext cx="596900" cy="596900"/>
          </a:xfrm>
          <a:custGeom>
            <a:avLst/>
            <a:gdLst>
              <a:gd name="T0" fmla="*/ 146 w 292"/>
              <a:gd name="T1" fmla="*/ 292 h 292"/>
              <a:gd name="T2" fmla="*/ 0 w 292"/>
              <a:gd name="T3" fmla="*/ 146 h 292"/>
              <a:gd name="T4" fmla="*/ 146 w 292"/>
              <a:gd name="T5" fmla="*/ 0 h 292"/>
              <a:gd name="T6" fmla="*/ 292 w 292"/>
              <a:gd name="T7" fmla="*/ 146 h 292"/>
              <a:gd name="T8" fmla="*/ 146 w 292"/>
              <a:gd name="T9" fmla="*/ 292 h 292"/>
              <a:gd name="T10" fmla="*/ 146 w 292"/>
              <a:gd name="T11" fmla="*/ 4 h 292"/>
              <a:gd name="T12" fmla="*/ 4 w 292"/>
              <a:gd name="T13" fmla="*/ 146 h 292"/>
              <a:gd name="T14" fmla="*/ 146 w 292"/>
              <a:gd name="T15" fmla="*/ 288 h 292"/>
              <a:gd name="T16" fmla="*/ 288 w 292"/>
              <a:gd name="T17" fmla="*/ 146 h 292"/>
              <a:gd name="T18" fmla="*/ 146 w 292"/>
              <a:gd name="T19" fmla="*/ 4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92" h="292">
                <a:moveTo>
                  <a:pt x="146" y="292"/>
                </a:moveTo>
                <a:cubicBezTo>
                  <a:pt x="66" y="292"/>
                  <a:pt x="0" y="227"/>
                  <a:pt x="0" y="146"/>
                </a:cubicBezTo>
                <a:cubicBezTo>
                  <a:pt x="0" y="65"/>
                  <a:pt x="66" y="0"/>
                  <a:pt x="146" y="0"/>
                </a:cubicBezTo>
                <a:cubicBezTo>
                  <a:pt x="227" y="0"/>
                  <a:pt x="292" y="65"/>
                  <a:pt x="292" y="146"/>
                </a:cubicBezTo>
                <a:cubicBezTo>
                  <a:pt x="292" y="227"/>
                  <a:pt x="227" y="292"/>
                  <a:pt x="146" y="292"/>
                </a:cubicBezTo>
                <a:close/>
                <a:moveTo>
                  <a:pt x="146" y="4"/>
                </a:moveTo>
                <a:cubicBezTo>
                  <a:pt x="68" y="4"/>
                  <a:pt x="4" y="68"/>
                  <a:pt x="4" y="146"/>
                </a:cubicBezTo>
                <a:cubicBezTo>
                  <a:pt x="4" y="224"/>
                  <a:pt x="68" y="288"/>
                  <a:pt x="146" y="288"/>
                </a:cubicBezTo>
                <a:cubicBezTo>
                  <a:pt x="224" y="288"/>
                  <a:pt x="288" y="224"/>
                  <a:pt x="288" y="146"/>
                </a:cubicBezTo>
                <a:cubicBezTo>
                  <a:pt x="288" y="68"/>
                  <a:pt x="224" y="4"/>
                  <a:pt x="146" y="4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125"/>
          <p:cNvSpPr>
            <a:spLocks/>
          </p:cNvSpPr>
          <p:nvPr/>
        </p:nvSpPr>
        <p:spPr bwMode="auto">
          <a:xfrm>
            <a:off x="7186249" y="1452522"/>
            <a:ext cx="258763" cy="160338"/>
          </a:xfrm>
          <a:custGeom>
            <a:avLst/>
            <a:gdLst>
              <a:gd name="T0" fmla="*/ 66 w 163"/>
              <a:gd name="T1" fmla="*/ 101 h 101"/>
              <a:gd name="T2" fmla="*/ 0 w 163"/>
              <a:gd name="T3" fmla="*/ 35 h 101"/>
              <a:gd name="T4" fmla="*/ 4 w 163"/>
              <a:gd name="T5" fmla="*/ 31 h 101"/>
              <a:gd name="T6" fmla="*/ 66 w 163"/>
              <a:gd name="T7" fmla="*/ 93 h 101"/>
              <a:gd name="T8" fmla="*/ 159 w 163"/>
              <a:gd name="T9" fmla="*/ 0 h 101"/>
              <a:gd name="T10" fmla="*/ 163 w 163"/>
              <a:gd name="T11" fmla="*/ 4 h 101"/>
              <a:gd name="T12" fmla="*/ 66 w 163"/>
              <a:gd name="T13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3" h="101">
                <a:moveTo>
                  <a:pt x="66" y="101"/>
                </a:moveTo>
                <a:lnTo>
                  <a:pt x="0" y="35"/>
                </a:lnTo>
                <a:lnTo>
                  <a:pt x="4" y="31"/>
                </a:lnTo>
                <a:lnTo>
                  <a:pt x="66" y="93"/>
                </a:lnTo>
                <a:lnTo>
                  <a:pt x="159" y="0"/>
                </a:lnTo>
                <a:lnTo>
                  <a:pt x="163" y="4"/>
                </a:lnTo>
                <a:lnTo>
                  <a:pt x="66" y="101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Rectangle 126"/>
          <p:cNvSpPr>
            <a:spLocks noChangeArrowheads="1"/>
          </p:cNvSpPr>
          <p:nvPr/>
        </p:nvSpPr>
        <p:spPr bwMode="auto">
          <a:xfrm>
            <a:off x="7286261" y="1308060"/>
            <a:ext cx="9525" cy="57150"/>
          </a:xfrm>
          <a:prstGeom prst="rect">
            <a:avLst/>
          </a:prstGeom>
          <a:solidFill>
            <a:schemeClr val="tx2"/>
          </a:solidFill>
          <a:ln w="9525">
            <a:solidFill>
              <a:srgbClr val="00B050"/>
            </a:solidFill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Rectangle 127"/>
          <p:cNvSpPr>
            <a:spLocks noChangeArrowheads="1"/>
          </p:cNvSpPr>
          <p:nvPr/>
        </p:nvSpPr>
        <p:spPr bwMode="auto">
          <a:xfrm>
            <a:off x="7286261" y="1847810"/>
            <a:ext cx="9525" cy="57150"/>
          </a:xfrm>
          <a:prstGeom prst="rect">
            <a:avLst/>
          </a:prstGeom>
          <a:solidFill>
            <a:schemeClr val="tx2"/>
          </a:solidFill>
          <a:ln w="9525">
            <a:solidFill>
              <a:srgbClr val="00B050"/>
            </a:solidFill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Rectangle 128"/>
          <p:cNvSpPr>
            <a:spLocks noChangeArrowheads="1"/>
          </p:cNvSpPr>
          <p:nvPr/>
        </p:nvSpPr>
        <p:spPr bwMode="auto">
          <a:xfrm>
            <a:off x="6992574" y="1601747"/>
            <a:ext cx="57150" cy="7938"/>
          </a:xfrm>
          <a:prstGeom prst="rect">
            <a:avLst/>
          </a:prstGeom>
          <a:solidFill>
            <a:schemeClr val="tx2"/>
          </a:solidFill>
          <a:ln w="9525">
            <a:solidFill>
              <a:srgbClr val="00B050"/>
            </a:solidFill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Rectangle 129"/>
          <p:cNvSpPr>
            <a:spLocks noChangeArrowheads="1"/>
          </p:cNvSpPr>
          <p:nvPr/>
        </p:nvSpPr>
        <p:spPr bwMode="auto">
          <a:xfrm>
            <a:off x="7532324" y="1601747"/>
            <a:ext cx="57150" cy="7938"/>
          </a:xfrm>
          <a:prstGeom prst="rect">
            <a:avLst/>
          </a:prstGeom>
          <a:solidFill>
            <a:schemeClr val="tx2"/>
          </a:solidFill>
          <a:ln w="9525">
            <a:solidFill>
              <a:srgbClr val="00B050"/>
            </a:solidFill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12" name="Straight Connector 111"/>
          <p:cNvCxnSpPr/>
          <p:nvPr/>
        </p:nvCxnSpPr>
        <p:spPr>
          <a:xfrm>
            <a:off x="5576156" y="3081961"/>
            <a:ext cx="0" cy="1279646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5499859" y="3175568"/>
            <a:ext cx="154641" cy="100801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4" name="Elbow Connector 113"/>
          <p:cNvCxnSpPr/>
          <p:nvPr/>
        </p:nvCxnSpPr>
        <p:spPr>
          <a:xfrm flipV="1">
            <a:off x="3233148" y="3369108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3202070" y="3115820"/>
            <a:ext cx="22302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handlePrepareSMSRChange</a:t>
            </a:r>
            <a:r>
              <a:rPr lang="pl-PL" sz="1100" dirty="0" smtClean="0">
                <a:solidFill>
                  <a:srgbClr val="00B050"/>
                </a:solidFill>
              </a:rPr>
              <a:t>(…)</a:t>
            </a:r>
            <a:endParaRPr lang="pl-PL" sz="1100" dirty="0">
              <a:solidFill>
                <a:srgbClr val="00B05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2083366" y="274196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6840642" y="3422486"/>
            <a:ext cx="716480" cy="338554"/>
            <a:chOff x="2033674" y="2741962"/>
            <a:chExt cx="716480" cy="338554"/>
          </a:xfrm>
        </p:grpSpPr>
        <p:sp>
          <p:nvSpPr>
            <p:cNvPr id="119" name="Flowchart: Direct Access Storage 118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2033674" y="2741962"/>
              <a:ext cx="61747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sz="1600" dirty="0" err="1" smtClean="0"/>
                <a:t>Cmd</a:t>
              </a:r>
              <a:endParaRPr lang="pl-PL" sz="1600" dirty="0"/>
            </a:p>
          </p:txBody>
        </p:sp>
      </p:grpSp>
      <p:cxnSp>
        <p:nvCxnSpPr>
          <p:cNvPr id="121" name="Elbow Connector 120"/>
          <p:cNvCxnSpPr/>
          <p:nvPr/>
        </p:nvCxnSpPr>
        <p:spPr>
          <a:xfrm>
            <a:off x="5661673" y="3422486"/>
            <a:ext cx="1271314" cy="181040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2" name="Elbow Connector 121"/>
          <p:cNvCxnSpPr/>
          <p:nvPr/>
        </p:nvCxnSpPr>
        <p:spPr>
          <a:xfrm flipV="1">
            <a:off x="5683202" y="3604933"/>
            <a:ext cx="1249785" cy="22027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5620237" y="3139140"/>
            <a:ext cx="2722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ScheduleSmsrChangeTimeout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5643902" y="3823761"/>
            <a:ext cx="26989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SendPrepareSmsrChangeResponse</a:t>
            </a:r>
            <a:endParaRPr lang="pl-PL" sz="1200" dirty="0">
              <a:solidFill>
                <a:srgbClr val="00B050"/>
              </a:solidFill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1957653" y="4271913"/>
            <a:ext cx="127549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ResponseSender</a:t>
            </a:r>
            <a:endParaRPr lang="pl-PL" sz="1100" dirty="0"/>
          </a:p>
        </p:txBody>
      </p:sp>
      <p:cxnSp>
        <p:nvCxnSpPr>
          <p:cNvPr id="47" name="Elbow Connector 46"/>
          <p:cNvCxnSpPr>
            <a:stCxn id="119" idx="4"/>
            <a:endCxn id="111" idx="3"/>
          </p:cNvCxnSpPr>
          <p:nvPr/>
        </p:nvCxnSpPr>
        <p:spPr>
          <a:xfrm flipV="1">
            <a:off x="7557122" y="1605716"/>
            <a:ext cx="32352" cy="1998268"/>
          </a:xfrm>
          <a:prstGeom prst="bentConnector3">
            <a:avLst>
              <a:gd name="adj1" fmla="val 2157276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6" name="Elbow Connector 125"/>
          <p:cNvCxnSpPr>
            <a:stCxn id="119" idx="4"/>
            <a:endCxn id="125" idx="3"/>
          </p:cNvCxnSpPr>
          <p:nvPr/>
        </p:nvCxnSpPr>
        <p:spPr>
          <a:xfrm flipH="1">
            <a:off x="3233148" y="3603984"/>
            <a:ext cx="4323974" cy="859154"/>
          </a:xfrm>
          <a:prstGeom prst="bentConnector3">
            <a:avLst>
              <a:gd name="adj1" fmla="val -17451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9" name="TextBox 128"/>
          <p:cNvSpPr txBox="1"/>
          <p:nvPr/>
        </p:nvSpPr>
        <p:spPr>
          <a:xfrm>
            <a:off x="33395" y="4358184"/>
            <a:ext cx="15055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Response</a:t>
            </a:r>
            <a:endParaRPr lang="pl-PL" sz="1000" dirty="0" smtClean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475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42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83535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320233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</a:t>
            </a:r>
            <a:r>
              <a:rPr lang="pl-PL" sz="1000" dirty="0" err="1" smtClean="0">
                <a:solidFill>
                  <a:srgbClr val="00B050"/>
                </a:solidFill>
              </a:rPr>
              <a:t>currentSmsrId</a:t>
            </a:r>
            <a:r>
              <a:rPr lang="pl-PL" sz="1000" dirty="0" smtClean="0">
                <a:solidFill>
                  <a:srgbClr val="00B050"/>
                </a:solidFill>
              </a:rPr>
              <a:t>)</a:t>
            </a:r>
            <a:endParaRPr lang="pl-PL" sz="1000" dirty="0">
              <a:solidFill>
                <a:srgbClr val="00B050"/>
              </a:solidFill>
            </a:endParaRPr>
          </a:p>
        </p:txBody>
      </p:sp>
      <p:cxnSp>
        <p:nvCxnSpPr>
          <p:cNvPr id="104" name="Elbow Connector 103"/>
          <p:cNvCxnSpPr>
            <a:stCxn id="125" idx="1"/>
          </p:cNvCxnSpPr>
          <p:nvPr/>
        </p:nvCxnSpPr>
        <p:spPr>
          <a:xfrm rot="10800000" flipV="1">
            <a:off x="1091117" y="4463138"/>
            <a:ext cx="866537" cy="492010"/>
          </a:xfrm>
          <a:prstGeom prst="bentConnector3">
            <a:avLst>
              <a:gd name="adj1" fmla="val 50000"/>
            </a:avLst>
          </a:prstGeom>
          <a:ln>
            <a:prstDash val="sys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2583974" y="194586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83535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2" idx="2"/>
          </p:cNvCxnSpPr>
          <p:nvPr/>
        </p:nvCxnSpPr>
        <p:spPr>
          <a:xfrm>
            <a:off x="3157988" y="2328319"/>
            <a:ext cx="0" cy="17724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242192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92345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4726657" y="2674528"/>
            <a:ext cx="164177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SmsrChangeReceiverSaga</a:t>
            </a:r>
            <a:endParaRPr lang="pl-PL" sz="1100" dirty="0"/>
          </a:p>
        </p:txBody>
      </p:sp>
      <p:cxnSp>
        <p:nvCxnSpPr>
          <p:cNvPr id="99" name="Elbow Connector 98"/>
          <p:cNvCxnSpPr/>
          <p:nvPr/>
        </p:nvCxnSpPr>
        <p:spPr>
          <a:xfrm flipV="1">
            <a:off x="3233252" y="2895716"/>
            <a:ext cx="1493404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3233252" y="2631315"/>
            <a:ext cx="1643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findOrCreate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sp>
        <p:nvSpPr>
          <p:cNvPr id="106" name="Freeform 124"/>
          <p:cNvSpPr>
            <a:spLocks noEditPoints="1"/>
          </p:cNvSpPr>
          <p:nvPr/>
        </p:nvSpPr>
        <p:spPr bwMode="auto">
          <a:xfrm>
            <a:off x="6992574" y="1308060"/>
            <a:ext cx="596900" cy="596900"/>
          </a:xfrm>
          <a:custGeom>
            <a:avLst/>
            <a:gdLst>
              <a:gd name="T0" fmla="*/ 146 w 292"/>
              <a:gd name="T1" fmla="*/ 292 h 292"/>
              <a:gd name="T2" fmla="*/ 0 w 292"/>
              <a:gd name="T3" fmla="*/ 146 h 292"/>
              <a:gd name="T4" fmla="*/ 146 w 292"/>
              <a:gd name="T5" fmla="*/ 0 h 292"/>
              <a:gd name="T6" fmla="*/ 292 w 292"/>
              <a:gd name="T7" fmla="*/ 146 h 292"/>
              <a:gd name="T8" fmla="*/ 146 w 292"/>
              <a:gd name="T9" fmla="*/ 292 h 292"/>
              <a:gd name="T10" fmla="*/ 146 w 292"/>
              <a:gd name="T11" fmla="*/ 4 h 292"/>
              <a:gd name="T12" fmla="*/ 4 w 292"/>
              <a:gd name="T13" fmla="*/ 146 h 292"/>
              <a:gd name="T14" fmla="*/ 146 w 292"/>
              <a:gd name="T15" fmla="*/ 288 h 292"/>
              <a:gd name="T16" fmla="*/ 288 w 292"/>
              <a:gd name="T17" fmla="*/ 146 h 292"/>
              <a:gd name="T18" fmla="*/ 146 w 292"/>
              <a:gd name="T19" fmla="*/ 4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92" h="292">
                <a:moveTo>
                  <a:pt x="146" y="292"/>
                </a:moveTo>
                <a:cubicBezTo>
                  <a:pt x="66" y="292"/>
                  <a:pt x="0" y="227"/>
                  <a:pt x="0" y="146"/>
                </a:cubicBezTo>
                <a:cubicBezTo>
                  <a:pt x="0" y="65"/>
                  <a:pt x="66" y="0"/>
                  <a:pt x="146" y="0"/>
                </a:cubicBezTo>
                <a:cubicBezTo>
                  <a:pt x="227" y="0"/>
                  <a:pt x="292" y="65"/>
                  <a:pt x="292" y="146"/>
                </a:cubicBezTo>
                <a:cubicBezTo>
                  <a:pt x="292" y="227"/>
                  <a:pt x="227" y="292"/>
                  <a:pt x="146" y="292"/>
                </a:cubicBezTo>
                <a:close/>
                <a:moveTo>
                  <a:pt x="146" y="4"/>
                </a:moveTo>
                <a:cubicBezTo>
                  <a:pt x="68" y="4"/>
                  <a:pt x="4" y="68"/>
                  <a:pt x="4" y="146"/>
                </a:cubicBezTo>
                <a:cubicBezTo>
                  <a:pt x="4" y="224"/>
                  <a:pt x="68" y="288"/>
                  <a:pt x="146" y="288"/>
                </a:cubicBezTo>
                <a:cubicBezTo>
                  <a:pt x="224" y="288"/>
                  <a:pt x="288" y="224"/>
                  <a:pt x="288" y="146"/>
                </a:cubicBezTo>
                <a:cubicBezTo>
                  <a:pt x="288" y="68"/>
                  <a:pt x="224" y="4"/>
                  <a:pt x="146" y="4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125"/>
          <p:cNvSpPr>
            <a:spLocks/>
          </p:cNvSpPr>
          <p:nvPr/>
        </p:nvSpPr>
        <p:spPr bwMode="auto">
          <a:xfrm>
            <a:off x="7186249" y="1452522"/>
            <a:ext cx="258763" cy="160338"/>
          </a:xfrm>
          <a:custGeom>
            <a:avLst/>
            <a:gdLst>
              <a:gd name="T0" fmla="*/ 66 w 163"/>
              <a:gd name="T1" fmla="*/ 101 h 101"/>
              <a:gd name="T2" fmla="*/ 0 w 163"/>
              <a:gd name="T3" fmla="*/ 35 h 101"/>
              <a:gd name="T4" fmla="*/ 4 w 163"/>
              <a:gd name="T5" fmla="*/ 31 h 101"/>
              <a:gd name="T6" fmla="*/ 66 w 163"/>
              <a:gd name="T7" fmla="*/ 93 h 101"/>
              <a:gd name="T8" fmla="*/ 159 w 163"/>
              <a:gd name="T9" fmla="*/ 0 h 101"/>
              <a:gd name="T10" fmla="*/ 163 w 163"/>
              <a:gd name="T11" fmla="*/ 4 h 101"/>
              <a:gd name="T12" fmla="*/ 66 w 163"/>
              <a:gd name="T13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3" h="101">
                <a:moveTo>
                  <a:pt x="66" y="101"/>
                </a:moveTo>
                <a:lnTo>
                  <a:pt x="0" y="35"/>
                </a:lnTo>
                <a:lnTo>
                  <a:pt x="4" y="31"/>
                </a:lnTo>
                <a:lnTo>
                  <a:pt x="66" y="93"/>
                </a:lnTo>
                <a:lnTo>
                  <a:pt x="159" y="0"/>
                </a:lnTo>
                <a:lnTo>
                  <a:pt x="163" y="4"/>
                </a:lnTo>
                <a:lnTo>
                  <a:pt x="66" y="101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00B05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Rectangle 126"/>
          <p:cNvSpPr>
            <a:spLocks noChangeArrowheads="1"/>
          </p:cNvSpPr>
          <p:nvPr/>
        </p:nvSpPr>
        <p:spPr bwMode="auto">
          <a:xfrm>
            <a:off x="7286261" y="1308060"/>
            <a:ext cx="9525" cy="57150"/>
          </a:xfrm>
          <a:prstGeom prst="rect">
            <a:avLst/>
          </a:prstGeom>
          <a:solidFill>
            <a:schemeClr val="tx2"/>
          </a:solidFill>
          <a:ln w="9525">
            <a:solidFill>
              <a:srgbClr val="00B050"/>
            </a:solidFill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Rectangle 127"/>
          <p:cNvSpPr>
            <a:spLocks noChangeArrowheads="1"/>
          </p:cNvSpPr>
          <p:nvPr/>
        </p:nvSpPr>
        <p:spPr bwMode="auto">
          <a:xfrm>
            <a:off x="7286261" y="1847810"/>
            <a:ext cx="9525" cy="57150"/>
          </a:xfrm>
          <a:prstGeom prst="rect">
            <a:avLst/>
          </a:prstGeom>
          <a:solidFill>
            <a:schemeClr val="tx2"/>
          </a:solidFill>
          <a:ln w="9525">
            <a:solidFill>
              <a:srgbClr val="00B050"/>
            </a:solidFill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Rectangle 128"/>
          <p:cNvSpPr>
            <a:spLocks noChangeArrowheads="1"/>
          </p:cNvSpPr>
          <p:nvPr/>
        </p:nvSpPr>
        <p:spPr bwMode="auto">
          <a:xfrm>
            <a:off x="6992574" y="1601747"/>
            <a:ext cx="57150" cy="7938"/>
          </a:xfrm>
          <a:prstGeom prst="rect">
            <a:avLst/>
          </a:prstGeom>
          <a:solidFill>
            <a:schemeClr val="tx2"/>
          </a:solidFill>
          <a:ln w="9525">
            <a:solidFill>
              <a:srgbClr val="00B050"/>
            </a:solidFill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Rectangle 129"/>
          <p:cNvSpPr>
            <a:spLocks noChangeArrowheads="1"/>
          </p:cNvSpPr>
          <p:nvPr/>
        </p:nvSpPr>
        <p:spPr bwMode="auto">
          <a:xfrm>
            <a:off x="7532324" y="1601747"/>
            <a:ext cx="57150" cy="7938"/>
          </a:xfrm>
          <a:prstGeom prst="rect">
            <a:avLst/>
          </a:prstGeom>
          <a:solidFill>
            <a:schemeClr val="tx2"/>
          </a:solidFill>
          <a:ln w="9525">
            <a:solidFill>
              <a:srgbClr val="00B050"/>
            </a:solidFill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12" name="Straight Connector 111"/>
          <p:cNvCxnSpPr/>
          <p:nvPr/>
        </p:nvCxnSpPr>
        <p:spPr>
          <a:xfrm>
            <a:off x="5576156" y="3081961"/>
            <a:ext cx="0" cy="1279646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5499859" y="3175568"/>
            <a:ext cx="154641" cy="100801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4" name="Elbow Connector 113"/>
          <p:cNvCxnSpPr/>
          <p:nvPr/>
        </p:nvCxnSpPr>
        <p:spPr>
          <a:xfrm flipV="1">
            <a:off x="3233148" y="3369108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3202070" y="3115820"/>
            <a:ext cx="22302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handlePrepareSMSRChange</a:t>
            </a:r>
            <a:r>
              <a:rPr lang="pl-PL" sz="1100" dirty="0" smtClean="0">
                <a:solidFill>
                  <a:srgbClr val="00B050"/>
                </a:solidFill>
              </a:rPr>
              <a:t>(…)</a:t>
            </a:r>
            <a:endParaRPr lang="pl-PL" sz="1100" dirty="0">
              <a:solidFill>
                <a:srgbClr val="00B05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2083366" y="274196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6840642" y="3422486"/>
            <a:ext cx="716480" cy="338554"/>
            <a:chOff x="2033674" y="2741962"/>
            <a:chExt cx="716480" cy="338554"/>
          </a:xfrm>
        </p:grpSpPr>
        <p:sp>
          <p:nvSpPr>
            <p:cNvPr id="119" name="Flowchart: Direct Access Storage 118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2033674" y="2741962"/>
              <a:ext cx="61747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sz="1600" dirty="0" err="1" smtClean="0"/>
                <a:t>Cmd</a:t>
              </a:r>
              <a:endParaRPr lang="pl-PL" sz="1600" dirty="0"/>
            </a:p>
          </p:txBody>
        </p:sp>
      </p:grpSp>
      <p:cxnSp>
        <p:nvCxnSpPr>
          <p:cNvPr id="121" name="Elbow Connector 120"/>
          <p:cNvCxnSpPr/>
          <p:nvPr/>
        </p:nvCxnSpPr>
        <p:spPr>
          <a:xfrm>
            <a:off x="5661673" y="3422486"/>
            <a:ext cx="1271314" cy="181040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2" name="Elbow Connector 121"/>
          <p:cNvCxnSpPr/>
          <p:nvPr/>
        </p:nvCxnSpPr>
        <p:spPr>
          <a:xfrm flipV="1">
            <a:off x="5683202" y="3604933"/>
            <a:ext cx="1249785" cy="22027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5620237" y="3139140"/>
            <a:ext cx="2722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ScheduleSmsrChangeTimeout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5643902" y="3823761"/>
            <a:ext cx="26989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SendPrepareSmsrChangeResponse</a:t>
            </a:r>
            <a:endParaRPr lang="pl-PL" sz="1200" dirty="0">
              <a:solidFill>
                <a:srgbClr val="00B050"/>
              </a:solidFill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1957653" y="4271913"/>
            <a:ext cx="127549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ResponseSender</a:t>
            </a:r>
            <a:endParaRPr lang="pl-PL" sz="1100" dirty="0"/>
          </a:p>
        </p:txBody>
      </p:sp>
      <p:cxnSp>
        <p:nvCxnSpPr>
          <p:cNvPr id="47" name="Elbow Connector 46"/>
          <p:cNvCxnSpPr>
            <a:stCxn id="119" idx="4"/>
            <a:endCxn id="111" idx="3"/>
          </p:cNvCxnSpPr>
          <p:nvPr/>
        </p:nvCxnSpPr>
        <p:spPr>
          <a:xfrm flipV="1">
            <a:off x="7557122" y="1605716"/>
            <a:ext cx="32352" cy="1998268"/>
          </a:xfrm>
          <a:prstGeom prst="bentConnector3">
            <a:avLst>
              <a:gd name="adj1" fmla="val 2157276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6" name="Elbow Connector 125"/>
          <p:cNvCxnSpPr>
            <a:stCxn id="119" idx="4"/>
            <a:endCxn id="125" idx="3"/>
          </p:cNvCxnSpPr>
          <p:nvPr/>
        </p:nvCxnSpPr>
        <p:spPr>
          <a:xfrm flipH="1">
            <a:off x="3233148" y="3603984"/>
            <a:ext cx="4323974" cy="859154"/>
          </a:xfrm>
          <a:prstGeom prst="bentConnector3">
            <a:avLst>
              <a:gd name="adj1" fmla="val -17451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9" name="TextBox 128"/>
          <p:cNvSpPr txBox="1"/>
          <p:nvPr/>
        </p:nvSpPr>
        <p:spPr>
          <a:xfrm>
            <a:off x="33395" y="4358184"/>
            <a:ext cx="15055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Response</a:t>
            </a:r>
            <a:endParaRPr lang="pl-PL" sz="1000" dirty="0" smtClean="0">
              <a:solidFill>
                <a:srgbClr val="00B050"/>
              </a:solidFill>
            </a:endParaRPr>
          </a:p>
        </p:txBody>
      </p:sp>
      <p:cxnSp>
        <p:nvCxnSpPr>
          <p:cNvPr id="53" name="Elbow Connector 52"/>
          <p:cNvCxnSpPr/>
          <p:nvPr/>
        </p:nvCxnSpPr>
        <p:spPr>
          <a:xfrm flipV="1">
            <a:off x="3231874" y="3943361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3200796" y="3690073"/>
            <a:ext cx="1589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>
                <a:solidFill>
                  <a:srgbClr val="00B050"/>
                </a:solidFill>
              </a:rPr>
              <a:t>p</a:t>
            </a:r>
            <a:r>
              <a:rPr lang="pl-PL" sz="1100" dirty="0" err="1" smtClean="0">
                <a:solidFill>
                  <a:srgbClr val="00B050"/>
                </a:solidFill>
              </a:rPr>
              <a:t>ersist</a:t>
            </a:r>
            <a:r>
              <a:rPr lang="pl-PL" sz="1100" dirty="0" smtClean="0">
                <a:solidFill>
                  <a:srgbClr val="00B050"/>
                </a:solidFill>
              </a:rPr>
              <a:t>()</a:t>
            </a:r>
            <a:endParaRPr lang="pl-PL" sz="11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311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43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83535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320233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PrepareSMSRChange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</a:t>
            </a:r>
            <a:r>
              <a:rPr lang="pl-PL" sz="1000" dirty="0" err="1" smtClean="0">
                <a:solidFill>
                  <a:srgbClr val="00B050"/>
                </a:solidFill>
              </a:rPr>
              <a:t>currentSmsrId</a:t>
            </a:r>
            <a:r>
              <a:rPr lang="pl-PL" sz="1000" dirty="0" smtClean="0">
                <a:solidFill>
                  <a:srgbClr val="00B050"/>
                </a:solidFill>
              </a:rPr>
              <a:t>)</a:t>
            </a:r>
            <a:endParaRPr lang="pl-PL" sz="1000" dirty="0">
              <a:solidFill>
                <a:srgbClr val="00B050"/>
              </a:solidFill>
            </a:endParaRPr>
          </a:p>
        </p:txBody>
      </p:sp>
      <p:cxnSp>
        <p:nvCxnSpPr>
          <p:cNvPr id="104" name="Elbow Connector 103"/>
          <p:cNvCxnSpPr>
            <a:stCxn id="125" idx="1"/>
          </p:cNvCxnSpPr>
          <p:nvPr/>
        </p:nvCxnSpPr>
        <p:spPr>
          <a:xfrm rot="10800000" flipV="1">
            <a:off x="1091117" y="4463138"/>
            <a:ext cx="866537" cy="492010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prstDash val="sys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2583974" y="194586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83535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2" idx="2"/>
          </p:cNvCxnSpPr>
          <p:nvPr/>
        </p:nvCxnSpPr>
        <p:spPr>
          <a:xfrm>
            <a:off x="3157988" y="2328319"/>
            <a:ext cx="0" cy="17724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242192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92345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4726657" y="2674528"/>
            <a:ext cx="164177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SmsrChangeReceiverSaga</a:t>
            </a:r>
            <a:endParaRPr lang="pl-PL" sz="1100" dirty="0"/>
          </a:p>
        </p:txBody>
      </p:sp>
      <p:cxnSp>
        <p:nvCxnSpPr>
          <p:cNvPr id="99" name="Elbow Connector 98"/>
          <p:cNvCxnSpPr/>
          <p:nvPr/>
        </p:nvCxnSpPr>
        <p:spPr>
          <a:xfrm flipV="1">
            <a:off x="3233252" y="2895716"/>
            <a:ext cx="1493404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3233252" y="2631315"/>
            <a:ext cx="1643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findOrCreate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cxnSp>
        <p:nvCxnSpPr>
          <p:cNvPr id="112" name="Straight Connector 111"/>
          <p:cNvCxnSpPr/>
          <p:nvPr/>
        </p:nvCxnSpPr>
        <p:spPr>
          <a:xfrm>
            <a:off x="5576156" y="3081961"/>
            <a:ext cx="0" cy="1279646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5499859" y="3175568"/>
            <a:ext cx="154641" cy="100801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4" name="Elbow Connector 113"/>
          <p:cNvCxnSpPr/>
          <p:nvPr/>
        </p:nvCxnSpPr>
        <p:spPr>
          <a:xfrm flipV="1">
            <a:off x="3233148" y="3369108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3202070" y="3115820"/>
            <a:ext cx="22302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handlePrepareSMSRChange</a:t>
            </a:r>
            <a:r>
              <a:rPr lang="pl-PL" sz="1100" dirty="0" smtClean="0">
                <a:solidFill>
                  <a:srgbClr val="00B050"/>
                </a:solidFill>
              </a:rPr>
              <a:t>(…)</a:t>
            </a:r>
            <a:endParaRPr lang="pl-PL" sz="1100" dirty="0">
              <a:solidFill>
                <a:srgbClr val="00B05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2083366" y="274196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6840642" y="3422486"/>
            <a:ext cx="716480" cy="338554"/>
            <a:chOff x="2033674" y="2741962"/>
            <a:chExt cx="716480" cy="338554"/>
          </a:xfrm>
        </p:grpSpPr>
        <p:sp>
          <p:nvSpPr>
            <p:cNvPr id="119" name="Flowchart: Direct Access Storage 118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2033674" y="2741962"/>
              <a:ext cx="61747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sz="1600" dirty="0" err="1" smtClean="0"/>
                <a:t>Cmd</a:t>
              </a:r>
              <a:endParaRPr lang="pl-PL" sz="1600" dirty="0"/>
            </a:p>
          </p:txBody>
        </p:sp>
      </p:grpSp>
      <p:cxnSp>
        <p:nvCxnSpPr>
          <p:cNvPr id="121" name="Elbow Connector 120"/>
          <p:cNvCxnSpPr/>
          <p:nvPr/>
        </p:nvCxnSpPr>
        <p:spPr>
          <a:xfrm>
            <a:off x="5661673" y="3422486"/>
            <a:ext cx="1271314" cy="181040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2" name="Elbow Connector 121"/>
          <p:cNvCxnSpPr/>
          <p:nvPr/>
        </p:nvCxnSpPr>
        <p:spPr>
          <a:xfrm flipV="1">
            <a:off x="5683202" y="3604933"/>
            <a:ext cx="1249785" cy="22027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4" name="TextBox 123"/>
          <p:cNvSpPr txBox="1"/>
          <p:nvPr/>
        </p:nvSpPr>
        <p:spPr>
          <a:xfrm>
            <a:off x="5643902" y="3823761"/>
            <a:ext cx="26989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FF0000"/>
                </a:solidFill>
              </a:rPr>
              <a:t>SendPrepareSmsrChangeResponse</a:t>
            </a:r>
            <a:endParaRPr lang="pl-PL" sz="1200" dirty="0">
              <a:solidFill>
                <a:srgbClr val="FF0000"/>
              </a:solidFill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1957653" y="4271913"/>
            <a:ext cx="127549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ResponseSender</a:t>
            </a:r>
            <a:endParaRPr lang="pl-PL" sz="1100" dirty="0"/>
          </a:p>
        </p:txBody>
      </p:sp>
      <p:cxnSp>
        <p:nvCxnSpPr>
          <p:cNvPr id="126" name="Elbow Connector 125"/>
          <p:cNvCxnSpPr>
            <a:stCxn id="119" idx="4"/>
            <a:endCxn id="125" idx="3"/>
          </p:cNvCxnSpPr>
          <p:nvPr/>
        </p:nvCxnSpPr>
        <p:spPr>
          <a:xfrm flipH="1">
            <a:off x="3233148" y="3603984"/>
            <a:ext cx="4323974" cy="859154"/>
          </a:xfrm>
          <a:prstGeom prst="bentConnector3">
            <a:avLst>
              <a:gd name="adj1" fmla="val -17451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9" name="TextBox 128"/>
          <p:cNvSpPr txBox="1"/>
          <p:nvPr/>
        </p:nvSpPr>
        <p:spPr>
          <a:xfrm>
            <a:off x="33395" y="4358184"/>
            <a:ext cx="15055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FF0000"/>
                </a:solidFill>
              </a:rPr>
              <a:t>PrepareSMSRChangeResponse</a:t>
            </a:r>
            <a:endParaRPr lang="pl-PL" sz="1000" dirty="0" smtClean="0">
              <a:solidFill>
                <a:srgbClr val="FF0000"/>
              </a:solidFill>
            </a:endParaRPr>
          </a:p>
        </p:txBody>
      </p:sp>
      <p:cxnSp>
        <p:nvCxnSpPr>
          <p:cNvPr id="53" name="Elbow Connector 52"/>
          <p:cNvCxnSpPr/>
          <p:nvPr/>
        </p:nvCxnSpPr>
        <p:spPr>
          <a:xfrm flipV="1">
            <a:off x="3231874" y="3943361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3200796" y="3690073"/>
            <a:ext cx="1589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>
                <a:solidFill>
                  <a:srgbClr val="00B050"/>
                </a:solidFill>
              </a:rPr>
              <a:t>p</a:t>
            </a:r>
            <a:r>
              <a:rPr lang="pl-PL" sz="1100" dirty="0" err="1" smtClean="0">
                <a:solidFill>
                  <a:srgbClr val="00B050"/>
                </a:solidFill>
              </a:rPr>
              <a:t>ersist</a:t>
            </a:r>
            <a:r>
              <a:rPr lang="pl-PL" sz="1100" dirty="0" smtClean="0">
                <a:solidFill>
                  <a:srgbClr val="00B050"/>
                </a:solidFill>
              </a:rPr>
              <a:t>()</a:t>
            </a:r>
            <a:endParaRPr lang="pl-PL" sz="11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823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10800" y="3542840"/>
            <a:ext cx="907200" cy="273844"/>
          </a:xfrm>
        </p:spPr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39029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275727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HandoverEUICC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EIS)</a:t>
            </a:r>
            <a:endParaRPr lang="pl-PL" sz="1000" dirty="0">
              <a:solidFill>
                <a:srgbClr val="00B050"/>
              </a:solidFill>
            </a:endParaRPr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39029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2083366" y="229690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</p:spTree>
    <p:extLst>
      <p:ext uri="{BB962C8B-B14F-4D97-AF65-F5344CB8AC3E}">
        <p14:creationId xmlns:p14="http://schemas.microsoft.com/office/powerpoint/2010/main" val="64566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10800" y="3542840"/>
            <a:ext cx="907200" cy="273844"/>
          </a:xfrm>
        </p:spPr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40300" y="4333940"/>
            <a:ext cx="453600" cy="170100"/>
          </a:xfrm>
        </p:spPr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45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39029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275727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HandoverEUICC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EIS)</a:t>
            </a:r>
            <a:endParaRPr lang="pl-PL" sz="1000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83974" y="150080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39029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2" idx="2"/>
          </p:cNvCxnSpPr>
          <p:nvPr/>
        </p:nvCxnSpPr>
        <p:spPr>
          <a:xfrm>
            <a:off x="3157988" y="1883259"/>
            <a:ext cx="0" cy="17724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197686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47839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4726657" y="2229468"/>
            <a:ext cx="164177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SmsrChangeReceiverSaga</a:t>
            </a:r>
            <a:endParaRPr lang="pl-PL" sz="1100" dirty="0"/>
          </a:p>
        </p:txBody>
      </p:sp>
      <p:cxnSp>
        <p:nvCxnSpPr>
          <p:cNvPr id="99" name="Elbow Connector 98"/>
          <p:cNvCxnSpPr/>
          <p:nvPr/>
        </p:nvCxnSpPr>
        <p:spPr>
          <a:xfrm flipV="1">
            <a:off x="3233252" y="2450656"/>
            <a:ext cx="1493404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3233252" y="2186255"/>
            <a:ext cx="1643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findOrCreate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cxnSp>
        <p:nvCxnSpPr>
          <p:cNvPr id="112" name="Straight Connector 111"/>
          <p:cNvCxnSpPr/>
          <p:nvPr/>
        </p:nvCxnSpPr>
        <p:spPr>
          <a:xfrm>
            <a:off x="5576156" y="2636901"/>
            <a:ext cx="0" cy="153271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5510672" y="2730507"/>
            <a:ext cx="143827" cy="138137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4" name="Elbow Connector 113"/>
          <p:cNvCxnSpPr/>
          <p:nvPr/>
        </p:nvCxnSpPr>
        <p:spPr>
          <a:xfrm flipV="1">
            <a:off x="3233148" y="2924048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3202070" y="2670760"/>
            <a:ext cx="22302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handleHandoverEUICC</a:t>
            </a:r>
            <a:r>
              <a:rPr lang="pl-PL" sz="1100" dirty="0" smtClean="0">
                <a:solidFill>
                  <a:srgbClr val="00B050"/>
                </a:solidFill>
              </a:rPr>
              <a:t>(…)</a:t>
            </a:r>
            <a:endParaRPr lang="pl-PL" sz="1100" dirty="0">
              <a:solidFill>
                <a:srgbClr val="00B05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2083366" y="229690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</p:spTree>
    <p:extLst>
      <p:ext uri="{BB962C8B-B14F-4D97-AF65-F5344CB8AC3E}">
        <p14:creationId xmlns:p14="http://schemas.microsoft.com/office/powerpoint/2010/main" val="2978336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10800" y="3542840"/>
            <a:ext cx="907200" cy="273844"/>
          </a:xfrm>
        </p:spPr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40300" y="4333940"/>
            <a:ext cx="453600" cy="170100"/>
          </a:xfrm>
        </p:spPr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46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39029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275727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HandoverEUICC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EIS)</a:t>
            </a:r>
            <a:endParaRPr lang="pl-PL" sz="1000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83974" y="150080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39029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2" idx="2"/>
          </p:cNvCxnSpPr>
          <p:nvPr/>
        </p:nvCxnSpPr>
        <p:spPr>
          <a:xfrm>
            <a:off x="3157988" y="1883259"/>
            <a:ext cx="0" cy="17724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197686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47839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4726657" y="2229468"/>
            <a:ext cx="164177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SmsrChangeReceiverSaga</a:t>
            </a:r>
            <a:endParaRPr lang="pl-PL" sz="1100" dirty="0"/>
          </a:p>
        </p:txBody>
      </p:sp>
      <p:cxnSp>
        <p:nvCxnSpPr>
          <p:cNvPr id="99" name="Elbow Connector 98"/>
          <p:cNvCxnSpPr/>
          <p:nvPr/>
        </p:nvCxnSpPr>
        <p:spPr>
          <a:xfrm flipV="1">
            <a:off x="3233252" y="2450656"/>
            <a:ext cx="1493404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3233252" y="2186255"/>
            <a:ext cx="1643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findOrCreate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cxnSp>
        <p:nvCxnSpPr>
          <p:cNvPr id="112" name="Straight Connector 111"/>
          <p:cNvCxnSpPr/>
          <p:nvPr/>
        </p:nvCxnSpPr>
        <p:spPr>
          <a:xfrm>
            <a:off x="5576156" y="2636901"/>
            <a:ext cx="0" cy="153271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5510672" y="2730507"/>
            <a:ext cx="143827" cy="138137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4" name="Elbow Connector 113"/>
          <p:cNvCxnSpPr/>
          <p:nvPr/>
        </p:nvCxnSpPr>
        <p:spPr>
          <a:xfrm flipV="1">
            <a:off x="3233148" y="2924048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3202070" y="2670760"/>
            <a:ext cx="22302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handleHandoverEUICC</a:t>
            </a:r>
            <a:r>
              <a:rPr lang="pl-PL" sz="1100" dirty="0" smtClean="0">
                <a:solidFill>
                  <a:srgbClr val="00B050"/>
                </a:solidFill>
              </a:rPr>
              <a:t>(…)</a:t>
            </a:r>
            <a:endParaRPr lang="pl-PL" sz="1100" dirty="0">
              <a:solidFill>
                <a:srgbClr val="00B05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2083366" y="229690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  <p:cxnSp>
        <p:nvCxnSpPr>
          <p:cNvPr id="121" name="Elbow Connector 120"/>
          <p:cNvCxnSpPr/>
          <p:nvPr/>
        </p:nvCxnSpPr>
        <p:spPr>
          <a:xfrm flipV="1">
            <a:off x="5661673" y="2993362"/>
            <a:ext cx="1321238" cy="248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3200796" y="3245013"/>
            <a:ext cx="1589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>
                <a:solidFill>
                  <a:srgbClr val="00B050"/>
                </a:solidFill>
              </a:rPr>
              <a:t>p</a:t>
            </a:r>
            <a:r>
              <a:rPr lang="pl-PL" sz="1100" dirty="0" err="1" smtClean="0">
                <a:solidFill>
                  <a:srgbClr val="00B050"/>
                </a:solidFill>
              </a:rPr>
              <a:t>ersist</a:t>
            </a:r>
            <a:r>
              <a:rPr lang="pl-PL" sz="1100" dirty="0" smtClean="0">
                <a:solidFill>
                  <a:srgbClr val="00B050"/>
                </a:solidFill>
              </a:rPr>
              <a:t>()</a:t>
            </a:r>
            <a:endParaRPr lang="pl-PL" sz="1100" dirty="0">
              <a:solidFill>
                <a:srgbClr val="00B050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462317" y="2243121"/>
            <a:ext cx="1198104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CertificateStore</a:t>
            </a:r>
            <a:endParaRPr lang="pl-PL" sz="1100" dirty="0"/>
          </a:p>
        </p:txBody>
      </p:sp>
      <p:cxnSp>
        <p:nvCxnSpPr>
          <p:cNvPr id="56" name="Straight Connector 55"/>
          <p:cNvCxnSpPr/>
          <p:nvPr/>
        </p:nvCxnSpPr>
        <p:spPr>
          <a:xfrm>
            <a:off x="7063361" y="2622201"/>
            <a:ext cx="0" cy="622812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6982912" y="2859278"/>
            <a:ext cx="170448" cy="29810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9" name="TextBox 58"/>
          <p:cNvSpPr txBox="1"/>
          <p:nvPr/>
        </p:nvSpPr>
        <p:spPr>
          <a:xfrm>
            <a:off x="5620238" y="2759461"/>
            <a:ext cx="10915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findSmsrCert</a:t>
            </a:r>
            <a:r>
              <a:rPr lang="pl-PL" sz="1100" dirty="0" smtClean="0">
                <a:solidFill>
                  <a:srgbClr val="00B050"/>
                </a:solidFill>
              </a:rPr>
              <a:t>()</a:t>
            </a:r>
            <a:endParaRPr lang="pl-PL" sz="1100" dirty="0">
              <a:solidFill>
                <a:srgbClr val="00B050"/>
              </a:solidFill>
            </a:endParaRPr>
          </a:p>
        </p:txBody>
      </p:sp>
      <p:cxnSp>
        <p:nvCxnSpPr>
          <p:cNvPr id="60" name="Elbow Connector 59"/>
          <p:cNvCxnSpPr/>
          <p:nvPr/>
        </p:nvCxnSpPr>
        <p:spPr>
          <a:xfrm rot="10800000" flipV="1">
            <a:off x="5652457" y="3091158"/>
            <a:ext cx="1330455" cy="8093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/>
        </p:nvSpPr>
        <p:spPr>
          <a:xfrm>
            <a:off x="7730796" y="2243324"/>
            <a:ext cx="66091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KnownSmsrs</a:t>
            </a:r>
            <a:endParaRPr lang="pl-PL" sz="1100" dirty="0"/>
          </a:p>
        </p:txBody>
      </p:sp>
      <p:cxnSp>
        <p:nvCxnSpPr>
          <p:cNvPr id="67" name="Straight Connector 66"/>
          <p:cNvCxnSpPr/>
          <p:nvPr/>
        </p:nvCxnSpPr>
        <p:spPr>
          <a:xfrm>
            <a:off x="8040528" y="2622404"/>
            <a:ext cx="0" cy="1279646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7969357" y="3245013"/>
            <a:ext cx="160537" cy="3114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3" name="TextBox 72"/>
          <p:cNvSpPr txBox="1"/>
          <p:nvPr/>
        </p:nvSpPr>
        <p:spPr>
          <a:xfrm>
            <a:off x="5618889" y="3162713"/>
            <a:ext cx="1772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findTargetSmsrAddress</a:t>
            </a:r>
            <a:r>
              <a:rPr lang="pl-PL" sz="1100" dirty="0" smtClean="0">
                <a:solidFill>
                  <a:srgbClr val="00B050"/>
                </a:solidFill>
              </a:rPr>
              <a:t>()</a:t>
            </a:r>
            <a:endParaRPr lang="pl-PL" sz="1100" dirty="0">
              <a:solidFill>
                <a:srgbClr val="00B050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5652457" y="3424323"/>
            <a:ext cx="231690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0453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10800" y="3542840"/>
            <a:ext cx="907200" cy="273844"/>
          </a:xfrm>
        </p:spPr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40300" y="4333940"/>
            <a:ext cx="453600" cy="170100"/>
          </a:xfrm>
        </p:spPr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47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39029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275727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HandoverEUICC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EIS)</a:t>
            </a:r>
            <a:endParaRPr lang="pl-PL" sz="1000" dirty="0">
              <a:solidFill>
                <a:srgbClr val="00B050"/>
              </a:solidFill>
            </a:endParaRPr>
          </a:p>
        </p:txBody>
      </p:sp>
      <p:cxnSp>
        <p:nvCxnSpPr>
          <p:cNvPr id="104" name="Elbow Connector 103"/>
          <p:cNvCxnSpPr>
            <a:stCxn id="125" idx="1"/>
          </p:cNvCxnSpPr>
          <p:nvPr/>
        </p:nvCxnSpPr>
        <p:spPr>
          <a:xfrm rot="10800000" flipV="1">
            <a:off x="1091117" y="4018078"/>
            <a:ext cx="866537" cy="492010"/>
          </a:xfrm>
          <a:prstGeom prst="bentConnector3">
            <a:avLst>
              <a:gd name="adj1" fmla="val 50000"/>
            </a:avLst>
          </a:prstGeom>
          <a:ln>
            <a:prstDash val="sys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2583974" y="150080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39029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2" idx="2"/>
          </p:cNvCxnSpPr>
          <p:nvPr/>
        </p:nvCxnSpPr>
        <p:spPr>
          <a:xfrm>
            <a:off x="3157988" y="1883259"/>
            <a:ext cx="0" cy="17724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197686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47839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4726657" y="2229468"/>
            <a:ext cx="164177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SmsrChangeReceiverSaga</a:t>
            </a:r>
            <a:endParaRPr lang="pl-PL" sz="1100" dirty="0"/>
          </a:p>
        </p:txBody>
      </p:sp>
      <p:cxnSp>
        <p:nvCxnSpPr>
          <p:cNvPr id="99" name="Elbow Connector 98"/>
          <p:cNvCxnSpPr/>
          <p:nvPr/>
        </p:nvCxnSpPr>
        <p:spPr>
          <a:xfrm flipV="1">
            <a:off x="3233252" y="2450656"/>
            <a:ext cx="1493404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3233252" y="2186255"/>
            <a:ext cx="1643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findOrCreate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cxnSp>
        <p:nvCxnSpPr>
          <p:cNvPr id="112" name="Straight Connector 111"/>
          <p:cNvCxnSpPr/>
          <p:nvPr/>
        </p:nvCxnSpPr>
        <p:spPr>
          <a:xfrm>
            <a:off x="5576156" y="2636901"/>
            <a:ext cx="0" cy="153271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5510672" y="2730507"/>
            <a:ext cx="143827" cy="138137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4" name="Elbow Connector 113"/>
          <p:cNvCxnSpPr/>
          <p:nvPr/>
        </p:nvCxnSpPr>
        <p:spPr>
          <a:xfrm flipV="1">
            <a:off x="3233148" y="2924048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3202070" y="2670760"/>
            <a:ext cx="22302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handleHandoverEUICC</a:t>
            </a:r>
            <a:r>
              <a:rPr lang="pl-PL" sz="1100" dirty="0" smtClean="0">
                <a:solidFill>
                  <a:srgbClr val="00B050"/>
                </a:solidFill>
              </a:rPr>
              <a:t>(…)</a:t>
            </a:r>
            <a:endParaRPr lang="pl-PL" sz="1100" dirty="0">
              <a:solidFill>
                <a:srgbClr val="00B05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2083366" y="229690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6556001" y="3752144"/>
            <a:ext cx="716480" cy="338554"/>
            <a:chOff x="2033674" y="2741962"/>
            <a:chExt cx="716480" cy="338554"/>
          </a:xfrm>
        </p:grpSpPr>
        <p:sp>
          <p:nvSpPr>
            <p:cNvPr id="119" name="Flowchart: Direct Access Storage 118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2033674" y="2741962"/>
              <a:ext cx="61747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sz="1600" dirty="0" err="1" smtClean="0"/>
                <a:t>Cmd</a:t>
              </a:r>
              <a:endParaRPr lang="pl-PL" sz="1600" dirty="0"/>
            </a:p>
          </p:txBody>
        </p:sp>
      </p:grpSp>
      <p:cxnSp>
        <p:nvCxnSpPr>
          <p:cNvPr id="121" name="Elbow Connector 120"/>
          <p:cNvCxnSpPr/>
          <p:nvPr/>
        </p:nvCxnSpPr>
        <p:spPr>
          <a:xfrm flipV="1">
            <a:off x="5661673" y="2993362"/>
            <a:ext cx="1321238" cy="248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5" name="Rectangle 124"/>
          <p:cNvSpPr/>
          <p:nvPr/>
        </p:nvSpPr>
        <p:spPr>
          <a:xfrm>
            <a:off x="1957653" y="3826853"/>
            <a:ext cx="127549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RequestSender</a:t>
            </a:r>
            <a:endParaRPr lang="pl-PL" sz="1100" dirty="0"/>
          </a:p>
        </p:txBody>
      </p:sp>
      <p:sp>
        <p:nvSpPr>
          <p:cNvPr id="129" name="TextBox 128"/>
          <p:cNvSpPr txBox="1"/>
          <p:nvPr/>
        </p:nvSpPr>
        <p:spPr>
          <a:xfrm>
            <a:off x="311702" y="3969557"/>
            <a:ext cx="1180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AuthenticateSmsrRequest</a:t>
            </a:r>
            <a:endParaRPr lang="pl-PL" sz="1000" dirty="0" smtClean="0">
              <a:solidFill>
                <a:srgbClr val="00B050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462317" y="2243121"/>
            <a:ext cx="1198104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CertificateStore</a:t>
            </a:r>
            <a:endParaRPr lang="pl-PL" sz="1100" dirty="0"/>
          </a:p>
        </p:txBody>
      </p:sp>
      <p:cxnSp>
        <p:nvCxnSpPr>
          <p:cNvPr id="56" name="Straight Connector 55"/>
          <p:cNvCxnSpPr/>
          <p:nvPr/>
        </p:nvCxnSpPr>
        <p:spPr>
          <a:xfrm>
            <a:off x="7063361" y="2622201"/>
            <a:ext cx="0" cy="622812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6982912" y="2859278"/>
            <a:ext cx="170448" cy="29810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9" name="TextBox 58"/>
          <p:cNvSpPr txBox="1"/>
          <p:nvPr/>
        </p:nvSpPr>
        <p:spPr>
          <a:xfrm>
            <a:off x="5620238" y="2759461"/>
            <a:ext cx="10915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findSmsrCert</a:t>
            </a:r>
            <a:r>
              <a:rPr lang="pl-PL" sz="1100" dirty="0" smtClean="0">
                <a:solidFill>
                  <a:srgbClr val="00B050"/>
                </a:solidFill>
              </a:rPr>
              <a:t>()</a:t>
            </a:r>
            <a:endParaRPr lang="pl-PL" sz="1100" dirty="0">
              <a:solidFill>
                <a:srgbClr val="00B050"/>
              </a:solidFill>
            </a:endParaRPr>
          </a:p>
        </p:txBody>
      </p:sp>
      <p:cxnSp>
        <p:nvCxnSpPr>
          <p:cNvPr id="60" name="Elbow Connector 59"/>
          <p:cNvCxnSpPr/>
          <p:nvPr/>
        </p:nvCxnSpPr>
        <p:spPr>
          <a:xfrm rot="10800000" flipV="1">
            <a:off x="5652457" y="3091158"/>
            <a:ext cx="1330455" cy="8093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/>
        </p:nvSpPr>
        <p:spPr>
          <a:xfrm>
            <a:off x="7730796" y="2243324"/>
            <a:ext cx="66091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KnownSmsrs</a:t>
            </a:r>
            <a:endParaRPr lang="pl-PL" sz="1100" dirty="0"/>
          </a:p>
        </p:txBody>
      </p:sp>
      <p:cxnSp>
        <p:nvCxnSpPr>
          <p:cNvPr id="67" name="Straight Connector 66"/>
          <p:cNvCxnSpPr/>
          <p:nvPr/>
        </p:nvCxnSpPr>
        <p:spPr>
          <a:xfrm>
            <a:off x="8040528" y="2622404"/>
            <a:ext cx="0" cy="1279646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7969357" y="3245013"/>
            <a:ext cx="160537" cy="3114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3" name="TextBox 72"/>
          <p:cNvSpPr txBox="1"/>
          <p:nvPr/>
        </p:nvSpPr>
        <p:spPr>
          <a:xfrm>
            <a:off x="5618889" y="3162713"/>
            <a:ext cx="1772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findTargetSmsrAddress</a:t>
            </a:r>
            <a:r>
              <a:rPr lang="pl-PL" sz="1100" dirty="0" smtClean="0">
                <a:solidFill>
                  <a:srgbClr val="00B050"/>
                </a:solidFill>
              </a:rPr>
              <a:t>()</a:t>
            </a:r>
            <a:endParaRPr lang="pl-PL" sz="1100" dirty="0">
              <a:solidFill>
                <a:srgbClr val="00B050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5652457" y="3424323"/>
            <a:ext cx="231690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>
          <a:xfrm flipH="1">
            <a:off x="5648815" y="3524979"/>
            <a:ext cx="2320544" cy="237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5584866" y="4204534"/>
            <a:ext cx="26989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SendAuthenticateSmsrRequest</a:t>
            </a:r>
            <a:endParaRPr lang="pl-PL" sz="1200" dirty="0">
              <a:solidFill>
                <a:srgbClr val="00B050"/>
              </a:solidFill>
            </a:endParaRPr>
          </a:p>
          <a:p>
            <a:r>
              <a:rPr lang="pl-PL" sz="1200" dirty="0" smtClean="0">
                <a:solidFill>
                  <a:srgbClr val="00B050"/>
                </a:solidFill>
              </a:rPr>
              <a:t>(EID, CERT.SR.ECDSA, </a:t>
            </a:r>
            <a:r>
              <a:rPr lang="pl-PL" sz="1200" dirty="0" err="1" smtClean="0">
                <a:solidFill>
                  <a:srgbClr val="00B050"/>
                </a:solidFill>
              </a:rPr>
              <a:t>address</a:t>
            </a:r>
            <a:r>
              <a:rPr lang="pl-PL" sz="1200" dirty="0" smtClean="0">
                <a:solidFill>
                  <a:srgbClr val="00B050"/>
                </a:solidFill>
              </a:rPr>
              <a:t>)</a:t>
            </a:r>
            <a:endParaRPr lang="pl-PL" sz="1200" dirty="0">
              <a:solidFill>
                <a:srgbClr val="00B050"/>
              </a:solidFill>
            </a:endParaRPr>
          </a:p>
        </p:txBody>
      </p:sp>
      <p:cxnSp>
        <p:nvCxnSpPr>
          <p:cNvPr id="88" name="Elbow Connector 87"/>
          <p:cNvCxnSpPr>
            <a:stCxn id="119" idx="4"/>
            <a:endCxn id="125" idx="3"/>
          </p:cNvCxnSpPr>
          <p:nvPr/>
        </p:nvCxnSpPr>
        <p:spPr>
          <a:xfrm flipH="1">
            <a:off x="3233148" y="3933642"/>
            <a:ext cx="4039333" cy="84436"/>
          </a:xfrm>
          <a:prstGeom prst="bentConnector5">
            <a:avLst>
              <a:gd name="adj1" fmla="val -21285"/>
              <a:gd name="adj2" fmla="val 1051804"/>
              <a:gd name="adj3" fmla="val 80764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7" name="Straight Arrow Connector 126"/>
          <p:cNvCxnSpPr/>
          <p:nvPr/>
        </p:nvCxnSpPr>
        <p:spPr>
          <a:xfrm>
            <a:off x="5661673" y="3957961"/>
            <a:ext cx="89432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1710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1829579" y="1174814"/>
            <a:ext cx="7160671" cy="3834156"/>
          </a:xfrm>
          <a:prstGeom prst="rect">
            <a:avLst/>
          </a:prstGeom>
          <a:ln>
            <a:solidFill>
              <a:srgbClr val="00B050"/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10800" y="3542840"/>
            <a:ext cx="907200" cy="273844"/>
          </a:xfrm>
        </p:spPr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40300" y="4333940"/>
            <a:ext cx="453600" cy="170100"/>
          </a:xfrm>
        </p:spPr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48</a:t>
            </a:fld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1815231" y="1373237"/>
            <a:ext cx="934923" cy="597670"/>
            <a:chOff x="3271791" y="968637"/>
            <a:chExt cx="934923" cy="597670"/>
          </a:xfrm>
        </p:grpSpPr>
        <p:grpSp>
          <p:nvGrpSpPr>
            <p:cNvPr id="4" name="Group 3"/>
            <p:cNvGrpSpPr/>
            <p:nvPr/>
          </p:nvGrpSpPr>
          <p:grpSpPr>
            <a:xfrm>
              <a:off x="3271791" y="968637"/>
              <a:ext cx="934923" cy="597670"/>
              <a:chOff x="4295950" y="1543032"/>
              <a:chExt cx="934923" cy="59767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4364790" y="1543032"/>
                <a:ext cx="463358" cy="549827"/>
              </a:xfrm>
              <a:prstGeom prst="rect">
                <a:avLst/>
              </a:prstGeom>
              <a:ln>
                <a:solidFill>
                  <a:srgbClr val="00B05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pl-PL" dirty="0"/>
              </a:p>
            </p:txBody>
          </p:sp>
          <p:sp>
            <p:nvSpPr>
              <p:cNvPr id="52" name="Espace réservé du texte 18"/>
              <p:cNvSpPr txBox="1">
                <a:spLocks/>
              </p:cNvSpPr>
              <p:nvPr/>
            </p:nvSpPr>
            <p:spPr>
              <a:xfrm>
                <a:off x="4295950" y="1883031"/>
                <a:ext cx="934923" cy="257671"/>
              </a:xfrm>
              <a:prstGeom prst="rect">
                <a:avLst/>
              </a:prstGeom>
              <a:ln>
                <a:noFill/>
              </a:ln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lang="en-US" sz="1600" b="1" kern="120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400" kern="1200" baseline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200" kern="1200" baseline="0" smtClean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b="0" kern="120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lang="en-US"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pl-PL" sz="1000" dirty="0" smtClean="0">
                    <a:solidFill>
                      <a:srgbClr val="00B050"/>
                    </a:solidFill>
                  </a:rPr>
                  <a:t>SM-SR</a:t>
                </a:r>
                <a:endParaRPr lang="pl-PL" sz="10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3466152" y="1063846"/>
              <a:ext cx="232737" cy="195887"/>
              <a:chOff x="3657601" y="796926"/>
              <a:chExt cx="2095500" cy="1763713"/>
            </a:xfrm>
            <a:solidFill>
              <a:srgbClr val="00B050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4289426" y="796926"/>
                <a:ext cx="323850" cy="1763713"/>
              </a:xfrm>
              <a:custGeom>
                <a:avLst/>
                <a:gdLst>
                  <a:gd name="T0" fmla="*/ 92 w 204"/>
                  <a:gd name="T1" fmla="*/ 557 h 1111"/>
                  <a:gd name="T2" fmla="*/ 204 w 204"/>
                  <a:gd name="T3" fmla="*/ 0 h 1111"/>
                  <a:gd name="T4" fmla="*/ 109 w 204"/>
                  <a:gd name="T5" fmla="*/ 0 h 1111"/>
                  <a:gd name="T6" fmla="*/ 0 w 204"/>
                  <a:gd name="T7" fmla="*/ 557 h 1111"/>
                  <a:gd name="T8" fmla="*/ 109 w 204"/>
                  <a:gd name="T9" fmla="*/ 1111 h 1111"/>
                  <a:gd name="T10" fmla="*/ 204 w 204"/>
                  <a:gd name="T11" fmla="*/ 1111 h 1111"/>
                  <a:gd name="T12" fmla="*/ 92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92" y="557"/>
                    </a:moveTo>
                    <a:lnTo>
                      <a:pt x="204" y="0"/>
                    </a:lnTo>
                    <a:lnTo>
                      <a:pt x="109" y="0"/>
                    </a:lnTo>
                    <a:lnTo>
                      <a:pt x="0" y="557"/>
                    </a:lnTo>
                    <a:lnTo>
                      <a:pt x="109" y="1111"/>
                    </a:lnTo>
                    <a:lnTo>
                      <a:pt x="204" y="1111"/>
                    </a:lnTo>
                    <a:lnTo>
                      <a:pt x="9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3657601" y="796926"/>
                <a:ext cx="638175" cy="1763713"/>
              </a:xfrm>
              <a:custGeom>
                <a:avLst/>
                <a:gdLst>
                  <a:gd name="T0" fmla="*/ 102 w 402"/>
                  <a:gd name="T1" fmla="*/ 557 h 1111"/>
                  <a:gd name="T2" fmla="*/ 402 w 402"/>
                  <a:gd name="T3" fmla="*/ 0 h 1111"/>
                  <a:gd name="T4" fmla="*/ 300 w 402"/>
                  <a:gd name="T5" fmla="*/ 0 h 1111"/>
                  <a:gd name="T6" fmla="*/ 0 w 402"/>
                  <a:gd name="T7" fmla="*/ 557 h 1111"/>
                  <a:gd name="T8" fmla="*/ 296 w 402"/>
                  <a:gd name="T9" fmla="*/ 1111 h 1111"/>
                  <a:gd name="T10" fmla="*/ 398 w 402"/>
                  <a:gd name="T11" fmla="*/ 1111 h 1111"/>
                  <a:gd name="T12" fmla="*/ 102 w 402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111">
                    <a:moveTo>
                      <a:pt x="102" y="557"/>
                    </a:moveTo>
                    <a:lnTo>
                      <a:pt x="402" y="0"/>
                    </a:lnTo>
                    <a:lnTo>
                      <a:pt x="300" y="0"/>
                    </a:lnTo>
                    <a:lnTo>
                      <a:pt x="0" y="557"/>
                    </a:lnTo>
                    <a:lnTo>
                      <a:pt x="296" y="1111"/>
                    </a:lnTo>
                    <a:lnTo>
                      <a:pt x="398" y="1111"/>
                    </a:lnTo>
                    <a:lnTo>
                      <a:pt x="102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4802188" y="796926"/>
                <a:ext cx="323850" cy="1763713"/>
              </a:xfrm>
              <a:custGeom>
                <a:avLst/>
                <a:gdLst>
                  <a:gd name="T0" fmla="*/ 204 w 204"/>
                  <a:gd name="T1" fmla="*/ 557 h 1111"/>
                  <a:gd name="T2" fmla="*/ 92 w 204"/>
                  <a:gd name="T3" fmla="*/ 0 h 1111"/>
                  <a:gd name="T4" fmla="*/ 0 w 204"/>
                  <a:gd name="T5" fmla="*/ 0 h 1111"/>
                  <a:gd name="T6" fmla="*/ 109 w 204"/>
                  <a:gd name="T7" fmla="*/ 557 h 1111"/>
                  <a:gd name="T8" fmla="*/ 0 w 204"/>
                  <a:gd name="T9" fmla="*/ 1111 h 1111"/>
                  <a:gd name="T10" fmla="*/ 92 w 204"/>
                  <a:gd name="T11" fmla="*/ 1111 h 1111"/>
                  <a:gd name="T12" fmla="*/ 204 w 204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111">
                    <a:moveTo>
                      <a:pt x="204" y="557"/>
                    </a:moveTo>
                    <a:lnTo>
                      <a:pt x="92" y="0"/>
                    </a:lnTo>
                    <a:lnTo>
                      <a:pt x="0" y="0"/>
                    </a:lnTo>
                    <a:lnTo>
                      <a:pt x="109" y="557"/>
                    </a:lnTo>
                    <a:lnTo>
                      <a:pt x="0" y="1111"/>
                    </a:lnTo>
                    <a:lnTo>
                      <a:pt x="92" y="1111"/>
                    </a:lnTo>
                    <a:lnTo>
                      <a:pt x="204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5121276" y="796926"/>
                <a:ext cx="631825" cy="1763713"/>
              </a:xfrm>
              <a:custGeom>
                <a:avLst/>
                <a:gdLst>
                  <a:gd name="T0" fmla="*/ 398 w 398"/>
                  <a:gd name="T1" fmla="*/ 557 h 1111"/>
                  <a:gd name="T2" fmla="*/ 102 w 398"/>
                  <a:gd name="T3" fmla="*/ 0 h 1111"/>
                  <a:gd name="T4" fmla="*/ 0 w 398"/>
                  <a:gd name="T5" fmla="*/ 0 h 1111"/>
                  <a:gd name="T6" fmla="*/ 296 w 398"/>
                  <a:gd name="T7" fmla="*/ 557 h 1111"/>
                  <a:gd name="T8" fmla="*/ 0 w 398"/>
                  <a:gd name="T9" fmla="*/ 1111 h 1111"/>
                  <a:gd name="T10" fmla="*/ 102 w 398"/>
                  <a:gd name="T11" fmla="*/ 1111 h 1111"/>
                  <a:gd name="T12" fmla="*/ 398 w 398"/>
                  <a:gd name="T13" fmla="*/ 557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111">
                    <a:moveTo>
                      <a:pt x="398" y="557"/>
                    </a:moveTo>
                    <a:lnTo>
                      <a:pt x="102" y="0"/>
                    </a:lnTo>
                    <a:lnTo>
                      <a:pt x="0" y="0"/>
                    </a:lnTo>
                    <a:lnTo>
                      <a:pt x="296" y="557"/>
                    </a:lnTo>
                    <a:lnTo>
                      <a:pt x="0" y="1111"/>
                    </a:lnTo>
                    <a:lnTo>
                      <a:pt x="102" y="1111"/>
                    </a:lnTo>
                    <a:lnTo>
                      <a:pt x="398" y="5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sp>
        <p:nvSpPr>
          <p:cNvPr id="57" name="TextBox 56"/>
          <p:cNvSpPr txBox="1"/>
          <p:nvPr/>
        </p:nvSpPr>
        <p:spPr>
          <a:xfrm>
            <a:off x="1785498" y="1157138"/>
            <a:ext cx="702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00" dirty="0" smtClean="0"/>
              <a:t>Odbiorca</a:t>
            </a:r>
            <a:endParaRPr lang="pl-PL" sz="1000" dirty="0"/>
          </a:p>
        </p:txBody>
      </p:sp>
      <p:cxnSp>
        <p:nvCxnSpPr>
          <p:cNvPr id="97" name="Elbow Connector 96"/>
          <p:cNvCxnSpPr/>
          <p:nvPr/>
        </p:nvCxnSpPr>
        <p:spPr>
          <a:xfrm flipV="1">
            <a:off x="1098289" y="2390293"/>
            <a:ext cx="731292" cy="87226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0" y="2757270"/>
            <a:ext cx="1464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HandoverEUICC</a:t>
            </a:r>
            <a:endParaRPr lang="pl-PL" sz="1000" dirty="0" smtClean="0">
              <a:solidFill>
                <a:srgbClr val="00B050"/>
              </a:solidFill>
            </a:endParaRPr>
          </a:p>
          <a:p>
            <a:r>
              <a:rPr lang="pl-PL" sz="1000" dirty="0" smtClean="0">
                <a:solidFill>
                  <a:srgbClr val="00B050"/>
                </a:solidFill>
              </a:rPr>
              <a:t>(EID, EIS)</a:t>
            </a:r>
            <a:endParaRPr lang="pl-PL" sz="1000" dirty="0">
              <a:solidFill>
                <a:srgbClr val="00B050"/>
              </a:solidFill>
            </a:endParaRPr>
          </a:p>
        </p:txBody>
      </p:sp>
      <p:cxnSp>
        <p:nvCxnSpPr>
          <p:cNvPr id="104" name="Elbow Connector 103"/>
          <p:cNvCxnSpPr>
            <a:stCxn id="125" idx="1"/>
          </p:cNvCxnSpPr>
          <p:nvPr/>
        </p:nvCxnSpPr>
        <p:spPr>
          <a:xfrm rot="10800000" flipV="1">
            <a:off x="1091117" y="4018078"/>
            <a:ext cx="866537" cy="492010"/>
          </a:xfrm>
          <a:prstGeom prst="bentConnector3">
            <a:avLst>
              <a:gd name="adj1" fmla="val 50000"/>
            </a:avLst>
          </a:prstGeom>
          <a:ln>
            <a:prstDash val="sys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2583974" y="1500809"/>
            <a:ext cx="1148027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 manager</a:t>
            </a:r>
            <a:endParaRPr lang="pl-PL" sz="1100" dirty="0"/>
          </a:p>
        </p:txBody>
      </p:sp>
      <p:cxnSp>
        <p:nvCxnSpPr>
          <p:cNvPr id="61" name="Elbow Connector 60"/>
          <p:cNvCxnSpPr>
            <a:endCxn id="13" idx="1"/>
          </p:cNvCxnSpPr>
          <p:nvPr/>
        </p:nvCxnSpPr>
        <p:spPr>
          <a:xfrm>
            <a:off x="1815231" y="2390293"/>
            <a:ext cx="310788" cy="88107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2" idx="2"/>
          </p:cNvCxnSpPr>
          <p:nvPr/>
        </p:nvCxnSpPr>
        <p:spPr>
          <a:xfrm>
            <a:off x="3157988" y="1883259"/>
            <a:ext cx="0" cy="17724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053374" y="1976866"/>
            <a:ext cx="18296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0" name="Elbow Connector 69"/>
          <p:cNvCxnSpPr>
            <a:stCxn id="13" idx="4"/>
          </p:cNvCxnSpPr>
          <p:nvPr/>
        </p:nvCxnSpPr>
        <p:spPr>
          <a:xfrm flipV="1">
            <a:off x="2750154" y="2478399"/>
            <a:ext cx="30768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4726657" y="2229468"/>
            <a:ext cx="164177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SmsrChangeReceiverSaga</a:t>
            </a:r>
            <a:endParaRPr lang="pl-PL" sz="1100" dirty="0"/>
          </a:p>
        </p:txBody>
      </p:sp>
      <p:cxnSp>
        <p:nvCxnSpPr>
          <p:cNvPr id="99" name="Elbow Connector 98"/>
          <p:cNvCxnSpPr/>
          <p:nvPr/>
        </p:nvCxnSpPr>
        <p:spPr>
          <a:xfrm flipV="1">
            <a:off x="3233252" y="2450656"/>
            <a:ext cx="1493404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3233252" y="2186255"/>
            <a:ext cx="1643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findOrCreate</a:t>
            </a:r>
            <a:r>
              <a:rPr lang="pl-PL" sz="1200" dirty="0" smtClean="0">
                <a:solidFill>
                  <a:srgbClr val="00B050"/>
                </a:solidFill>
              </a:rPr>
              <a:t>(EID)</a:t>
            </a:r>
            <a:endParaRPr lang="pl-PL" sz="1200" dirty="0">
              <a:solidFill>
                <a:srgbClr val="00B050"/>
              </a:solidFill>
            </a:endParaRPr>
          </a:p>
        </p:txBody>
      </p:sp>
      <p:cxnSp>
        <p:nvCxnSpPr>
          <p:cNvPr id="112" name="Straight Connector 111"/>
          <p:cNvCxnSpPr/>
          <p:nvPr/>
        </p:nvCxnSpPr>
        <p:spPr>
          <a:xfrm>
            <a:off x="5576156" y="2636901"/>
            <a:ext cx="0" cy="153271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5510672" y="2730507"/>
            <a:ext cx="143827" cy="138137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4" name="Elbow Connector 113"/>
          <p:cNvCxnSpPr/>
          <p:nvPr/>
        </p:nvCxnSpPr>
        <p:spPr>
          <a:xfrm flipV="1">
            <a:off x="3233148" y="2924048"/>
            <a:ext cx="2277525" cy="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3202070" y="2670760"/>
            <a:ext cx="22302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handleHandoverEUICC</a:t>
            </a:r>
            <a:r>
              <a:rPr lang="pl-PL" sz="1100" dirty="0" smtClean="0">
                <a:solidFill>
                  <a:srgbClr val="00B050"/>
                </a:solidFill>
              </a:rPr>
              <a:t>(…)</a:t>
            </a:r>
            <a:endParaRPr lang="pl-PL" sz="1100" dirty="0">
              <a:solidFill>
                <a:srgbClr val="00B05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2083366" y="2296902"/>
            <a:ext cx="666788" cy="369332"/>
            <a:chOff x="2083366" y="2741962"/>
            <a:chExt cx="666788" cy="369332"/>
          </a:xfrm>
        </p:grpSpPr>
        <p:sp>
          <p:nvSpPr>
            <p:cNvPr id="13" name="Flowchart: Direct Access Storage 12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6556001" y="3752144"/>
            <a:ext cx="716480" cy="338554"/>
            <a:chOff x="2033674" y="2741962"/>
            <a:chExt cx="716480" cy="338554"/>
          </a:xfrm>
        </p:grpSpPr>
        <p:sp>
          <p:nvSpPr>
            <p:cNvPr id="119" name="Flowchart: Direct Access Storage 118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2033674" y="2741962"/>
              <a:ext cx="617477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sz="1600" dirty="0" err="1" smtClean="0"/>
                <a:t>Cmd</a:t>
              </a:r>
              <a:endParaRPr lang="pl-PL" sz="1600" dirty="0"/>
            </a:p>
          </p:txBody>
        </p:sp>
      </p:grpSp>
      <p:cxnSp>
        <p:nvCxnSpPr>
          <p:cNvPr id="121" name="Elbow Connector 120"/>
          <p:cNvCxnSpPr/>
          <p:nvPr/>
        </p:nvCxnSpPr>
        <p:spPr>
          <a:xfrm flipV="1">
            <a:off x="5661673" y="2993362"/>
            <a:ext cx="1321238" cy="248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5" name="Rectangle 124"/>
          <p:cNvSpPr/>
          <p:nvPr/>
        </p:nvSpPr>
        <p:spPr>
          <a:xfrm>
            <a:off x="1957653" y="3826853"/>
            <a:ext cx="127549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RequestSender</a:t>
            </a:r>
            <a:endParaRPr lang="pl-PL" sz="1100" dirty="0"/>
          </a:p>
        </p:txBody>
      </p:sp>
      <p:sp>
        <p:nvSpPr>
          <p:cNvPr id="129" name="TextBox 128"/>
          <p:cNvSpPr txBox="1"/>
          <p:nvPr/>
        </p:nvSpPr>
        <p:spPr>
          <a:xfrm>
            <a:off x="311702" y="3969557"/>
            <a:ext cx="1180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AuthenticateSmsrRequest</a:t>
            </a:r>
            <a:endParaRPr lang="pl-PL" sz="1000" dirty="0" smtClean="0">
              <a:solidFill>
                <a:srgbClr val="00B050"/>
              </a:solidFill>
            </a:endParaRPr>
          </a:p>
        </p:txBody>
      </p:sp>
      <p:cxnSp>
        <p:nvCxnSpPr>
          <p:cNvPr id="53" name="Elbow Connector 52"/>
          <p:cNvCxnSpPr/>
          <p:nvPr/>
        </p:nvCxnSpPr>
        <p:spPr>
          <a:xfrm>
            <a:off x="3231874" y="3498303"/>
            <a:ext cx="2278798" cy="519775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3200796" y="3245013"/>
            <a:ext cx="1589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>
                <a:solidFill>
                  <a:srgbClr val="00B050"/>
                </a:solidFill>
              </a:rPr>
              <a:t>p</a:t>
            </a:r>
            <a:r>
              <a:rPr lang="pl-PL" sz="1100" dirty="0" err="1" smtClean="0">
                <a:solidFill>
                  <a:srgbClr val="00B050"/>
                </a:solidFill>
              </a:rPr>
              <a:t>ersist</a:t>
            </a:r>
            <a:r>
              <a:rPr lang="pl-PL" sz="1100" dirty="0" smtClean="0">
                <a:solidFill>
                  <a:srgbClr val="00B050"/>
                </a:solidFill>
              </a:rPr>
              <a:t>()</a:t>
            </a:r>
            <a:endParaRPr lang="pl-PL" sz="1100" dirty="0">
              <a:solidFill>
                <a:srgbClr val="00B050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462317" y="2243121"/>
            <a:ext cx="1198104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CertificateStore</a:t>
            </a:r>
            <a:endParaRPr lang="pl-PL" sz="1100" dirty="0"/>
          </a:p>
        </p:txBody>
      </p:sp>
      <p:cxnSp>
        <p:nvCxnSpPr>
          <p:cNvPr id="56" name="Straight Connector 55"/>
          <p:cNvCxnSpPr/>
          <p:nvPr/>
        </p:nvCxnSpPr>
        <p:spPr>
          <a:xfrm>
            <a:off x="7063361" y="2622201"/>
            <a:ext cx="0" cy="622812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6982912" y="2859278"/>
            <a:ext cx="170448" cy="29810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9" name="TextBox 58"/>
          <p:cNvSpPr txBox="1"/>
          <p:nvPr/>
        </p:nvSpPr>
        <p:spPr>
          <a:xfrm>
            <a:off x="5620238" y="2759461"/>
            <a:ext cx="10915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findSmsrCert</a:t>
            </a:r>
            <a:r>
              <a:rPr lang="pl-PL" sz="1100" dirty="0" smtClean="0">
                <a:solidFill>
                  <a:srgbClr val="00B050"/>
                </a:solidFill>
              </a:rPr>
              <a:t>()</a:t>
            </a:r>
            <a:endParaRPr lang="pl-PL" sz="1100" dirty="0">
              <a:solidFill>
                <a:srgbClr val="00B050"/>
              </a:solidFill>
            </a:endParaRPr>
          </a:p>
        </p:txBody>
      </p:sp>
      <p:cxnSp>
        <p:nvCxnSpPr>
          <p:cNvPr id="60" name="Elbow Connector 59"/>
          <p:cNvCxnSpPr/>
          <p:nvPr/>
        </p:nvCxnSpPr>
        <p:spPr>
          <a:xfrm rot="10800000" flipV="1">
            <a:off x="5652457" y="3091158"/>
            <a:ext cx="1330455" cy="8093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/>
        </p:nvSpPr>
        <p:spPr>
          <a:xfrm>
            <a:off x="7730796" y="2243324"/>
            <a:ext cx="660915" cy="3824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err="1" smtClean="0"/>
              <a:t>KnownSmsrs</a:t>
            </a:r>
            <a:endParaRPr lang="pl-PL" sz="1100" dirty="0"/>
          </a:p>
        </p:txBody>
      </p:sp>
      <p:cxnSp>
        <p:nvCxnSpPr>
          <p:cNvPr id="67" name="Straight Connector 66"/>
          <p:cNvCxnSpPr/>
          <p:nvPr/>
        </p:nvCxnSpPr>
        <p:spPr>
          <a:xfrm>
            <a:off x="8040528" y="2622404"/>
            <a:ext cx="0" cy="1279646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7969357" y="3245013"/>
            <a:ext cx="160537" cy="3114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3" name="TextBox 72"/>
          <p:cNvSpPr txBox="1"/>
          <p:nvPr/>
        </p:nvSpPr>
        <p:spPr>
          <a:xfrm>
            <a:off x="5618889" y="3162713"/>
            <a:ext cx="1772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dirty="0" err="1" smtClean="0">
                <a:solidFill>
                  <a:srgbClr val="00B050"/>
                </a:solidFill>
              </a:rPr>
              <a:t>findTargetSmsrAddress</a:t>
            </a:r>
            <a:r>
              <a:rPr lang="pl-PL" sz="1100" dirty="0" smtClean="0">
                <a:solidFill>
                  <a:srgbClr val="00B050"/>
                </a:solidFill>
              </a:rPr>
              <a:t>()</a:t>
            </a:r>
            <a:endParaRPr lang="pl-PL" sz="1100" dirty="0">
              <a:solidFill>
                <a:srgbClr val="00B050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5652457" y="3424323"/>
            <a:ext cx="231690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>
          <a:xfrm flipH="1">
            <a:off x="5648815" y="3524979"/>
            <a:ext cx="2320544" cy="237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5584866" y="4204534"/>
            <a:ext cx="26989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 err="1" smtClean="0">
                <a:solidFill>
                  <a:srgbClr val="00B050"/>
                </a:solidFill>
              </a:rPr>
              <a:t>SendAuthenticateSmsrRequest</a:t>
            </a:r>
            <a:endParaRPr lang="pl-PL" sz="1200" dirty="0">
              <a:solidFill>
                <a:srgbClr val="00B050"/>
              </a:solidFill>
            </a:endParaRPr>
          </a:p>
          <a:p>
            <a:r>
              <a:rPr lang="pl-PL" sz="1200" dirty="0" smtClean="0">
                <a:solidFill>
                  <a:srgbClr val="00B050"/>
                </a:solidFill>
              </a:rPr>
              <a:t>(EID, CERT.SR.ECDSA, </a:t>
            </a:r>
            <a:r>
              <a:rPr lang="pl-PL" sz="1200" dirty="0" err="1" smtClean="0">
                <a:solidFill>
                  <a:srgbClr val="00B050"/>
                </a:solidFill>
              </a:rPr>
              <a:t>address</a:t>
            </a:r>
            <a:r>
              <a:rPr lang="pl-PL" sz="1200" dirty="0" smtClean="0">
                <a:solidFill>
                  <a:srgbClr val="00B050"/>
                </a:solidFill>
              </a:rPr>
              <a:t>)</a:t>
            </a:r>
            <a:endParaRPr lang="pl-PL" sz="1200" dirty="0">
              <a:solidFill>
                <a:srgbClr val="00B050"/>
              </a:solidFill>
            </a:endParaRPr>
          </a:p>
        </p:txBody>
      </p:sp>
      <p:cxnSp>
        <p:nvCxnSpPr>
          <p:cNvPr id="88" name="Elbow Connector 87"/>
          <p:cNvCxnSpPr>
            <a:stCxn id="119" idx="4"/>
            <a:endCxn id="125" idx="3"/>
          </p:cNvCxnSpPr>
          <p:nvPr/>
        </p:nvCxnSpPr>
        <p:spPr>
          <a:xfrm flipH="1">
            <a:off x="3233148" y="3933642"/>
            <a:ext cx="4039333" cy="84436"/>
          </a:xfrm>
          <a:prstGeom prst="bentConnector5">
            <a:avLst>
              <a:gd name="adj1" fmla="val -21285"/>
              <a:gd name="adj2" fmla="val 1051804"/>
              <a:gd name="adj3" fmla="val 80764"/>
            </a:avLst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7" name="Straight Arrow Connector 126"/>
          <p:cNvCxnSpPr/>
          <p:nvPr/>
        </p:nvCxnSpPr>
        <p:spPr>
          <a:xfrm>
            <a:off x="5661673" y="3957961"/>
            <a:ext cx="89432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927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o raz kolejny krok po kroku</a:t>
            </a:r>
            <a:endParaRPr lang="en-US" dirty="0"/>
          </a:p>
        </p:txBody>
      </p:sp>
      <p:sp>
        <p:nvSpPr>
          <p:cNvPr id="62" name="Title 6"/>
          <p:cNvSpPr txBox="1">
            <a:spLocks/>
          </p:cNvSpPr>
          <p:nvPr/>
        </p:nvSpPr>
        <p:spPr>
          <a:xfrm>
            <a:off x="1057500" y="2628786"/>
            <a:ext cx="808650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Kolejne kroki analogicznie ;)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46124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zym się zajmuję (przyda się do opisu problemu)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842400" y="3541644"/>
            <a:ext cx="8086500" cy="259156"/>
          </a:xfrm>
        </p:spPr>
        <p:txBody>
          <a:bodyPr/>
          <a:lstStyle/>
          <a:p>
            <a:r>
              <a:rPr lang="en-US" dirty="0"/>
              <a:t>https://www.gsma.com/iot/embedded-sim/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5</a:t>
            </a:fld>
            <a:endParaRPr lang="en-GB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964" y="3800800"/>
            <a:ext cx="1042355" cy="1042355"/>
          </a:xfrm>
          <a:prstGeom prst="rect">
            <a:avLst/>
          </a:prstGeom>
        </p:spPr>
      </p:pic>
      <p:sp>
        <p:nvSpPr>
          <p:cNvPr id="11" name="Content Placeholder 7"/>
          <p:cNvSpPr txBox="1">
            <a:spLocks/>
          </p:cNvSpPr>
          <p:nvPr/>
        </p:nvSpPr>
        <p:spPr>
          <a:xfrm>
            <a:off x="842400" y="985500"/>
            <a:ext cx="8086500" cy="259156"/>
          </a:xfrm>
          <a:prstGeom prst="rect">
            <a:avLst/>
          </a:prstGeom>
        </p:spPr>
        <p:txBody>
          <a:bodyPr vert="horz" lIns="36000" tIns="0" rIns="3600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US" sz="1600" b="1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20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/>
              <a:t>Remote SIM </a:t>
            </a:r>
            <a:r>
              <a:rPr lang="pl-PL" dirty="0" err="1" smtClean="0"/>
              <a:t>provisioning</a:t>
            </a:r>
            <a:r>
              <a:rPr lang="pl-PL" dirty="0" smtClean="0"/>
              <a:t> for M2M</a:t>
            </a:r>
            <a:endParaRPr lang="pl-PL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057" y="1393972"/>
            <a:ext cx="3214477" cy="182921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8241" y="1196565"/>
            <a:ext cx="4260659" cy="2216084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3904877" y="2010920"/>
            <a:ext cx="595313" cy="595313"/>
            <a:chOff x="5935663" y="1476376"/>
            <a:chExt cx="595313" cy="595313"/>
          </a:xfrm>
          <a:solidFill>
            <a:schemeClr val="tx2"/>
          </a:solidFill>
        </p:grpSpPr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227763" y="1476376"/>
              <a:ext cx="303213" cy="595313"/>
            </a:xfrm>
            <a:custGeom>
              <a:avLst/>
              <a:gdLst>
                <a:gd name="T0" fmla="*/ 4 w 191"/>
                <a:gd name="T1" fmla="*/ 375 h 375"/>
                <a:gd name="T2" fmla="*/ 0 w 191"/>
                <a:gd name="T3" fmla="*/ 372 h 375"/>
                <a:gd name="T4" fmla="*/ 183 w 191"/>
                <a:gd name="T5" fmla="*/ 188 h 375"/>
                <a:gd name="T6" fmla="*/ 0 w 191"/>
                <a:gd name="T7" fmla="*/ 3 h 375"/>
                <a:gd name="T8" fmla="*/ 4 w 191"/>
                <a:gd name="T9" fmla="*/ 0 h 375"/>
                <a:gd name="T10" fmla="*/ 191 w 191"/>
                <a:gd name="T11" fmla="*/ 188 h 375"/>
                <a:gd name="T12" fmla="*/ 4 w 191"/>
                <a:gd name="T13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375">
                  <a:moveTo>
                    <a:pt x="4" y="375"/>
                  </a:moveTo>
                  <a:lnTo>
                    <a:pt x="0" y="372"/>
                  </a:lnTo>
                  <a:lnTo>
                    <a:pt x="183" y="188"/>
                  </a:lnTo>
                  <a:lnTo>
                    <a:pt x="0" y="3"/>
                  </a:lnTo>
                  <a:lnTo>
                    <a:pt x="4" y="0"/>
                  </a:lnTo>
                  <a:lnTo>
                    <a:pt x="191" y="188"/>
                  </a:lnTo>
                  <a:lnTo>
                    <a:pt x="4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8"/>
            <p:cNvSpPr>
              <a:spLocks noChangeArrowheads="1"/>
            </p:cNvSpPr>
            <p:nvPr/>
          </p:nvSpPr>
          <p:spPr bwMode="auto">
            <a:xfrm>
              <a:off x="5935663" y="1770063"/>
              <a:ext cx="588963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1347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dirty="0" smtClean="0"/>
              <a:t>Confidential / Restricted / Public Presentation or part title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50</a:t>
            </a:fld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4323" y="320396"/>
            <a:ext cx="4878181" cy="3275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963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dirty="0" smtClean="0"/>
              <a:t>Confidential / Restricted / Public Presentation or part title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51</a:t>
            </a:fld>
            <a:endParaRPr lang="en-GB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" y="623556"/>
            <a:ext cx="3219366" cy="304766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556" y="2147389"/>
            <a:ext cx="931054" cy="644328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3188899" y="623556"/>
            <a:ext cx="7857000" cy="1485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l-PL" dirty="0" smtClean="0"/>
              <a:t>Spring </a:t>
            </a:r>
            <a:r>
              <a:rPr lang="pl-PL" dirty="0" err="1" smtClean="0"/>
              <a:t>is</a:t>
            </a:r>
            <a:r>
              <a:rPr lang="pl-PL" dirty="0" smtClean="0"/>
              <a:t> </a:t>
            </a:r>
            <a:r>
              <a:rPr lang="pl-PL" dirty="0" err="1" smtClean="0"/>
              <a:t>coming</a:t>
            </a:r>
            <a:endParaRPr lang="pl-PL" dirty="0"/>
          </a:p>
        </p:txBody>
      </p:sp>
      <p:sp>
        <p:nvSpPr>
          <p:cNvPr id="12" name="Rectangle 11"/>
          <p:cNvSpPr/>
          <p:nvPr/>
        </p:nvSpPr>
        <p:spPr>
          <a:xfrm>
            <a:off x="3161803" y="2513263"/>
            <a:ext cx="45961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dirty="0"/>
              <a:t>https://github.com/BottegaIT/ddd-leaven-v2</a:t>
            </a:r>
          </a:p>
        </p:txBody>
      </p:sp>
      <p:sp>
        <p:nvSpPr>
          <p:cNvPr id="7" name="Rectangle 6"/>
          <p:cNvSpPr/>
          <p:nvPr/>
        </p:nvSpPr>
        <p:spPr>
          <a:xfrm>
            <a:off x="3210885" y="3588588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l-PL" dirty="0" smtClean="0"/>
              <a:t>https://github.com/michal-michaluk/factory</a:t>
            </a:r>
            <a:endParaRPr lang="pl-PL" dirty="0"/>
          </a:p>
        </p:txBody>
      </p: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3210885" y="2081263"/>
            <a:ext cx="8086500" cy="432000"/>
          </a:xfrm>
        </p:spPr>
        <p:txBody>
          <a:bodyPr>
            <a:normAutofit/>
          </a:bodyPr>
          <a:lstStyle/>
          <a:p>
            <a:r>
              <a:rPr lang="pl-PL" sz="2400" dirty="0" smtClean="0"/>
              <a:t>Przykład oparty na</a:t>
            </a:r>
            <a:endParaRPr lang="en-US" sz="2400" dirty="0"/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3210885" y="3174416"/>
            <a:ext cx="808650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l-PL" sz="2400" dirty="0" smtClean="0"/>
              <a:t>Nowsza implementacja</a:t>
            </a:r>
            <a:endParaRPr lang="pl-PL" sz="2400" dirty="0"/>
          </a:p>
        </p:txBody>
      </p:sp>
    </p:spTree>
    <p:extLst>
      <p:ext uri="{BB962C8B-B14F-4D97-AF65-F5344CB8AC3E}">
        <p14:creationId xmlns:p14="http://schemas.microsoft.com/office/powerpoint/2010/main" val="4279890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/>
        </p:nvSpPr>
        <p:spPr>
          <a:xfrm>
            <a:off x="1105403" y="2888857"/>
            <a:ext cx="2767934" cy="187735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617968" y="226800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smtClean="0"/>
              <a:t>Spring </a:t>
            </a:r>
            <a:r>
              <a:rPr lang="pl-PL" dirty="0" err="1" smtClean="0"/>
              <a:t>is</a:t>
            </a:r>
            <a:r>
              <a:rPr lang="pl-PL" dirty="0" smtClean="0"/>
              <a:t> </a:t>
            </a:r>
            <a:r>
              <a:rPr lang="pl-PL" dirty="0" err="1" smtClean="0"/>
              <a:t>coming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00" y="40460"/>
            <a:ext cx="775569" cy="73420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08" y="0"/>
            <a:ext cx="4845418" cy="5143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402" y="356445"/>
            <a:ext cx="249564" cy="172709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683557" y="1606741"/>
            <a:ext cx="643540" cy="342539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</a:t>
            </a:r>
          </a:p>
          <a:p>
            <a:pPr algn="ctr"/>
            <a:r>
              <a:rPr lang="pl-PL" sz="1100" dirty="0" smtClean="0"/>
              <a:t>Engine</a:t>
            </a:r>
            <a:endParaRPr lang="pl-PL" sz="1100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97235" y="1949280"/>
            <a:ext cx="13021" cy="2104830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55505" y="2103263"/>
            <a:ext cx="91480" cy="15795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7" name="Elbow Connector 16"/>
          <p:cNvCxnSpPr>
            <a:stCxn id="19" idx="4"/>
          </p:cNvCxnSpPr>
          <p:nvPr/>
        </p:nvCxnSpPr>
        <p:spPr>
          <a:xfrm flipV="1">
            <a:off x="744541" y="2581359"/>
            <a:ext cx="210964" cy="2973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/>
        </p:nvGrpSpPr>
        <p:grpSpPr>
          <a:xfrm>
            <a:off x="77753" y="2402834"/>
            <a:ext cx="666788" cy="369332"/>
            <a:chOff x="2083366" y="2741962"/>
            <a:chExt cx="666788" cy="369332"/>
          </a:xfrm>
        </p:grpSpPr>
        <p:sp>
          <p:nvSpPr>
            <p:cNvPr id="19" name="Flowchart: Direct Access Storage 18"/>
            <p:cNvSpPr/>
            <p:nvPr/>
          </p:nvSpPr>
          <p:spPr>
            <a:xfrm>
              <a:off x="2126019" y="2789941"/>
              <a:ext cx="624135" cy="267037"/>
            </a:xfrm>
            <a:prstGeom prst="flowChartMagneticDrum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sz="1100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083366" y="2741962"/>
              <a:ext cx="5180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pl-PL" dirty="0" err="1" smtClean="0"/>
                <a:t>Evt</a:t>
              </a:r>
              <a:endParaRPr lang="pl-PL" dirty="0"/>
            </a:p>
          </p:txBody>
        </p:sp>
      </p:grpSp>
      <p:sp>
        <p:nvSpPr>
          <p:cNvPr id="35" name="Rectangle 34"/>
          <p:cNvSpPr/>
          <p:nvPr/>
        </p:nvSpPr>
        <p:spPr>
          <a:xfrm>
            <a:off x="1510916" y="1606741"/>
            <a:ext cx="730578" cy="342539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</a:t>
            </a:r>
          </a:p>
          <a:p>
            <a:pPr algn="ctr"/>
            <a:r>
              <a:rPr lang="pl-PL" sz="1100" dirty="0" smtClean="0"/>
              <a:t>Registry</a:t>
            </a:r>
          </a:p>
        </p:txBody>
      </p:sp>
      <p:cxnSp>
        <p:nvCxnSpPr>
          <p:cNvPr id="36" name="Straight Connector 35"/>
          <p:cNvCxnSpPr/>
          <p:nvPr/>
        </p:nvCxnSpPr>
        <p:spPr>
          <a:xfrm flipH="1">
            <a:off x="1819593" y="1949280"/>
            <a:ext cx="16153" cy="298714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1782863" y="2103262"/>
            <a:ext cx="96471" cy="252538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046985" y="2717850"/>
            <a:ext cx="73587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984142" y="2472424"/>
            <a:ext cx="21579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getLoadersForEvent</a:t>
            </a:r>
            <a:r>
              <a:rPr lang="pl-PL" sz="1000" dirty="0" smtClean="0">
                <a:solidFill>
                  <a:srgbClr val="00B050"/>
                </a:solidFill>
              </a:rPr>
              <a:t>(event)</a:t>
            </a:r>
            <a:endParaRPr lang="pl-PL" sz="1000" dirty="0">
              <a:solidFill>
                <a:srgbClr val="00B05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056930" y="2912683"/>
            <a:ext cx="21579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smtClean="0">
                <a:solidFill>
                  <a:srgbClr val="00B050"/>
                </a:solidFill>
              </a:rPr>
              <a:t>For </a:t>
            </a:r>
            <a:r>
              <a:rPr lang="pl-PL" sz="1000" dirty="0" err="1" smtClean="0">
                <a:solidFill>
                  <a:srgbClr val="00B050"/>
                </a:solidFill>
              </a:rPr>
              <a:t>each</a:t>
            </a:r>
            <a:r>
              <a:rPr lang="pl-PL" sz="1000" dirty="0" smtClean="0">
                <a:solidFill>
                  <a:srgbClr val="00B050"/>
                </a:solidFill>
              </a:rPr>
              <a:t> </a:t>
            </a:r>
            <a:r>
              <a:rPr lang="pl-PL" sz="1000" dirty="0" err="1" smtClean="0">
                <a:solidFill>
                  <a:srgbClr val="00B050"/>
                </a:solidFill>
              </a:rPr>
              <a:t>loader</a:t>
            </a:r>
            <a:endParaRPr lang="pl-PL" sz="1000" dirty="0">
              <a:solidFill>
                <a:srgbClr val="00B050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2411506" y="3070519"/>
            <a:ext cx="803366" cy="342539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</a:t>
            </a:r>
          </a:p>
          <a:p>
            <a:pPr algn="ctr"/>
            <a:r>
              <a:rPr lang="pl-PL" sz="1100" dirty="0" smtClean="0"/>
              <a:t>Manager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2736336" y="3413058"/>
            <a:ext cx="5536" cy="726342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879334" y="3689356"/>
            <a:ext cx="804120" cy="79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2968303" y="3796861"/>
            <a:ext cx="803366" cy="342539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100" dirty="0" smtClean="0"/>
              <a:t>Saga</a:t>
            </a:r>
          </a:p>
          <a:p>
            <a:pPr algn="ctr"/>
            <a:endParaRPr lang="pl-PL" sz="1100" dirty="0" smtClean="0"/>
          </a:p>
        </p:txBody>
      </p:sp>
      <p:cxnSp>
        <p:nvCxnSpPr>
          <p:cNvPr id="63" name="Straight Connector 62"/>
          <p:cNvCxnSpPr/>
          <p:nvPr/>
        </p:nvCxnSpPr>
        <p:spPr>
          <a:xfrm>
            <a:off x="3293133" y="4139400"/>
            <a:ext cx="8860" cy="797021"/>
          </a:xfrm>
          <a:prstGeom prst="line">
            <a:avLst/>
          </a:prstGeom>
          <a:ln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2683454" y="3481437"/>
            <a:ext cx="174416" cy="57267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9" name="TextBox 58"/>
          <p:cNvSpPr txBox="1"/>
          <p:nvPr/>
        </p:nvSpPr>
        <p:spPr>
          <a:xfrm>
            <a:off x="1816491" y="3443930"/>
            <a:ext cx="21579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err="1" smtClean="0">
                <a:solidFill>
                  <a:srgbClr val="00B050"/>
                </a:solidFill>
              </a:rPr>
              <a:t>loadSaga</a:t>
            </a:r>
            <a:r>
              <a:rPr lang="pl-PL" sz="1000" dirty="0" smtClean="0">
                <a:solidFill>
                  <a:srgbClr val="00B050"/>
                </a:solidFill>
              </a:rPr>
              <a:t>(event)</a:t>
            </a:r>
            <a:endParaRPr lang="pl-PL" sz="1000" dirty="0">
              <a:solidFill>
                <a:srgbClr val="00B050"/>
              </a:solidFill>
            </a:endParaRPr>
          </a:p>
        </p:txBody>
      </p:sp>
      <p:cxnSp>
        <p:nvCxnSpPr>
          <p:cNvPr id="65" name="Straight Arrow Connector 64"/>
          <p:cNvCxnSpPr/>
          <p:nvPr/>
        </p:nvCxnSpPr>
        <p:spPr>
          <a:xfrm flipH="1">
            <a:off x="1879334" y="3844134"/>
            <a:ext cx="804120" cy="676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3218362" y="4217362"/>
            <a:ext cx="174416" cy="57267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69" name="Straight Arrow Connector 68"/>
          <p:cNvCxnSpPr/>
          <p:nvPr/>
        </p:nvCxnSpPr>
        <p:spPr>
          <a:xfrm>
            <a:off x="1872475" y="4467685"/>
            <a:ext cx="134239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860831" y="4221464"/>
            <a:ext cx="21579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dirty="0" smtClean="0">
                <a:solidFill>
                  <a:srgbClr val="00B050"/>
                </a:solidFill>
              </a:rPr>
              <a:t>handle(event)</a:t>
            </a:r>
          </a:p>
        </p:txBody>
      </p:sp>
    </p:spTree>
    <p:extLst>
      <p:ext uri="{BB962C8B-B14F-4D97-AF65-F5344CB8AC3E}">
        <p14:creationId xmlns:p14="http://schemas.microsoft.com/office/powerpoint/2010/main" val="1782075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617968" y="226800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smtClean="0"/>
              <a:t>Spring </a:t>
            </a:r>
            <a:r>
              <a:rPr lang="pl-PL" dirty="0" err="1" smtClean="0"/>
              <a:t>is</a:t>
            </a:r>
            <a:r>
              <a:rPr lang="pl-PL" dirty="0" smtClean="0"/>
              <a:t> </a:t>
            </a:r>
            <a:r>
              <a:rPr lang="pl-PL" dirty="0" err="1" smtClean="0"/>
              <a:t>coming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00" y="40460"/>
            <a:ext cx="775569" cy="7342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402" y="356445"/>
            <a:ext cx="249564" cy="1727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400" y="845139"/>
            <a:ext cx="6743104" cy="423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996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617968" y="226800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smtClean="0"/>
              <a:t>Spring </a:t>
            </a:r>
            <a:r>
              <a:rPr lang="pl-PL" dirty="0" err="1" smtClean="0"/>
              <a:t>is</a:t>
            </a:r>
            <a:r>
              <a:rPr lang="pl-PL" dirty="0" smtClean="0"/>
              <a:t> </a:t>
            </a:r>
            <a:r>
              <a:rPr lang="pl-PL" dirty="0" err="1" smtClean="0"/>
              <a:t>coming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00" y="40460"/>
            <a:ext cx="775569" cy="7342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402" y="356445"/>
            <a:ext cx="249564" cy="17270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712" y="904361"/>
            <a:ext cx="2716285" cy="4007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630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617968" y="226800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smtClean="0"/>
              <a:t>Spring …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00" y="40460"/>
            <a:ext cx="775569" cy="7342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402" y="356445"/>
            <a:ext cx="249564" cy="1727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1158" y="40460"/>
            <a:ext cx="5988105" cy="5030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841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617968" y="226800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smtClean="0"/>
              <a:t>Spring </a:t>
            </a:r>
            <a:r>
              <a:rPr lang="pl-PL" dirty="0" err="1" smtClean="0"/>
              <a:t>is</a:t>
            </a:r>
            <a:r>
              <a:rPr lang="pl-PL" dirty="0" smtClean="0"/>
              <a:t> </a:t>
            </a:r>
            <a:r>
              <a:rPr lang="pl-PL" dirty="0" err="1" smtClean="0"/>
              <a:t>coming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00" y="40460"/>
            <a:ext cx="775569" cy="7342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402" y="356445"/>
            <a:ext cx="249564" cy="1727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6174" y="1545579"/>
            <a:ext cx="1125410" cy="74716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898" y="1312256"/>
            <a:ext cx="1829316" cy="1213805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2108879" y="926006"/>
            <a:ext cx="5149677" cy="619573"/>
          </a:xfrm>
          <a:prstGeom prst="rect">
            <a:avLst/>
          </a:prstGeom>
        </p:spPr>
        <p:txBody>
          <a:bodyPr vert="horz" lIns="36000" tIns="0" rIns="36000" bIns="0" rtlCol="0" anchor="ctr">
            <a:normAutofit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pl-PL" dirty="0" smtClean="0"/>
              <a:t>Zady i walety</a:t>
            </a:r>
          </a:p>
        </p:txBody>
      </p:sp>
      <p:sp>
        <p:nvSpPr>
          <p:cNvPr id="9" name="Title 6"/>
          <p:cNvSpPr txBox="1">
            <a:spLocks/>
          </p:cNvSpPr>
          <p:nvPr/>
        </p:nvSpPr>
        <p:spPr>
          <a:xfrm>
            <a:off x="1230184" y="2432358"/>
            <a:ext cx="2527272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775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- Słabe skalowanie, wymaga rozwiązań w infrastrukturze</a:t>
            </a:r>
            <a:endParaRPr lang="pl-PL" dirty="0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1230184" y="2930328"/>
            <a:ext cx="2527272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smtClean="0"/>
              <a:t>- </a:t>
            </a:r>
            <a:r>
              <a:rPr lang="pl-PL" sz="1400" dirty="0" err="1" smtClean="0"/>
              <a:t>Concurrent</a:t>
            </a:r>
            <a:r>
              <a:rPr lang="pl-PL" sz="1400" dirty="0" smtClean="0"/>
              <a:t> update, </a:t>
            </a:r>
            <a:r>
              <a:rPr lang="pl-PL" sz="1400" dirty="0" err="1" smtClean="0"/>
              <a:t>optimistic</a:t>
            </a:r>
            <a:r>
              <a:rPr lang="pl-PL" sz="1400" dirty="0" smtClean="0"/>
              <a:t> </a:t>
            </a:r>
            <a:r>
              <a:rPr lang="pl-PL" sz="1400" dirty="0" err="1" smtClean="0"/>
              <a:t>locking</a:t>
            </a:r>
            <a:endParaRPr lang="pl-PL" sz="1400" dirty="0"/>
          </a:p>
        </p:txBody>
      </p:sp>
      <p:sp>
        <p:nvSpPr>
          <p:cNvPr id="11" name="Title 6"/>
          <p:cNvSpPr txBox="1">
            <a:spLocks/>
          </p:cNvSpPr>
          <p:nvPr/>
        </p:nvSpPr>
        <p:spPr>
          <a:xfrm>
            <a:off x="1230184" y="3518432"/>
            <a:ext cx="2527272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smtClean="0"/>
              <a:t>- Utrudniony audyt</a:t>
            </a:r>
            <a:endParaRPr lang="pl-PL" sz="1400" dirty="0"/>
          </a:p>
        </p:txBody>
      </p:sp>
      <p:sp>
        <p:nvSpPr>
          <p:cNvPr id="12" name="Title 6"/>
          <p:cNvSpPr txBox="1">
            <a:spLocks/>
          </p:cNvSpPr>
          <p:nvPr/>
        </p:nvSpPr>
        <p:spPr>
          <a:xfrm>
            <a:off x="1230184" y="4015168"/>
            <a:ext cx="2527272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smtClean="0"/>
              <a:t>- Przywracanie po awarii</a:t>
            </a:r>
            <a:endParaRPr lang="pl-PL" sz="1400" dirty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5994920" y="2432358"/>
            <a:ext cx="2527272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smtClean="0"/>
              <a:t>- Znana technologia </a:t>
            </a: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52706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/>
          <p:cNvSpPr/>
          <p:nvPr/>
        </p:nvSpPr>
        <p:spPr>
          <a:xfrm>
            <a:off x="2650142" y="971044"/>
            <a:ext cx="1111252" cy="1594131"/>
          </a:xfrm>
          <a:prstGeom prst="rect">
            <a:avLst/>
          </a:prstGeom>
          <a:ln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589008" y="226800"/>
            <a:ext cx="2371405" cy="432000"/>
          </a:xfrm>
        </p:spPr>
        <p:txBody>
          <a:bodyPr>
            <a:normAutofit/>
          </a:bodyPr>
          <a:lstStyle/>
          <a:p>
            <a:r>
              <a:rPr lang="pl-PL" dirty="0" err="1" smtClean="0"/>
              <a:t>Microservic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229" y="121379"/>
            <a:ext cx="1628852" cy="63118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1742948" y="1319228"/>
            <a:ext cx="784926" cy="9578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6" name="Title 6"/>
          <p:cNvSpPr txBox="1">
            <a:spLocks/>
          </p:cNvSpPr>
          <p:nvPr/>
        </p:nvSpPr>
        <p:spPr>
          <a:xfrm>
            <a:off x="1804082" y="1367715"/>
            <a:ext cx="784926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BC1</a:t>
            </a:r>
            <a:endParaRPr lang="pl-PL" dirty="0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1804082" y="1721213"/>
            <a:ext cx="784926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Orders</a:t>
            </a:r>
            <a:endParaRPr lang="pl-PL" sz="1400" dirty="0"/>
          </a:p>
        </p:txBody>
      </p:sp>
      <p:sp>
        <p:nvSpPr>
          <p:cNvPr id="18" name="Rectangle 17"/>
          <p:cNvSpPr/>
          <p:nvPr/>
        </p:nvSpPr>
        <p:spPr>
          <a:xfrm>
            <a:off x="1742948" y="3884756"/>
            <a:ext cx="784926" cy="9578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9" name="Title 6"/>
          <p:cNvSpPr txBox="1">
            <a:spLocks/>
          </p:cNvSpPr>
          <p:nvPr/>
        </p:nvSpPr>
        <p:spPr>
          <a:xfrm>
            <a:off x="1804082" y="3933243"/>
            <a:ext cx="784926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BC2</a:t>
            </a:r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1804082" y="4286741"/>
            <a:ext cx="784926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Invoice</a:t>
            </a:r>
            <a:endParaRPr lang="pl-PL" sz="1400" dirty="0"/>
          </a:p>
        </p:txBody>
      </p:sp>
      <p:grpSp>
        <p:nvGrpSpPr>
          <p:cNvPr id="37" name="Group 36"/>
          <p:cNvGrpSpPr/>
          <p:nvPr/>
        </p:nvGrpSpPr>
        <p:grpSpPr>
          <a:xfrm>
            <a:off x="2527874" y="1039408"/>
            <a:ext cx="1222249" cy="1197419"/>
            <a:chOff x="2981471" y="1141454"/>
            <a:chExt cx="1222249" cy="1197419"/>
          </a:xfrm>
        </p:grpSpPr>
        <p:cxnSp>
          <p:nvCxnSpPr>
            <p:cNvPr id="24" name="Straight Arrow Connector 23"/>
            <p:cNvCxnSpPr/>
            <p:nvPr/>
          </p:nvCxnSpPr>
          <p:spPr>
            <a:xfrm>
              <a:off x="2981471" y="1610315"/>
              <a:ext cx="26343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24"/>
            <p:cNvSpPr/>
            <p:nvPr/>
          </p:nvSpPr>
          <p:spPr>
            <a:xfrm>
              <a:off x="3244906" y="14212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6" name="Oval 25"/>
            <p:cNvSpPr/>
            <p:nvPr/>
          </p:nvSpPr>
          <p:spPr>
            <a:xfrm>
              <a:off x="3397306" y="15736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7" name="Oval 26"/>
            <p:cNvSpPr/>
            <p:nvPr/>
          </p:nvSpPr>
          <p:spPr>
            <a:xfrm>
              <a:off x="3508341" y="14212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8" name="Oval 27"/>
            <p:cNvSpPr/>
            <p:nvPr/>
          </p:nvSpPr>
          <p:spPr>
            <a:xfrm>
              <a:off x="3236918" y="1733873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cxnSp>
          <p:nvCxnSpPr>
            <p:cNvPr id="30" name="Straight Arrow Connector 29"/>
            <p:cNvCxnSpPr/>
            <p:nvPr/>
          </p:nvCxnSpPr>
          <p:spPr>
            <a:xfrm flipH="1">
              <a:off x="2981471" y="2255259"/>
              <a:ext cx="26343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/>
            <p:cNvSpPr/>
            <p:nvPr/>
          </p:nvSpPr>
          <p:spPr>
            <a:xfrm>
              <a:off x="3261193" y="2094536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2" name="Oval 31"/>
            <p:cNvSpPr/>
            <p:nvPr/>
          </p:nvSpPr>
          <p:spPr>
            <a:xfrm>
              <a:off x="3389317" y="2214568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3" name="Oval 32"/>
            <p:cNvSpPr/>
            <p:nvPr/>
          </p:nvSpPr>
          <p:spPr>
            <a:xfrm>
              <a:off x="3541716" y="2214567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4" name="Oval 33"/>
            <p:cNvSpPr/>
            <p:nvPr/>
          </p:nvSpPr>
          <p:spPr>
            <a:xfrm>
              <a:off x="3446188" y="2062167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079741" y="1141454"/>
              <a:ext cx="73289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400" dirty="0" err="1" smtClean="0"/>
                <a:t>Events</a:t>
              </a:r>
              <a:endParaRPr lang="pl-PL" sz="1400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103739" y="1802384"/>
              <a:ext cx="10999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400" dirty="0" err="1" smtClean="0"/>
                <a:t>Commands</a:t>
              </a:r>
              <a:endParaRPr lang="pl-PL" sz="1400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2539146" y="3602528"/>
            <a:ext cx="1222249" cy="1197419"/>
            <a:chOff x="2981471" y="1141454"/>
            <a:chExt cx="1222249" cy="1197419"/>
          </a:xfrm>
        </p:grpSpPr>
        <p:cxnSp>
          <p:nvCxnSpPr>
            <p:cNvPr id="39" name="Straight Arrow Connector 38"/>
            <p:cNvCxnSpPr/>
            <p:nvPr/>
          </p:nvCxnSpPr>
          <p:spPr>
            <a:xfrm>
              <a:off x="2981471" y="1610315"/>
              <a:ext cx="26343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3244906" y="14212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1" name="Oval 40"/>
            <p:cNvSpPr/>
            <p:nvPr/>
          </p:nvSpPr>
          <p:spPr>
            <a:xfrm>
              <a:off x="3397306" y="15736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2" name="Oval 41"/>
            <p:cNvSpPr/>
            <p:nvPr/>
          </p:nvSpPr>
          <p:spPr>
            <a:xfrm>
              <a:off x="3508341" y="14212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3" name="Oval 42"/>
            <p:cNvSpPr/>
            <p:nvPr/>
          </p:nvSpPr>
          <p:spPr>
            <a:xfrm>
              <a:off x="3236918" y="1733873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cxnSp>
          <p:nvCxnSpPr>
            <p:cNvPr id="44" name="Straight Arrow Connector 43"/>
            <p:cNvCxnSpPr/>
            <p:nvPr/>
          </p:nvCxnSpPr>
          <p:spPr>
            <a:xfrm flipH="1">
              <a:off x="2981471" y="2255259"/>
              <a:ext cx="26343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/>
            <p:cNvSpPr/>
            <p:nvPr/>
          </p:nvSpPr>
          <p:spPr>
            <a:xfrm>
              <a:off x="3261193" y="2094536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6" name="Oval 45"/>
            <p:cNvSpPr/>
            <p:nvPr/>
          </p:nvSpPr>
          <p:spPr>
            <a:xfrm>
              <a:off x="3389317" y="2214568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7" name="Oval 46"/>
            <p:cNvSpPr/>
            <p:nvPr/>
          </p:nvSpPr>
          <p:spPr>
            <a:xfrm>
              <a:off x="3541716" y="2214567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8" name="Oval 47"/>
            <p:cNvSpPr/>
            <p:nvPr/>
          </p:nvSpPr>
          <p:spPr>
            <a:xfrm>
              <a:off x="3446188" y="2062167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3079741" y="1141454"/>
              <a:ext cx="73289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400" dirty="0" err="1" smtClean="0"/>
                <a:t>Events</a:t>
              </a:r>
              <a:endParaRPr lang="pl-PL" sz="1400" dirty="0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3103739" y="1802384"/>
              <a:ext cx="10999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400" dirty="0" err="1" smtClean="0"/>
                <a:t>Commands</a:t>
              </a:r>
              <a:endParaRPr lang="pl-PL" sz="1400" dirty="0"/>
            </a:p>
          </p:txBody>
        </p:sp>
      </p:grpSp>
      <p:sp>
        <p:nvSpPr>
          <p:cNvPr id="51" name="Rectangle 50"/>
          <p:cNvSpPr/>
          <p:nvPr/>
        </p:nvSpPr>
        <p:spPr>
          <a:xfrm>
            <a:off x="6593238" y="1319228"/>
            <a:ext cx="784926" cy="9578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52" name="Title 6"/>
          <p:cNvSpPr txBox="1">
            <a:spLocks/>
          </p:cNvSpPr>
          <p:nvPr/>
        </p:nvSpPr>
        <p:spPr>
          <a:xfrm>
            <a:off x="6654372" y="1367715"/>
            <a:ext cx="784926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BC3</a:t>
            </a:r>
            <a:endParaRPr lang="pl-PL" dirty="0"/>
          </a:p>
        </p:txBody>
      </p:sp>
      <p:grpSp>
        <p:nvGrpSpPr>
          <p:cNvPr id="54" name="Group 53"/>
          <p:cNvGrpSpPr/>
          <p:nvPr/>
        </p:nvGrpSpPr>
        <p:grpSpPr>
          <a:xfrm>
            <a:off x="7389436" y="1037000"/>
            <a:ext cx="1222249" cy="1197419"/>
            <a:chOff x="2981471" y="1141454"/>
            <a:chExt cx="1222249" cy="1197419"/>
          </a:xfrm>
        </p:grpSpPr>
        <p:cxnSp>
          <p:nvCxnSpPr>
            <p:cNvPr id="55" name="Straight Arrow Connector 54"/>
            <p:cNvCxnSpPr/>
            <p:nvPr/>
          </p:nvCxnSpPr>
          <p:spPr>
            <a:xfrm>
              <a:off x="2981471" y="1610315"/>
              <a:ext cx="26343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/>
            <p:cNvSpPr/>
            <p:nvPr/>
          </p:nvSpPr>
          <p:spPr>
            <a:xfrm>
              <a:off x="3244906" y="14212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7" name="Oval 56"/>
            <p:cNvSpPr/>
            <p:nvPr/>
          </p:nvSpPr>
          <p:spPr>
            <a:xfrm>
              <a:off x="3397306" y="15736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8" name="Oval 57"/>
            <p:cNvSpPr/>
            <p:nvPr/>
          </p:nvSpPr>
          <p:spPr>
            <a:xfrm>
              <a:off x="3508341" y="14212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9" name="Oval 58"/>
            <p:cNvSpPr/>
            <p:nvPr/>
          </p:nvSpPr>
          <p:spPr>
            <a:xfrm>
              <a:off x="3236918" y="1733873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cxnSp>
          <p:nvCxnSpPr>
            <p:cNvPr id="60" name="Straight Arrow Connector 59"/>
            <p:cNvCxnSpPr/>
            <p:nvPr/>
          </p:nvCxnSpPr>
          <p:spPr>
            <a:xfrm flipH="1">
              <a:off x="2981471" y="2255259"/>
              <a:ext cx="26343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Oval 60"/>
            <p:cNvSpPr/>
            <p:nvPr/>
          </p:nvSpPr>
          <p:spPr>
            <a:xfrm>
              <a:off x="3261193" y="2094536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2" name="Oval 61"/>
            <p:cNvSpPr/>
            <p:nvPr/>
          </p:nvSpPr>
          <p:spPr>
            <a:xfrm>
              <a:off x="3389317" y="2214568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3" name="Oval 62"/>
            <p:cNvSpPr/>
            <p:nvPr/>
          </p:nvSpPr>
          <p:spPr>
            <a:xfrm>
              <a:off x="3541716" y="2214567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4" name="Oval 63"/>
            <p:cNvSpPr/>
            <p:nvPr/>
          </p:nvSpPr>
          <p:spPr>
            <a:xfrm>
              <a:off x="3446188" y="2062167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3079741" y="1141454"/>
              <a:ext cx="73289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400" dirty="0" err="1" smtClean="0"/>
                <a:t>Events</a:t>
              </a:r>
              <a:endParaRPr lang="pl-PL" sz="1400" dirty="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103739" y="1802384"/>
              <a:ext cx="10999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400" dirty="0" err="1" smtClean="0"/>
                <a:t>Commands</a:t>
              </a:r>
              <a:endParaRPr lang="pl-PL" sz="1400" dirty="0"/>
            </a:p>
          </p:txBody>
        </p:sp>
      </p:grpSp>
      <p:sp>
        <p:nvSpPr>
          <p:cNvPr id="67" name="Rectangle 66"/>
          <p:cNvSpPr/>
          <p:nvPr/>
        </p:nvSpPr>
        <p:spPr>
          <a:xfrm>
            <a:off x="6593238" y="3882348"/>
            <a:ext cx="784926" cy="9578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68" name="Title 6"/>
          <p:cNvSpPr txBox="1">
            <a:spLocks/>
          </p:cNvSpPr>
          <p:nvPr/>
        </p:nvSpPr>
        <p:spPr>
          <a:xfrm>
            <a:off x="6654372" y="3930835"/>
            <a:ext cx="784926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BC4</a:t>
            </a:r>
            <a:endParaRPr lang="pl-PL" dirty="0"/>
          </a:p>
        </p:txBody>
      </p:sp>
      <p:sp>
        <p:nvSpPr>
          <p:cNvPr id="69" name="Title 6"/>
          <p:cNvSpPr txBox="1">
            <a:spLocks/>
          </p:cNvSpPr>
          <p:nvPr/>
        </p:nvSpPr>
        <p:spPr>
          <a:xfrm>
            <a:off x="6654372" y="4284333"/>
            <a:ext cx="784926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Customer</a:t>
            </a:r>
            <a:endParaRPr lang="pl-PL" sz="1400" dirty="0"/>
          </a:p>
        </p:txBody>
      </p:sp>
      <p:grpSp>
        <p:nvGrpSpPr>
          <p:cNvPr id="70" name="Group 69"/>
          <p:cNvGrpSpPr/>
          <p:nvPr/>
        </p:nvGrpSpPr>
        <p:grpSpPr>
          <a:xfrm>
            <a:off x="7389436" y="3600120"/>
            <a:ext cx="1222249" cy="1197419"/>
            <a:chOff x="2981471" y="1141454"/>
            <a:chExt cx="1222249" cy="1197419"/>
          </a:xfrm>
        </p:grpSpPr>
        <p:cxnSp>
          <p:nvCxnSpPr>
            <p:cNvPr id="71" name="Straight Arrow Connector 70"/>
            <p:cNvCxnSpPr/>
            <p:nvPr/>
          </p:nvCxnSpPr>
          <p:spPr>
            <a:xfrm>
              <a:off x="2981471" y="1610315"/>
              <a:ext cx="26343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Oval 71"/>
            <p:cNvSpPr/>
            <p:nvPr/>
          </p:nvSpPr>
          <p:spPr>
            <a:xfrm>
              <a:off x="3244906" y="14212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3" name="Oval 72"/>
            <p:cNvSpPr/>
            <p:nvPr/>
          </p:nvSpPr>
          <p:spPr>
            <a:xfrm>
              <a:off x="3397306" y="15736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4" name="Oval 73"/>
            <p:cNvSpPr/>
            <p:nvPr/>
          </p:nvSpPr>
          <p:spPr>
            <a:xfrm>
              <a:off x="3508341" y="1421274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5" name="Oval 74"/>
            <p:cNvSpPr/>
            <p:nvPr/>
          </p:nvSpPr>
          <p:spPr>
            <a:xfrm>
              <a:off x="3236918" y="1733873"/>
              <a:ext cx="124305" cy="124305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cxnSp>
          <p:nvCxnSpPr>
            <p:cNvPr id="76" name="Straight Arrow Connector 75"/>
            <p:cNvCxnSpPr/>
            <p:nvPr/>
          </p:nvCxnSpPr>
          <p:spPr>
            <a:xfrm flipH="1">
              <a:off x="2981471" y="2255259"/>
              <a:ext cx="26343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Oval 76"/>
            <p:cNvSpPr/>
            <p:nvPr/>
          </p:nvSpPr>
          <p:spPr>
            <a:xfrm>
              <a:off x="3261193" y="2094536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8" name="Oval 77"/>
            <p:cNvSpPr/>
            <p:nvPr/>
          </p:nvSpPr>
          <p:spPr>
            <a:xfrm>
              <a:off x="3389317" y="2214568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9" name="Oval 78"/>
            <p:cNvSpPr/>
            <p:nvPr/>
          </p:nvSpPr>
          <p:spPr>
            <a:xfrm>
              <a:off x="3541716" y="2214567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80" name="Oval 79"/>
            <p:cNvSpPr/>
            <p:nvPr/>
          </p:nvSpPr>
          <p:spPr>
            <a:xfrm>
              <a:off x="3446188" y="2062167"/>
              <a:ext cx="124305" cy="12430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3079741" y="1141454"/>
              <a:ext cx="73289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400" dirty="0" err="1" smtClean="0"/>
                <a:t>Events</a:t>
              </a:r>
              <a:endParaRPr lang="pl-PL" sz="1400" dirty="0"/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3103739" y="1802384"/>
              <a:ext cx="10999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400" dirty="0" err="1" smtClean="0"/>
                <a:t>Commands</a:t>
              </a:r>
              <a:endParaRPr lang="pl-PL" sz="1400" dirty="0"/>
            </a:p>
          </p:txBody>
        </p:sp>
      </p:grpSp>
      <p:sp>
        <p:nvSpPr>
          <p:cNvPr id="84" name="Rectangle 83"/>
          <p:cNvSpPr/>
          <p:nvPr/>
        </p:nvSpPr>
        <p:spPr>
          <a:xfrm>
            <a:off x="4364088" y="2642270"/>
            <a:ext cx="1192649" cy="9578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53" name="Title 6"/>
          <p:cNvSpPr txBox="1">
            <a:spLocks/>
          </p:cNvSpPr>
          <p:nvPr/>
        </p:nvSpPr>
        <p:spPr>
          <a:xfrm>
            <a:off x="4364088" y="2689195"/>
            <a:ext cx="901336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Purchase</a:t>
            </a:r>
            <a:r>
              <a:rPr lang="pl-PL" sz="1400" dirty="0" smtClean="0"/>
              <a:t> Saga</a:t>
            </a:r>
            <a:endParaRPr lang="pl-PL" sz="1400" dirty="0"/>
          </a:p>
        </p:txBody>
      </p:sp>
      <p:cxnSp>
        <p:nvCxnSpPr>
          <p:cNvPr id="87" name="Elbow Connector 86"/>
          <p:cNvCxnSpPr>
            <a:stCxn id="35" idx="3"/>
            <a:endCxn id="84" idx="0"/>
          </p:cNvCxnSpPr>
          <p:nvPr/>
        </p:nvCxnSpPr>
        <p:spPr>
          <a:xfrm>
            <a:off x="3359037" y="1193297"/>
            <a:ext cx="1601376" cy="144897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Elbow Connector 88"/>
          <p:cNvCxnSpPr>
            <a:endCxn id="36" idx="3"/>
          </p:cNvCxnSpPr>
          <p:nvPr/>
        </p:nvCxnSpPr>
        <p:spPr>
          <a:xfrm rot="10800000">
            <a:off x="3750124" y="1854227"/>
            <a:ext cx="889719" cy="781944"/>
          </a:xfrm>
          <a:prstGeom prst="bentConnector3">
            <a:avLst>
              <a:gd name="adj1" fmla="val -366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Elbow Connector 91"/>
          <p:cNvCxnSpPr>
            <a:stCxn id="65" idx="0"/>
          </p:cNvCxnSpPr>
          <p:nvPr/>
        </p:nvCxnSpPr>
        <p:spPr>
          <a:xfrm rot="16200000" flipH="1" flipV="1">
            <a:off x="5676482" y="458500"/>
            <a:ext cx="1599172" cy="2756171"/>
          </a:xfrm>
          <a:prstGeom prst="bentConnector4">
            <a:avLst>
              <a:gd name="adj1" fmla="val -3163"/>
              <a:gd name="adj2" fmla="val 1001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96"/>
          <p:cNvCxnSpPr>
            <a:endCxn id="66" idx="3"/>
          </p:cNvCxnSpPr>
          <p:nvPr/>
        </p:nvCxnSpPr>
        <p:spPr>
          <a:xfrm flipV="1">
            <a:off x="5429756" y="1851819"/>
            <a:ext cx="3181929" cy="784353"/>
          </a:xfrm>
          <a:prstGeom prst="bentConnector3">
            <a:avLst>
              <a:gd name="adj1" fmla="val 10718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81" idx="0"/>
            <a:endCxn id="84" idx="3"/>
          </p:cNvCxnSpPr>
          <p:nvPr/>
        </p:nvCxnSpPr>
        <p:spPr>
          <a:xfrm rot="16200000" flipV="1">
            <a:off x="6465983" y="2211950"/>
            <a:ext cx="478925" cy="229741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102"/>
          <p:cNvCxnSpPr>
            <a:endCxn id="82" idx="3"/>
          </p:cNvCxnSpPr>
          <p:nvPr/>
        </p:nvCxnSpPr>
        <p:spPr>
          <a:xfrm>
            <a:off x="5556737" y="2915992"/>
            <a:ext cx="3054948" cy="1498947"/>
          </a:xfrm>
          <a:prstGeom prst="bentConnector3">
            <a:avLst>
              <a:gd name="adj1" fmla="val 10748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>
            <a:stCxn id="49" idx="3"/>
            <a:endCxn id="84" idx="2"/>
          </p:cNvCxnSpPr>
          <p:nvPr/>
        </p:nvCxnSpPr>
        <p:spPr>
          <a:xfrm flipV="1">
            <a:off x="3370309" y="3600120"/>
            <a:ext cx="1590104" cy="15629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107"/>
          <p:cNvCxnSpPr>
            <a:endCxn id="50" idx="3"/>
          </p:cNvCxnSpPr>
          <p:nvPr/>
        </p:nvCxnSpPr>
        <p:spPr>
          <a:xfrm rot="10800000" flipV="1">
            <a:off x="3761395" y="3600119"/>
            <a:ext cx="1401324" cy="817227"/>
          </a:xfrm>
          <a:prstGeom prst="bentConnector3">
            <a:avLst>
              <a:gd name="adj1" fmla="val 149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itle 6"/>
          <p:cNvSpPr txBox="1">
            <a:spLocks/>
          </p:cNvSpPr>
          <p:nvPr/>
        </p:nvSpPr>
        <p:spPr>
          <a:xfrm>
            <a:off x="6610953" y="1774082"/>
            <a:ext cx="784926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Warehouse</a:t>
            </a:r>
            <a:endParaRPr lang="pl-PL" sz="1400" dirty="0"/>
          </a:p>
        </p:txBody>
      </p:sp>
      <p:sp>
        <p:nvSpPr>
          <p:cNvPr id="112" name="TextBox 111"/>
          <p:cNvSpPr txBox="1"/>
          <p:nvPr/>
        </p:nvSpPr>
        <p:spPr>
          <a:xfrm>
            <a:off x="2636704" y="2290831"/>
            <a:ext cx="9813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err="1" smtClean="0">
                <a:solidFill>
                  <a:schemeClr val="tx2"/>
                </a:solidFill>
              </a:rPr>
              <a:t>Canonical</a:t>
            </a:r>
            <a:endParaRPr lang="pl-PL" sz="1400" dirty="0" smtClean="0">
              <a:solidFill>
                <a:schemeClr val="tx2"/>
              </a:solidFill>
            </a:endParaRPr>
          </a:p>
          <a:p>
            <a:r>
              <a:rPr lang="pl-PL" sz="1400" dirty="0" smtClean="0">
                <a:solidFill>
                  <a:schemeClr val="tx2"/>
                </a:solidFill>
              </a:rPr>
              <a:t>Model</a:t>
            </a:r>
            <a:endParaRPr lang="pl-PL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574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dirty="0" smtClean="0"/>
              <a:t>Confidential / Restricted / Public Presentation or part title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58</a:t>
            </a:fld>
            <a:endParaRPr lang="en-GB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188899" y="623556"/>
            <a:ext cx="7857000" cy="1485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pl-P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536" y="240830"/>
            <a:ext cx="2288406" cy="938604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1107897" y="0"/>
            <a:ext cx="7857000" cy="1485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l-PL" dirty="0" smtClean="0"/>
              <a:t>Zmiana podejścia</a:t>
            </a:r>
            <a:endParaRPr lang="pl-PL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8347" y="1235421"/>
            <a:ext cx="5715511" cy="371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791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/>
        </p:nvSpPr>
        <p:spPr>
          <a:xfrm>
            <a:off x="2975735" y="1659924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459979" y="2206137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2459980" y="220613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Actor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1341930" y="2724028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1341931" y="2374589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3379776" y="1781926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15" name="Rectangle 14"/>
          <p:cNvSpPr/>
          <p:nvPr/>
        </p:nvSpPr>
        <p:spPr>
          <a:xfrm>
            <a:off x="2584619" y="2681975"/>
            <a:ext cx="867197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endParaRPr lang="pl-PL" dirty="0"/>
          </a:p>
        </p:txBody>
      </p:sp>
      <p:sp>
        <p:nvSpPr>
          <p:cNvPr id="12" name="Rectangle 11"/>
          <p:cNvSpPr/>
          <p:nvPr/>
        </p:nvSpPr>
        <p:spPr>
          <a:xfrm>
            <a:off x="1982327" y="2733119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smtClean="0"/>
              <a:t>MSG1</a:t>
            </a:r>
            <a:endParaRPr lang="pl-PL" sz="800" dirty="0"/>
          </a:p>
        </p:txBody>
      </p:sp>
      <p:sp>
        <p:nvSpPr>
          <p:cNvPr id="16" name="Rectangle 15"/>
          <p:cNvSpPr/>
          <p:nvPr/>
        </p:nvSpPr>
        <p:spPr>
          <a:xfrm>
            <a:off x="1492196" y="2733118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smtClean="0"/>
              <a:t>MSG</a:t>
            </a:r>
          </a:p>
          <a:p>
            <a:pPr algn="ctr"/>
            <a:r>
              <a:rPr lang="pl-PL" sz="800" dirty="0"/>
              <a:t>2</a:t>
            </a:r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2536346" y="3515607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8545" y="2711825"/>
            <a:ext cx="4229385" cy="2291175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8545" y="886368"/>
            <a:ext cx="4096184" cy="1670716"/>
          </a:xfrm>
          <a:prstGeom prst="rect">
            <a:avLst/>
          </a:prstGeom>
          <a:ln>
            <a:solidFill>
              <a:schemeClr val="tx2"/>
            </a:solidFill>
          </a:ln>
        </p:spPr>
      </p:pic>
      <p:cxnSp>
        <p:nvCxnSpPr>
          <p:cNvPr id="22" name="Straight Connector 21"/>
          <p:cNvCxnSpPr>
            <a:endCxn id="20" idx="1"/>
          </p:cNvCxnSpPr>
          <p:nvPr/>
        </p:nvCxnSpPr>
        <p:spPr>
          <a:xfrm flipV="1">
            <a:off x="3379776" y="1721726"/>
            <a:ext cx="1288769" cy="20098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endCxn id="19" idx="1"/>
          </p:cNvCxnSpPr>
          <p:nvPr/>
        </p:nvCxnSpPr>
        <p:spPr>
          <a:xfrm>
            <a:off x="3379776" y="3746558"/>
            <a:ext cx="1288769" cy="1108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701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Jak wygląda </a:t>
            </a:r>
            <a:r>
              <a:rPr lang="pl-PL" dirty="0" err="1" smtClean="0"/>
              <a:t>eUICC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6</a:t>
            </a:fld>
            <a:endParaRPr lang="en-GB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650" y="2196719"/>
            <a:ext cx="4085714" cy="2752381"/>
          </a:xfrm>
          <a:prstGeom prst="rect">
            <a:avLst/>
          </a:prstGeom>
        </p:spPr>
      </p:pic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00" y="882032"/>
            <a:ext cx="5148465" cy="2215659"/>
          </a:xfrm>
        </p:spPr>
      </p:pic>
    </p:spTree>
    <p:extLst>
      <p:ext uri="{BB962C8B-B14F-4D97-AF65-F5344CB8AC3E}">
        <p14:creationId xmlns:p14="http://schemas.microsoft.com/office/powerpoint/2010/main" val="2978599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/>
          <p:cNvSpPr/>
          <p:nvPr/>
        </p:nvSpPr>
        <p:spPr>
          <a:xfrm>
            <a:off x="2615373" y="1395536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5" name="Title 6"/>
          <p:cNvSpPr txBox="1">
            <a:spLocks/>
          </p:cNvSpPr>
          <p:nvPr/>
        </p:nvSpPr>
        <p:spPr>
          <a:xfrm>
            <a:off x="3019414" y="1517538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Thread0</a:t>
            </a:r>
            <a:endParaRPr lang="pl-PL" sz="1600" dirty="0"/>
          </a:p>
        </p:txBody>
      </p:sp>
      <p:sp>
        <p:nvSpPr>
          <p:cNvPr id="11" name="Oval 10"/>
          <p:cNvSpPr/>
          <p:nvPr/>
        </p:nvSpPr>
        <p:spPr>
          <a:xfrm>
            <a:off x="6909812" y="1360517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394056" y="1906730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6394057" y="1931006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Ferdek Kiepski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5276007" y="2424621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5276008" y="2075182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7313853" y="1482519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Thread1</a:t>
            </a:r>
            <a:endParaRPr lang="pl-PL" sz="1600" dirty="0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6415128" y="2869162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sp>
        <p:nvSpPr>
          <p:cNvPr id="18" name="Rectangle 17"/>
          <p:cNvSpPr/>
          <p:nvPr/>
        </p:nvSpPr>
        <p:spPr>
          <a:xfrm>
            <a:off x="2140447" y="1914519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1" name="Title 6"/>
          <p:cNvSpPr txBox="1">
            <a:spLocks/>
          </p:cNvSpPr>
          <p:nvPr/>
        </p:nvSpPr>
        <p:spPr>
          <a:xfrm>
            <a:off x="2140448" y="1914519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Rysiek z klanu</a:t>
            </a:r>
            <a:endParaRPr lang="pl-PL" dirty="0"/>
          </a:p>
        </p:txBody>
      </p:sp>
      <p:sp>
        <p:nvSpPr>
          <p:cNvPr id="26" name="Rectangle 25"/>
          <p:cNvSpPr/>
          <p:nvPr/>
        </p:nvSpPr>
        <p:spPr>
          <a:xfrm>
            <a:off x="1027903" y="2450028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9" name="Title 6"/>
          <p:cNvSpPr txBox="1">
            <a:spLocks/>
          </p:cNvSpPr>
          <p:nvPr/>
        </p:nvSpPr>
        <p:spPr>
          <a:xfrm>
            <a:off x="2205965" y="2903761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sp>
        <p:nvSpPr>
          <p:cNvPr id="30" name="Rectangle 29"/>
          <p:cNvSpPr/>
          <p:nvPr/>
        </p:nvSpPr>
        <p:spPr>
          <a:xfrm>
            <a:off x="2385314" y="3244357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smtClean="0"/>
              <a:t>Hello</a:t>
            </a:r>
            <a:endParaRPr lang="pl-PL" sz="800" dirty="0"/>
          </a:p>
        </p:txBody>
      </p:sp>
      <p:cxnSp>
        <p:nvCxnSpPr>
          <p:cNvPr id="3" name="Elbow Connector 2"/>
          <p:cNvCxnSpPr>
            <a:stCxn id="30" idx="3"/>
            <a:endCxn id="9" idx="1"/>
          </p:cNvCxnSpPr>
          <p:nvPr/>
        </p:nvCxnSpPr>
        <p:spPr>
          <a:xfrm flipV="1">
            <a:off x="2845432" y="2614109"/>
            <a:ext cx="2430575" cy="811145"/>
          </a:xfrm>
          <a:prstGeom prst="bentConnector3">
            <a:avLst>
              <a:gd name="adj1" fmla="val 8129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2070853" y="4047577"/>
            <a:ext cx="22098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k</a:t>
            </a:r>
            <a:r>
              <a:rPr lang="pl-PL" dirty="0" smtClean="0"/>
              <a:t>iepski ! „Hello”</a:t>
            </a:r>
          </a:p>
          <a:p>
            <a:r>
              <a:rPr lang="pl-PL" dirty="0" err="1" smtClean="0"/>
              <a:t>kiepski.tell</a:t>
            </a:r>
            <a:r>
              <a:rPr lang="pl-PL" dirty="0" smtClean="0"/>
              <a:t>(„Hello”)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46993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/>
          <p:cNvSpPr/>
          <p:nvPr/>
        </p:nvSpPr>
        <p:spPr>
          <a:xfrm>
            <a:off x="2615373" y="1395536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5" name="Title 6"/>
          <p:cNvSpPr txBox="1">
            <a:spLocks/>
          </p:cNvSpPr>
          <p:nvPr/>
        </p:nvSpPr>
        <p:spPr>
          <a:xfrm>
            <a:off x="3019414" y="1517538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Thread0</a:t>
            </a:r>
            <a:endParaRPr lang="pl-PL" sz="1600" dirty="0"/>
          </a:p>
        </p:txBody>
      </p:sp>
      <p:sp>
        <p:nvSpPr>
          <p:cNvPr id="11" name="Oval 10"/>
          <p:cNvSpPr/>
          <p:nvPr/>
        </p:nvSpPr>
        <p:spPr>
          <a:xfrm>
            <a:off x="6909812" y="1360517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394056" y="1906730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6394057" y="1931006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Ferdek Kiepski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5276007" y="2424621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5276008" y="2075182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7313853" y="1482519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Thread1</a:t>
            </a:r>
            <a:endParaRPr lang="pl-PL" sz="1600" dirty="0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6415128" y="2869162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sp>
        <p:nvSpPr>
          <p:cNvPr id="18" name="Rectangle 17"/>
          <p:cNvSpPr/>
          <p:nvPr/>
        </p:nvSpPr>
        <p:spPr>
          <a:xfrm>
            <a:off x="2140447" y="1914519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1" name="Title 6"/>
          <p:cNvSpPr txBox="1">
            <a:spLocks/>
          </p:cNvSpPr>
          <p:nvPr/>
        </p:nvSpPr>
        <p:spPr>
          <a:xfrm>
            <a:off x="2140448" y="1914519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Rysiek z klanu</a:t>
            </a:r>
            <a:endParaRPr lang="pl-PL" dirty="0"/>
          </a:p>
        </p:txBody>
      </p:sp>
      <p:sp>
        <p:nvSpPr>
          <p:cNvPr id="26" name="Rectangle 25"/>
          <p:cNvSpPr/>
          <p:nvPr/>
        </p:nvSpPr>
        <p:spPr>
          <a:xfrm>
            <a:off x="1027903" y="2450028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9" name="Title 6"/>
          <p:cNvSpPr txBox="1">
            <a:spLocks/>
          </p:cNvSpPr>
          <p:nvPr/>
        </p:nvSpPr>
        <p:spPr>
          <a:xfrm>
            <a:off x="2205965" y="2903761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sp>
        <p:nvSpPr>
          <p:cNvPr id="30" name="Rectangle 29"/>
          <p:cNvSpPr/>
          <p:nvPr/>
        </p:nvSpPr>
        <p:spPr>
          <a:xfrm>
            <a:off x="5937481" y="2424621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smtClean="0"/>
              <a:t>Hello</a:t>
            </a:r>
            <a:endParaRPr lang="pl-PL" sz="800" dirty="0"/>
          </a:p>
        </p:txBody>
      </p:sp>
    </p:spTree>
    <p:extLst>
      <p:ext uri="{BB962C8B-B14F-4D97-AF65-F5344CB8AC3E}">
        <p14:creationId xmlns:p14="http://schemas.microsoft.com/office/powerpoint/2010/main" val="608834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/>
          <p:cNvSpPr/>
          <p:nvPr/>
        </p:nvSpPr>
        <p:spPr>
          <a:xfrm>
            <a:off x="2615373" y="1395536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5" name="Title 6"/>
          <p:cNvSpPr txBox="1">
            <a:spLocks/>
          </p:cNvSpPr>
          <p:nvPr/>
        </p:nvSpPr>
        <p:spPr>
          <a:xfrm>
            <a:off x="3019414" y="1517538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Thread0</a:t>
            </a:r>
            <a:endParaRPr lang="pl-PL" sz="1600" dirty="0"/>
          </a:p>
        </p:txBody>
      </p:sp>
      <p:sp>
        <p:nvSpPr>
          <p:cNvPr id="11" name="Oval 10"/>
          <p:cNvSpPr/>
          <p:nvPr/>
        </p:nvSpPr>
        <p:spPr>
          <a:xfrm>
            <a:off x="6909812" y="1360517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394056" y="1906730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6394057" y="1931006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Ferdek Kiepski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5276007" y="2424621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5276008" y="2075182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7313853" y="1482519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Thread1</a:t>
            </a:r>
            <a:endParaRPr lang="pl-PL" sz="1600" dirty="0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6415128" y="2869162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sp>
        <p:nvSpPr>
          <p:cNvPr id="18" name="Rectangle 17"/>
          <p:cNvSpPr/>
          <p:nvPr/>
        </p:nvSpPr>
        <p:spPr>
          <a:xfrm>
            <a:off x="2140447" y="1914519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1" name="Title 6"/>
          <p:cNvSpPr txBox="1">
            <a:spLocks/>
          </p:cNvSpPr>
          <p:nvPr/>
        </p:nvSpPr>
        <p:spPr>
          <a:xfrm>
            <a:off x="2140448" y="1914519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Rysiek z klanu</a:t>
            </a:r>
            <a:endParaRPr lang="pl-PL" dirty="0"/>
          </a:p>
        </p:txBody>
      </p:sp>
      <p:sp>
        <p:nvSpPr>
          <p:cNvPr id="26" name="Rectangle 25"/>
          <p:cNvSpPr/>
          <p:nvPr/>
        </p:nvSpPr>
        <p:spPr>
          <a:xfrm>
            <a:off x="1027903" y="2450028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9" name="Title 6"/>
          <p:cNvSpPr txBox="1">
            <a:spLocks/>
          </p:cNvSpPr>
          <p:nvPr/>
        </p:nvSpPr>
        <p:spPr>
          <a:xfrm>
            <a:off x="2205965" y="2903761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sp>
        <p:nvSpPr>
          <p:cNvPr id="30" name="Rectangle 29"/>
          <p:cNvSpPr/>
          <p:nvPr/>
        </p:nvSpPr>
        <p:spPr>
          <a:xfrm>
            <a:off x="6597037" y="3192017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smtClean="0"/>
              <a:t>Hello</a:t>
            </a:r>
            <a:endParaRPr lang="pl-PL" sz="800" dirty="0"/>
          </a:p>
        </p:txBody>
      </p:sp>
      <p:sp>
        <p:nvSpPr>
          <p:cNvPr id="19" name="TextBox 18"/>
          <p:cNvSpPr txBox="1"/>
          <p:nvPr/>
        </p:nvSpPr>
        <p:spPr>
          <a:xfrm>
            <a:off x="5518768" y="4011399"/>
            <a:ext cx="32691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d</a:t>
            </a:r>
            <a:r>
              <a:rPr lang="pl-PL" sz="1200" dirty="0" smtClean="0"/>
              <a:t>ef </a:t>
            </a:r>
            <a:r>
              <a:rPr lang="pl-PL" sz="1200" dirty="0" err="1" smtClean="0"/>
              <a:t>receive</a:t>
            </a:r>
            <a:r>
              <a:rPr lang="pl-PL" sz="1200" dirty="0" smtClean="0"/>
              <a:t> = {</a:t>
            </a:r>
          </a:p>
          <a:p>
            <a:r>
              <a:rPr lang="pl-PL" sz="1200" dirty="0" smtClean="0"/>
              <a:t>   </a:t>
            </a:r>
            <a:r>
              <a:rPr lang="pl-PL" sz="1200" dirty="0" err="1" smtClean="0"/>
              <a:t>case</a:t>
            </a:r>
            <a:r>
              <a:rPr lang="pl-PL" sz="1200" dirty="0" smtClean="0"/>
              <a:t> </a:t>
            </a:r>
            <a:r>
              <a:rPr lang="pl-PL" sz="1200" dirty="0" err="1" smtClean="0"/>
              <a:t>str</a:t>
            </a:r>
            <a:r>
              <a:rPr lang="pl-PL" sz="1200" dirty="0" smtClean="0"/>
              <a:t>: String =&gt; </a:t>
            </a:r>
            <a:r>
              <a:rPr lang="pl-PL" sz="1200" dirty="0" err="1" smtClean="0"/>
              <a:t>sender</a:t>
            </a:r>
            <a:r>
              <a:rPr lang="pl-PL" sz="1200" dirty="0" smtClean="0"/>
              <a:t> ! „Idziemy pić”</a:t>
            </a:r>
          </a:p>
          <a:p>
            <a:r>
              <a:rPr lang="pl-PL" sz="1200" dirty="0"/>
              <a:t> </a:t>
            </a:r>
            <a:r>
              <a:rPr lang="pl-PL" sz="1200" dirty="0" smtClean="0"/>
              <a:t>  </a:t>
            </a:r>
            <a:r>
              <a:rPr lang="pl-PL" sz="1200" dirty="0" err="1" smtClean="0"/>
              <a:t>case</a:t>
            </a:r>
            <a:r>
              <a:rPr lang="pl-PL" sz="1200" dirty="0" smtClean="0"/>
              <a:t> </a:t>
            </a:r>
            <a:r>
              <a:rPr lang="pl-PL" sz="1200" dirty="0" err="1" smtClean="0"/>
              <a:t>wtf</a:t>
            </a:r>
            <a:r>
              <a:rPr lang="pl-PL" sz="1200" dirty="0" smtClean="0"/>
              <a:t> =&gt; </a:t>
            </a:r>
            <a:r>
              <a:rPr lang="pl-PL" sz="1200" dirty="0" err="1" smtClean="0"/>
              <a:t>sender</a:t>
            </a:r>
            <a:r>
              <a:rPr lang="pl-PL" sz="1200" dirty="0" smtClean="0"/>
              <a:t> ! „Nie rozumiem”</a:t>
            </a:r>
          </a:p>
          <a:p>
            <a:r>
              <a:rPr lang="pl-PL" sz="1200" dirty="0" smtClean="0"/>
              <a:t>}</a:t>
            </a:r>
            <a:endParaRPr lang="pl-PL" sz="1200" dirty="0"/>
          </a:p>
        </p:txBody>
      </p:sp>
      <p:sp>
        <p:nvSpPr>
          <p:cNvPr id="20" name="Rectangle 19"/>
          <p:cNvSpPr/>
          <p:nvPr/>
        </p:nvSpPr>
        <p:spPr>
          <a:xfrm>
            <a:off x="7313853" y="3194569"/>
            <a:ext cx="547560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smtClean="0"/>
              <a:t>Idziemy pić</a:t>
            </a:r>
            <a:endParaRPr lang="pl-PL" sz="800" dirty="0"/>
          </a:p>
        </p:txBody>
      </p:sp>
      <p:cxnSp>
        <p:nvCxnSpPr>
          <p:cNvPr id="3" name="Straight Arrow Connector 2"/>
          <p:cNvCxnSpPr>
            <a:stCxn id="30" idx="3"/>
            <a:endCxn id="20" idx="1"/>
          </p:cNvCxnSpPr>
          <p:nvPr/>
        </p:nvCxnSpPr>
        <p:spPr>
          <a:xfrm>
            <a:off x="7057155" y="3372914"/>
            <a:ext cx="256698" cy="25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6453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/>
          <p:cNvSpPr/>
          <p:nvPr/>
        </p:nvSpPr>
        <p:spPr>
          <a:xfrm>
            <a:off x="2615373" y="1395536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5" name="Title 6"/>
          <p:cNvSpPr txBox="1">
            <a:spLocks/>
          </p:cNvSpPr>
          <p:nvPr/>
        </p:nvSpPr>
        <p:spPr>
          <a:xfrm>
            <a:off x="3019414" y="1517538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Thread0</a:t>
            </a:r>
            <a:endParaRPr lang="pl-PL" sz="1600" dirty="0"/>
          </a:p>
        </p:txBody>
      </p:sp>
      <p:sp>
        <p:nvSpPr>
          <p:cNvPr id="11" name="Oval 10"/>
          <p:cNvSpPr/>
          <p:nvPr/>
        </p:nvSpPr>
        <p:spPr>
          <a:xfrm>
            <a:off x="6909812" y="1360517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394056" y="1906730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6394057" y="1931006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Ferdek Kiepski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5276007" y="2424621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5276008" y="2075182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7313853" y="1482519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Thread1</a:t>
            </a:r>
            <a:endParaRPr lang="pl-PL" sz="1600" dirty="0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6415128" y="2869162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sp>
        <p:nvSpPr>
          <p:cNvPr id="18" name="Rectangle 17"/>
          <p:cNvSpPr/>
          <p:nvPr/>
        </p:nvSpPr>
        <p:spPr>
          <a:xfrm>
            <a:off x="2140447" y="1914519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1" name="Title 6"/>
          <p:cNvSpPr txBox="1">
            <a:spLocks/>
          </p:cNvSpPr>
          <p:nvPr/>
        </p:nvSpPr>
        <p:spPr>
          <a:xfrm>
            <a:off x="2140448" y="1914519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Rysiek z klanu</a:t>
            </a:r>
            <a:endParaRPr lang="pl-PL" dirty="0"/>
          </a:p>
        </p:txBody>
      </p:sp>
      <p:sp>
        <p:nvSpPr>
          <p:cNvPr id="26" name="Rectangle 25"/>
          <p:cNvSpPr/>
          <p:nvPr/>
        </p:nvSpPr>
        <p:spPr>
          <a:xfrm>
            <a:off x="1027903" y="2450028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9" name="Title 6"/>
          <p:cNvSpPr txBox="1">
            <a:spLocks/>
          </p:cNvSpPr>
          <p:nvPr/>
        </p:nvSpPr>
        <p:spPr>
          <a:xfrm>
            <a:off x="2205965" y="2903761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cxnSp>
        <p:nvCxnSpPr>
          <p:cNvPr id="5" name="Elbow Connector 4"/>
          <p:cNvCxnSpPr>
            <a:stCxn id="4" idx="2"/>
            <a:endCxn id="26" idx="1"/>
          </p:cNvCxnSpPr>
          <p:nvPr/>
        </p:nvCxnSpPr>
        <p:spPr>
          <a:xfrm rot="5400000" flipH="1">
            <a:off x="3419894" y="247525"/>
            <a:ext cx="1379235" cy="6163218"/>
          </a:xfrm>
          <a:prstGeom prst="bentConnector4">
            <a:avLst>
              <a:gd name="adj1" fmla="val -16574"/>
              <a:gd name="adj2" fmla="val 10370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1591536" y="2459118"/>
            <a:ext cx="547560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smtClean="0"/>
              <a:t>Idziemy pić</a:t>
            </a:r>
            <a:endParaRPr lang="pl-PL" sz="800" dirty="0"/>
          </a:p>
        </p:txBody>
      </p:sp>
    </p:spTree>
    <p:extLst>
      <p:ext uri="{BB962C8B-B14F-4D97-AF65-F5344CB8AC3E}">
        <p14:creationId xmlns:p14="http://schemas.microsoft.com/office/powerpoint/2010/main" val="971249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/>
          <p:cNvSpPr/>
          <p:nvPr/>
        </p:nvSpPr>
        <p:spPr>
          <a:xfrm>
            <a:off x="2615373" y="1395536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5" name="Title 6"/>
          <p:cNvSpPr txBox="1">
            <a:spLocks/>
          </p:cNvSpPr>
          <p:nvPr/>
        </p:nvSpPr>
        <p:spPr>
          <a:xfrm>
            <a:off x="3019414" y="1517538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Thread0</a:t>
            </a:r>
            <a:endParaRPr lang="pl-PL" sz="1600" dirty="0"/>
          </a:p>
        </p:txBody>
      </p:sp>
      <p:sp>
        <p:nvSpPr>
          <p:cNvPr id="11" name="Oval 10"/>
          <p:cNvSpPr/>
          <p:nvPr/>
        </p:nvSpPr>
        <p:spPr>
          <a:xfrm>
            <a:off x="6909812" y="1360517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394056" y="1906730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6394057" y="1931006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Ferdek Kiepski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5276007" y="2424621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5276008" y="2075182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7313853" y="1482519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Thread1</a:t>
            </a:r>
            <a:endParaRPr lang="pl-PL" sz="1600" dirty="0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6415128" y="2869162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sp>
        <p:nvSpPr>
          <p:cNvPr id="18" name="Rectangle 17"/>
          <p:cNvSpPr/>
          <p:nvPr/>
        </p:nvSpPr>
        <p:spPr>
          <a:xfrm>
            <a:off x="2140447" y="1914519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1" name="Title 6"/>
          <p:cNvSpPr txBox="1">
            <a:spLocks/>
          </p:cNvSpPr>
          <p:nvPr/>
        </p:nvSpPr>
        <p:spPr>
          <a:xfrm>
            <a:off x="2140448" y="1914519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fontScale="92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Rysiek z klanu</a:t>
            </a:r>
            <a:endParaRPr lang="pl-PL" dirty="0"/>
          </a:p>
        </p:txBody>
      </p:sp>
      <p:sp>
        <p:nvSpPr>
          <p:cNvPr id="26" name="Rectangle 25"/>
          <p:cNvSpPr/>
          <p:nvPr/>
        </p:nvSpPr>
        <p:spPr>
          <a:xfrm>
            <a:off x="1027903" y="2450028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9" name="Title 6"/>
          <p:cNvSpPr txBox="1">
            <a:spLocks/>
          </p:cNvSpPr>
          <p:nvPr/>
        </p:nvSpPr>
        <p:spPr>
          <a:xfrm>
            <a:off x="2205965" y="2903761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sp>
        <p:nvSpPr>
          <p:cNvPr id="24" name="Rectangle 23"/>
          <p:cNvSpPr/>
          <p:nvPr/>
        </p:nvSpPr>
        <p:spPr>
          <a:xfrm>
            <a:off x="2663732" y="3290756"/>
            <a:ext cx="547560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smtClean="0"/>
              <a:t>Idziemy pić</a:t>
            </a:r>
            <a:endParaRPr lang="pl-PL" sz="800" dirty="0"/>
          </a:p>
        </p:txBody>
      </p:sp>
    </p:spTree>
    <p:extLst>
      <p:ext uri="{BB962C8B-B14F-4D97-AF65-F5344CB8AC3E}">
        <p14:creationId xmlns:p14="http://schemas.microsoft.com/office/powerpoint/2010/main" val="1512585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/>
        </p:nvSpPr>
        <p:spPr>
          <a:xfrm>
            <a:off x="2856647" y="117440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340891" y="172061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2340892" y="172061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Actor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1222842" y="223850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1222843" y="188906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3260688" y="129640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15" name="Rectangle 14"/>
          <p:cNvSpPr/>
          <p:nvPr/>
        </p:nvSpPr>
        <p:spPr>
          <a:xfrm>
            <a:off x="2465531" y="2196453"/>
            <a:ext cx="867197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endParaRPr lang="pl-PL" dirty="0"/>
          </a:p>
        </p:txBody>
      </p:sp>
      <p:sp>
        <p:nvSpPr>
          <p:cNvPr id="12" name="Rectangle 11"/>
          <p:cNvSpPr/>
          <p:nvPr/>
        </p:nvSpPr>
        <p:spPr>
          <a:xfrm>
            <a:off x="1863239" y="2247597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Sub</a:t>
            </a:r>
            <a:endParaRPr lang="pl-PL" sz="800" dirty="0"/>
          </a:p>
          <a:p>
            <a:pPr algn="ctr"/>
            <a:r>
              <a:rPr lang="pl-PL" sz="800" dirty="0" smtClean="0"/>
              <a:t>5</a:t>
            </a:r>
            <a:endParaRPr lang="pl-PL" sz="800" dirty="0"/>
          </a:p>
        </p:txBody>
      </p:sp>
      <p:sp>
        <p:nvSpPr>
          <p:cNvPr id="16" name="Rectangle 15"/>
          <p:cNvSpPr/>
          <p:nvPr/>
        </p:nvSpPr>
        <p:spPr>
          <a:xfrm>
            <a:off x="1373108" y="2247596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Add</a:t>
            </a:r>
            <a:endParaRPr lang="pl-PL" sz="800" dirty="0" smtClean="0"/>
          </a:p>
          <a:p>
            <a:pPr algn="ctr"/>
            <a:r>
              <a:rPr lang="pl-PL" sz="800" dirty="0"/>
              <a:t>2</a:t>
            </a:r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2417258" y="303008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3260688" y="3261036"/>
            <a:ext cx="1288769" cy="1108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0905" y="2822525"/>
            <a:ext cx="4594543" cy="2069775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37461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/>
        </p:nvSpPr>
        <p:spPr>
          <a:xfrm>
            <a:off x="5834516" y="1579003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318760" y="2125216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5318761" y="2125216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Actor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4200711" y="2643107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4200712" y="2293668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6238557" y="1701005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15" name="Rectangle 14"/>
          <p:cNvSpPr/>
          <p:nvPr/>
        </p:nvSpPr>
        <p:spPr>
          <a:xfrm>
            <a:off x="5443400" y="2601054"/>
            <a:ext cx="867197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endParaRPr lang="pl-PL" dirty="0"/>
          </a:p>
        </p:txBody>
      </p:sp>
      <p:sp>
        <p:nvSpPr>
          <p:cNvPr id="12" name="Rectangle 11"/>
          <p:cNvSpPr/>
          <p:nvPr/>
        </p:nvSpPr>
        <p:spPr>
          <a:xfrm>
            <a:off x="4841108" y="2652198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Sub</a:t>
            </a:r>
            <a:endParaRPr lang="pl-PL" sz="800" dirty="0"/>
          </a:p>
          <a:p>
            <a:pPr algn="ctr"/>
            <a:r>
              <a:rPr lang="pl-PL" sz="800" dirty="0" smtClean="0"/>
              <a:t>5</a:t>
            </a:r>
            <a:endParaRPr lang="pl-PL" sz="800" dirty="0"/>
          </a:p>
        </p:txBody>
      </p:sp>
      <p:sp>
        <p:nvSpPr>
          <p:cNvPr id="16" name="Rectangle 15"/>
          <p:cNvSpPr/>
          <p:nvPr/>
        </p:nvSpPr>
        <p:spPr>
          <a:xfrm>
            <a:off x="4350977" y="2652197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Add</a:t>
            </a:r>
            <a:endParaRPr lang="pl-PL" sz="800" dirty="0" smtClean="0"/>
          </a:p>
          <a:p>
            <a:pPr algn="ctr"/>
            <a:r>
              <a:rPr lang="pl-PL" sz="800" dirty="0"/>
              <a:t>2</a:t>
            </a:r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5395127" y="3434686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sp>
        <p:nvSpPr>
          <p:cNvPr id="18" name="Oval 17"/>
          <p:cNvSpPr/>
          <p:nvPr/>
        </p:nvSpPr>
        <p:spPr>
          <a:xfrm>
            <a:off x="1584949" y="1112947"/>
            <a:ext cx="614035" cy="614035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9" name="Title 6"/>
          <p:cNvSpPr txBox="1">
            <a:spLocks/>
          </p:cNvSpPr>
          <p:nvPr/>
        </p:nvSpPr>
        <p:spPr>
          <a:xfrm>
            <a:off x="1584949" y="1293281"/>
            <a:ext cx="60751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1200" dirty="0" err="1" smtClean="0"/>
              <a:t>Thread</a:t>
            </a:r>
            <a:endParaRPr lang="pl-PL" sz="1200" dirty="0" smtClean="0"/>
          </a:p>
          <a:p>
            <a:pPr algn="ctr"/>
            <a:r>
              <a:rPr lang="pl-PL" sz="1200" dirty="0" smtClean="0"/>
              <a:t>0</a:t>
            </a:r>
            <a:endParaRPr lang="pl-PL" sz="1200" dirty="0"/>
          </a:p>
        </p:txBody>
      </p:sp>
      <p:sp>
        <p:nvSpPr>
          <p:cNvPr id="21" name="Oval 20"/>
          <p:cNvSpPr/>
          <p:nvPr/>
        </p:nvSpPr>
        <p:spPr>
          <a:xfrm>
            <a:off x="1389392" y="1986650"/>
            <a:ext cx="614035" cy="614035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1389392" y="2166984"/>
            <a:ext cx="60751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1200" dirty="0" err="1" smtClean="0"/>
              <a:t>Thread</a:t>
            </a:r>
            <a:endParaRPr lang="pl-PL" sz="1200" dirty="0" smtClean="0"/>
          </a:p>
          <a:p>
            <a:pPr algn="ctr"/>
            <a:r>
              <a:rPr lang="pl-PL" sz="1200" dirty="0"/>
              <a:t>1</a:t>
            </a:r>
          </a:p>
        </p:txBody>
      </p:sp>
      <p:sp>
        <p:nvSpPr>
          <p:cNvPr id="23" name="Oval 22"/>
          <p:cNvSpPr/>
          <p:nvPr/>
        </p:nvSpPr>
        <p:spPr>
          <a:xfrm>
            <a:off x="1996909" y="3773147"/>
            <a:ext cx="614035" cy="614035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5" name="Title 6"/>
          <p:cNvSpPr txBox="1">
            <a:spLocks/>
          </p:cNvSpPr>
          <p:nvPr/>
        </p:nvSpPr>
        <p:spPr>
          <a:xfrm>
            <a:off x="1996909" y="3953481"/>
            <a:ext cx="60751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1200" dirty="0" err="1" smtClean="0"/>
              <a:t>Thread</a:t>
            </a:r>
            <a:endParaRPr lang="pl-PL" sz="1200" dirty="0" smtClean="0"/>
          </a:p>
          <a:p>
            <a:pPr algn="ctr"/>
            <a:r>
              <a:rPr lang="pl-PL" sz="1200" dirty="0"/>
              <a:t>n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1747880" y="2725668"/>
            <a:ext cx="451104" cy="940024"/>
          </a:xfrm>
          <a:prstGeom prst="line">
            <a:avLst/>
          </a:prstGeom>
          <a:ln w="76200"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2425714" y="1585928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Add</a:t>
            </a:r>
            <a:endParaRPr lang="pl-PL" sz="800" dirty="0" smtClean="0"/>
          </a:p>
          <a:p>
            <a:pPr algn="ctr"/>
            <a:r>
              <a:rPr lang="pl-PL" sz="800" dirty="0"/>
              <a:t>2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235387" y="2297571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Add</a:t>
            </a:r>
            <a:endParaRPr lang="pl-PL" sz="800" dirty="0" smtClean="0"/>
          </a:p>
          <a:p>
            <a:pPr algn="ctr"/>
            <a:r>
              <a:rPr lang="pl-PL" sz="800" dirty="0" smtClean="0"/>
              <a:t>50</a:t>
            </a:r>
            <a:endParaRPr lang="pl-PL" sz="800" dirty="0"/>
          </a:p>
        </p:txBody>
      </p:sp>
      <p:sp>
        <p:nvSpPr>
          <p:cNvPr id="31" name="Rectangle 30"/>
          <p:cNvSpPr/>
          <p:nvPr/>
        </p:nvSpPr>
        <p:spPr>
          <a:xfrm>
            <a:off x="2695505" y="3411353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Sub</a:t>
            </a:r>
            <a:endParaRPr lang="pl-PL" sz="800" dirty="0" smtClean="0"/>
          </a:p>
          <a:p>
            <a:pPr algn="ctr"/>
            <a:r>
              <a:rPr lang="pl-PL" sz="800" dirty="0"/>
              <a:t>2</a:t>
            </a:r>
          </a:p>
        </p:txBody>
      </p:sp>
      <p:cxnSp>
        <p:nvCxnSpPr>
          <p:cNvPr id="33" name="Straight Connector 32"/>
          <p:cNvCxnSpPr>
            <a:stCxn id="18" idx="6"/>
          </p:cNvCxnSpPr>
          <p:nvPr/>
        </p:nvCxnSpPr>
        <p:spPr>
          <a:xfrm>
            <a:off x="2198984" y="1419965"/>
            <a:ext cx="226730" cy="1659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endCxn id="30" idx="1"/>
          </p:cNvCxnSpPr>
          <p:nvPr/>
        </p:nvCxnSpPr>
        <p:spPr>
          <a:xfrm>
            <a:off x="1888707" y="2341216"/>
            <a:ext cx="346680" cy="1372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23" idx="7"/>
          </p:cNvCxnSpPr>
          <p:nvPr/>
        </p:nvCxnSpPr>
        <p:spPr>
          <a:xfrm flipV="1">
            <a:off x="2521021" y="3771446"/>
            <a:ext cx="174484" cy="916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endCxn id="9" idx="1"/>
          </p:cNvCxnSpPr>
          <p:nvPr/>
        </p:nvCxnSpPr>
        <p:spPr>
          <a:xfrm>
            <a:off x="2885832" y="1917005"/>
            <a:ext cx="1314879" cy="9155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30" idx="3"/>
            <a:endCxn id="9" idx="1"/>
          </p:cNvCxnSpPr>
          <p:nvPr/>
        </p:nvCxnSpPr>
        <p:spPr>
          <a:xfrm>
            <a:off x="2695505" y="2478468"/>
            <a:ext cx="1505206" cy="3541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endCxn id="9" idx="1"/>
          </p:cNvCxnSpPr>
          <p:nvPr/>
        </p:nvCxnSpPr>
        <p:spPr>
          <a:xfrm flipV="1">
            <a:off x="3155623" y="2832595"/>
            <a:ext cx="1045088" cy="5495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8807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4255" y="1188085"/>
            <a:ext cx="4762500" cy="3600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93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/>
        </p:nvSpPr>
        <p:spPr>
          <a:xfrm>
            <a:off x="2856647" y="117440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340891" y="172061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2340892" y="172061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Actor</a:t>
            </a:r>
            <a:endParaRPr lang="pl-PL" dirty="0"/>
          </a:p>
        </p:txBody>
      </p:sp>
      <p:sp>
        <p:nvSpPr>
          <p:cNvPr id="9" name="Rectangle 8"/>
          <p:cNvSpPr/>
          <p:nvPr/>
        </p:nvSpPr>
        <p:spPr>
          <a:xfrm>
            <a:off x="1222842" y="223850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1222843" y="188906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3260688" y="129640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15" name="Rectangle 14"/>
          <p:cNvSpPr/>
          <p:nvPr/>
        </p:nvSpPr>
        <p:spPr>
          <a:xfrm>
            <a:off x="2465531" y="2196453"/>
            <a:ext cx="867197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endParaRPr lang="pl-PL" dirty="0"/>
          </a:p>
        </p:txBody>
      </p:sp>
      <p:sp>
        <p:nvSpPr>
          <p:cNvPr id="12" name="Rectangle 11"/>
          <p:cNvSpPr/>
          <p:nvPr/>
        </p:nvSpPr>
        <p:spPr>
          <a:xfrm>
            <a:off x="1863239" y="2247597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Sub</a:t>
            </a:r>
            <a:endParaRPr lang="pl-PL" sz="800" dirty="0"/>
          </a:p>
          <a:p>
            <a:pPr algn="ctr"/>
            <a:r>
              <a:rPr lang="pl-PL" sz="800" dirty="0" smtClean="0"/>
              <a:t>5</a:t>
            </a:r>
            <a:endParaRPr lang="pl-PL" sz="800" dirty="0"/>
          </a:p>
        </p:txBody>
      </p:sp>
      <p:sp>
        <p:nvSpPr>
          <p:cNvPr id="16" name="Rectangle 15"/>
          <p:cNvSpPr/>
          <p:nvPr/>
        </p:nvSpPr>
        <p:spPr>
          <a:xfrm>
            <a:off x="1373108" y="2247596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Add</a:t>
            </a:r>
            <a:endParaRPr lang="pl-PL" sz="800" dirty="0" smtClean="0"/>
          </a:p>
          <a:p>
            <a:pPr algn="ctr"/>
            <a:r>
              <a:rPr lang="pl-PL" sz="800" dirty="0"/>
              <a:t>2</a:t>
            </a:r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2417258" y="303008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receive</a:t>
            </a:r>
            <a:endParaRPr lang="pl-PL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3260688" y="3261036"/>
            <a:ext cx="1288769" cy="1108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4101" y="1141447"/>
            <a:ext cx="4809524" cy="3466667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96663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863600" y="1012151"/>
            <a:ext cx="8280400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dirty="0"/>
              <a:t>[INFO</a:t>
            </a:r>
            <a:r>
              <a:rPr lang="pl-PL" sz="1400" dirty="0" smtClean="0"/>
              <a:t>] [</a:t>
            </a:r>
            <a:r>
              <a:rPr lang="pl-PL" sz="1400" dirty="0"/>
              <a:t>akka://default/user/$a]</a:t>
            </a:r>
            <a:r>
              <a:rPr lang="pl-PL" sz="1400" dirty="0">
                <a:solidFill>
                  <a:srgbClr val="FF0000"/>
                </a:solidFill>
              </a:rPr>
              <a:t> </a:t>
            </a:r>
            <a:r>
              <a:rPr lang="pl-PL" sz="1400" dirty="0" err="1">
                <a:solidFill>
                  <a:srgbClr val="FF0000"/>
                </a:solidFill>
              </a:rPr>
              <a:t>State</a:t>
            </a:r>
            <a:r>
              <a:rPr lang="pl-PL" sz="1400" dirty="0">
                <a:solidFill>
                  <a:srgbClr val="FF0000"/>
                </a:solidFill>
              </a:rPr>
              <a:t>: 100</a:t>
            </a:r>
          </a:p>
          <a:p>
            <a:r>
              <a:rPr lang="pl-PL" sz="1400" dirty="0"/>
              <a:t>[</a:t>
            </a:r>
            <a:r>
              <a:rPr lang="pl-PL" sz="1400" dirty="0" smtClean="0"/>
              <a:t>ERROR] </a:t>
            </a:r>
            <a:r>
              <a:rPr lang="pl-PL" sz="1400" dirty="0"/>
              <a:t>[akka://default/user/$a] / by zero</a:t>
            </a:r>
          </a:p>
          <a:p>
            <a:r>
              <a:rPr lang="pl-PL" sz="1400" dirty="0" err="1"/>
              <a:t>java.lang.ArithmeticException</a:t>
            </a:r>
            <a:r>
              <a:rPr lang="pl-PL" sz="1400" dirty="0"/>
              <a:t>: / by zero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ShortTermMemoryActor</a:t>
            </a:r>
            <a:r>
              <a:rPr lang="pl-PL" sz="1400" dirty="0"/>
              <a:t>$$anonfun$receive$1.applyOrElse(ShortTermMemoryActor.scala:15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akka.actor.Actor$class.aroundReceive</a:t>
            </a:r>
            <a:r>
              <a:rPr lang="pl-PL" sz="1400" dirty="0"/>
              <a:t>(Actor.scala:484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ShortTermMemoryActor.aroundReceive</a:t>
            </a:r>
            <a:r>
              <a:rPr lang="pl-PL" sz="1400" dirty="0"/>
              <a:t>(ShortTermMemoryActor.scala:8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akka.actor.ActorCell.receiveMessage</a:t>
            </a:r>
            <a:r>
              <a:rPr lang="pl-PL" sz="1400" dirty="0"/>
              <a:t>(ActorCell.scala:526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akka.actor.ActorCell.invoke</a:t>
            </a:r>
            <a:r>
              <a:rPr lang="pl-PL" sz="1400" dirty="0"/>
              <a:t>(ActorCell.scala:495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akka.dispatch.Mailbox.processMailbox</a:t>
            </a:r>
            <a:r>
              <a:rPr lang="pl-PL" sz="1400" dirty="0"/>
              <a:t>(Mailbox.scala:257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akka.dispatch.Mailbox.run</a:t>
            </a:r>
            <a:r>
              <a:rPr lang="pl-PL" sz="1400" dirty="0"/>
              <a:t>(Mailbox.scala:224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akka.dispatch.Mailbox.exec</a:t>
            </a:r>
            <a:r>
              <a:rPr lang="pl-PL" sz="1400" dirty="0"/>
              <a:t>(Mailbox.scala:234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scala.concurrent.forkjoin.ForkJoinTask.doExec</a:t>
            </a:r>
            <a:r>
              <a:rPr lang="pl-PL" sz="1400" dirty="0"/>
              <a:t>(ForkJoinTask.java:260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scala.concurrent.forkjoin.ForkJoinPool$WorkQueue.runTask</a:t>
            </a:r>
            <a:r>
              <a:rPr lang="pl-PL" sz="1400" dirty="0"/>
              <a:t>(ForkJoinPool.java:1339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scala.concurrent.forkjoin.ForkJoinPool.runWorker</a:t>
            </a:r>
            <a:r>
              <a:rPr lang="pl-PL" sz="1400" dirty="0"/>
              <a:t>(ForkJoinPool.java:1979)</a:t>
            </a:r>
          </a:p>
          <a:p>
            <a:r>
              <a:rPr lang="pl-PL" sz="1400" dirty="0"/>
              <a:t>	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scala.concurrent.forkjoin.ForkJoinWorkerThread.run</a:t>
            </a:r>
            <a:r>
              <a:rPr lang="pl-PL" sz="1400" dirty="0"/>
              <a:t>(ForkJoinWorkerThread.java:107)</a:t>
            </a:r>
          </a:p>
          <a:p>
            <a:endParaRPr lang="pl-PL" sz="1400" dirty="0"/>
          </a:p>
          <a:p>
            <a:r>
              <a:rPr lang="pl-PL" sz="1400" dirty="0"/>
              <a:t>[INFO</a:t>
            </a:r>
            <a:r>
              <a:rPr lang="pl-PL" sz="1400" dirty="0" smtClean="0"/>
              <a:t>] </a:t>
            </a:r>
            <a:r>
              <a:rPr lang="pl-PL" sz="1400" dirty="0"/>
              <a:t>[akka://default/user/$a] </a:t>
            </a:r>
            <a:r>
              <a:rPr lang="pl-PL" sz="1400" dirty="0" err="1">
                <a:solidFill>
                  <a:srgbClr val="FF0000"/>
                </a:solidFill>
              </a:rPr>
              <a:t>State</a:t>
            </a:r>
            <a:r>
              <a:rPr lang="pl-PL" sz="1400" dirty="0">
                <a:solidFill>
                  <a:srgbClr val="FF0000"/>
                </a:solidFill>
              </a:rPr>
              <a:t>: 0</a:t>
            </a:r>
          </a:p>
        </p:txBody>
      </p:sp>
    </p:spTree>
    <p:extLst>
      <p:ext uri="{BB962C8B-B14F-4D97-AF65-F5344CB8AC3E}">
        <p14:creationId xmlns:p14="http://schemas.microsoft.com/office/powerpoint/2010/main" val="1534124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705785" y="938676"/>
            <a:ext cx="2150287" cy="415507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/>
              <a:t>Komunikacja z kartą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7</a:t>
            </a:fld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76" y="1008243"/>
            <a:ext cx="5097983" cy="395603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557517" y="2310259"/>
            <a:ext cx="3956034" cy="1513842"/>
          </a:xfrm>
          <a:prstGeom prst="rect">
            <a:avLst/>
          </a:prstGeom>
        </p:spPr>
      </p:pic>
      <p:cxnSp>
        <p:nvCxnSpPr>
          <p:cNvPr id="11" name="Elbow Connector 10"/>
          <p:cNvCxnSpPr>
            <a:endCxn id="6" idx="1"/>
          </p:cNvCxnSpPr>
          <p:nvPr/>
        </p:nvCxnSpPr>
        <p:spPr>
          <a:xfrm flipV="1">
            <a:off x="3609048" y="3016213"/>
            <a:ext cx="3096737" cy="1562209"/>
          </a:xfrm>
          <a:prstGeom prst="bentConnector3">
            <a:avLst>
              <a:gd name="adj1" fmla="val 75086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8341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4625" y="10160"/>
            <a:ext cx="3860874" cy="5109381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sp>
        <p:nvSpPr>
          <p:cNvPr id="18" name="Oval 17"/>
          <p:cNvSpPr/>
          <p:nvPr/>
        </p:nvSpPr>
        <p:spPr>
          <a:xfrm>
            <a:off x="2856647" y="117440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2340891" y="172061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2340892" y="172061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1222842" y="223850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1222843" y="188906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3260688" y="129640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2465531" y="2196453"/>
            <a:ext cx="867197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endParaRPr lang="pl-PL" dirty="0"/>
          </a:p>
        </p:txBody>
      </p:sp>
      <p:sp>
        <p:nvSpPr>
          <p:cNvPr id="26" name="Rectangle 25"/>
          <p:cNvSpPr/>
          <p:nvPr/>
        </p:nvSpPr>
        <p:spPr>
          <a:xfrm>
            <a:off x="1863239" y="2247597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Sub</a:t>
            </a:r>
            <a:endParaRPr lang="pl-PL" sz="800" dirty="0"/>
          </a:p>
          <a:p>
            <a:pPr algn="ctr"/>
            <a:r>
              <a:rPr lang="pl-PL" sz="800" dirty="0" smtClean="0"/>
              <a:t>5</a:t>
            </a:r>
            <a:endParaRPr lang="pl-PL" sz="800" dirty="0"/>
          </a:p>
        </p:txBody>
      </p:sp>
      <p:sp>
        <p:nvSpPr>
          <p:cNvPr id="27" name="Rectangle 26"/>
          <p:cNvSpPr/>
          <p:nvPr/>
        </p:nvSpPr>
        <p:spPr>
          <a:xfrm>
            <a:off x="1373108" y="2247596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Add</a:t>
            </a:r>
            <a:endParaRPr lang="pl-PL" sz="800" dirty="0" smtClean="0"/>
          </a:p>
          <a:p>
            <a:pPr algn="ctr"/>
            <a:r>
              <a:rPr lang="pl-PL" sz="800" dirty="0"/>
              <a:t>2</a:t>
            </a:r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2417258" y="303008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receiveCommand</a:t>
            </a:r>
            <a:endParaRPr lang="pl-PL" sz="1400" dirty="0"/>
          </a:p>
        </p:txBody>
      </p:sp>
      <p:cxnSp>
        <p:nvCxnSpPr>
          <p:cNvPr id="29" name="Straight Connector 28"/>
          <p:cNvCxnSpPr>
            <a:stCxn id="28" idx="3"/>
          </p:cNvCxnSpPr>
          <p:nvPr/>
        </p:nvCxnSpPr>
        <p:spPr>
          <a:xfrm flipV="1">
            <a:off x="3758346" y="3059042"/>
            <a:ext cx="1039604" cy="1870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520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863600" y="1642071"/>
            <a:ext cx="828040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200" dirty="0"/>
              <a:t>[INFO] </a:t>
            </a:r>
            <a:r>
              <a:rPr lang="pl-PL" sz="1200" dirty="0" smtClean="0"/>
              <a:t>[</a:t>
            </a:r>
            <a:r>
              <a:rPr lang="pl-PL" sz="1200" dirty="0"/>
              <a:t>akka://default/user/$a] </a:t>
            </a:r>
            <a:r>
              <a:rPr lang="pl-PL" sz="1200" dirty="0" err="1">
                <a:solidFill>
                  <a:srgbClr val="FF0000"/>
                </a:solidFill>
              </a:rPr>
              <a:t>State</a:t>
            </a:r>
            <a:r>
              <a:rPr lang="pl-PL" sz="1200" dirty="0">
                <a:solidFill>
                  <a:srgbClr val="FF0000"/>
                </a:solidFill>
              </a:rPr>
              <a:t>: 6</a:t>
            </a:r>
          </a:p>
          <a:p>
            <a:r>
              <a:rPr lang="pl-PL" sz="1200" dirty="0"/>
              <a:t>[ERROR] </a:t>
            </a:r>
            <a:r>
              <a:rPr lang="pl-PL" sz="1200" dirty="0" smtClean="0"/>
              <a:t>[</a:t>
            </a:r>
            <a:r>
              <a:rPr lang="pl-PL" sz="1200" dirty="0"/>
              <a:t>akka://default/user/$a] </a:t>
            </a:r>
            <a:r>
              <a:rPr lang="pl-PL" sz="1200" dirty="0" err="1"/>
              <a:t>division</a:t>
            </a:r>
            <a:r>
              <a:rPr lang="pl-PL" sz="1200" dirty="0"/>
              <a:t> by 0</a:t>
            </a:r>
          </a:p>
          <a:p>
            <a:r>
              <a:rPr lang="pl-PL" sz="1200" dirty="0" err="1"/>
              <a:t>java.lang.ArithmeticException</a:t>
            </a:r>
            <a:r>
              <a:rPr lang="pl-PL" sz="1200" dirty="0"/>
              <a:t>: </a:t>
            </a:r>
            <a:r>
              <a:rPr lang="pl-PL" sz="1200" dirty="0" err="1"/>
              <a:t>division</a:t>
            </a:r>
            <a:r>
              <a:rPr lang="pl-PL" sz="1200" dirty="0"/>
              <a:t> by 0</a:t>
            </a:r>
          </a:p>
          <a:p>
            <a:r>
              <a:rPr lang="pl-PL" sz="1200" dirty="0"/>
              <a:t>	</a:t>
            </a:r>
            <a:r>
              <a:rPr lang="pl-PL" sz="1200" dirty="0" err="1"/>
              <a:t>at</a:t>
            </a:r>
            <a:r>
              <a:rPr lang="pl-PL" sz="1200" dirty="0"/>
              <a:t> </a:t>
            </a:r>
            <a:r>
              <a:rPr lang="pl-PL" sz="1200" dirty="0" err="1"/>
              <a:t>LongTermMemoryActor</a:t>
            </a:r>
            <a:r>
              <a:rPr lang="pl-PL" sz="1200" dirty="0"/>
              <a:t>$$anonfun$receiveCommand$1.applyOrElse(LongTermMemoryActor.scala:26)</a:t>
            </a:r>
          </a:p>
          <a:p>
            <a:r>
              <a:rPr lang="pl-PL" sz="1200" dirty="0"/>
              <a:t>	</a:t>
            </a:r>
            <a:r>
              <a:rPr lang="pl-PL" sz="1200" dirty="0" err="1"/>
              <a:t>at</a:t>
            </a:r>
            <a:r>
              <a:rPr lang="pl-PL" sz="1200" dirty="0"/>
              <a:t> </a:t>
            </a:r>
            <a:r>
              <a:rPr lang="pl-PL" sz="1200" dirty="0" err="1"/>
              <a:t>akka.actor.Actor$class.aroundReceive</a:t>
            </a:r>
            <a:r>
              <a:rPr lang="pl-PL" sz="1200" dirty="0"/>
              <a:t>(Actor.scala:484</a:t>
            </a:r>
            <a:r>
              <a:rPr lang="pl-PL" sz="1200" dirty="0" smtClean="0"/>
              <a:t>) </a:t>
            </a:r>
            <a:r>
              <a:rPr lang="pl-PL" sz="1200" dirty="0"/>
              <a:t>	</a:t>
            </a:r>
            <a:endParaRPr lang="pl-PL" sz="1200" dirty="0" smtClean="0"/>
          </a:p>
          <a:p>
            <a:r>
              <a:rPr lang="pl-PL" sz="1200" dirty="0"/>
              <a:t>	</a:t>
            </a:r>
            <a:r>
              <a:rPr lang="pl-PL" sz="1200" dirty="0" err="1" smtClean="0"/>
              <a:t>at</a:t>
            </a:r>
            <a:r>
              <a:rPr lang="pl-PL" sz="1200" dirty="0" smtClean="0"/>
              <a:t> </a:t>
            </a:r>
            <a:r>
              <a:rPr lang="pl-PL" sz="1200" dirty="0" err="1"/>
              <a:t>akka.persistence.Eventsourced</a:t>
            </a:r>
            <a:r>
              <a:rPr lang="pl-PL" sz="1200" dirty="0"/>
              <a:t>$$anon$1.stateReceive(Eventsourced.scala:662)</a:t>
            </a:r>
          </a:p>
          <a:p>
            <a:r>
              <a:rPr lang="pl-PL" sz="1200" dirty="0"/>
              <a:t>	</a:t>
            </a:r>
            <a:r>
              <a:rPr lang="pl-PL" sz="1200" dirty="0" err="1"/>
              <a:t>at</a:t>
            </a:r>
            <a:r>
              <a:rPr lang="pl-PL" sz="1200" dirty="0"/>
              <a:t> </a:t>
            </a:r>
            <a:r>
              <a:rPr lang="pl-PL" sz="1200" dirty="0" err="1"/>
              <a:t>akka.persistence.Eventsourced$class.aroundReceive</a:t>
            </a:r>
            <a:r>
              <a:rPr lang="pl-PL" sz="1200" dirty="0"/>
              <a:t>(Eventsourced.scala:183)</a:t>
            </a:r>
          </a:p>
          <a:p>
            <a:r>
              <a:rPr lang="pl-PL" sz="1200" dirty="0"/>
              <a:t>	</a:t>
            </a:r>
            <a:r>
              <a:rPr lang="pl-PL" sz="1200" dirty="0" err="1"/>
              <a:t>at</a:t>
            </a:r>
            <a:r>
              <a:rPr lang="pl-PL" sz="1200" dirty="0"/>
              <a:t> </a:t>
            </a:r>
            <a:r>
              <a:rPr lang="pl-PL" sz="1200" dirty="0" err="1"/>
              <a:t>LongTermMemoryActor.aroundReceive</a:t>
            </a:r>
            <a:r>
              <a:rPr lang="pl-PL" sz="1200" dirty="0"/>
              <a:t>(LongTermMemoryActor.scala:11</a:t>
            </a:r>
            <a:r>
              <a:rPr lang="pl-PL" sz="1200" dirty="0" smtClean="0"/>
              <a:t>)</a:t>
            </a:r>
          </a:p>
          <a:p>
            <a:r>
              <a:rPr lang="pl-PL" sz="1200" dirty="0" smtClean="0"/>
              <a:t>	….</a:t>
            </a:r>
            <a:r>
              <a:rPr lang="pl-PL" sz="1200" dirty="0"/>
              <a:t>	</a:t>
            </a:r>
          </a:p>
          <a:p>
            <a:r>
              <a:rPr lang="pl-PL" sz="1200" dirty="0"/>
              <a:t>[</a:t>
            </a:r>
            <a:r>
              <a:rPr lang="pl-PL" sz="1200" dirty="0" smtClean="0"/>
              <a:t>INFO [</a:t>
            </a:r>
            <a:r>
              <a:rPr lang="pl-PL" sz="1200" dirty="0"/>
              <a:t>akka://default/user/$a] </a:t>
            </a:r>
            <a:r>
              <a:rPr lang="pl-PL" sz="1200" dirty="0" err="1">
                <a:solidFill>
                  <a:srgbClr val="FF0000"/>
                </a:solidFill>
              </a:rPr>
              <a:t>State</a:t>
            </a:r>
            <a:r>
              <a:rPr lang="pl-PL" sz="1200" dirty="0">
                <a:solidFill>
                  <a:srgbClr val="FF0000"/>
                </a:solidFill>
              </a:rPr>
              <a:t>: 6</a:t>
            </a:r>
          </a:p>
          <a:p>
            <a:r>
              <a:rPr lang="pl-PL" sz="1200" dirty="0"/>
              <a:t>[INFO] </a:t>
            </a:r>
            <a:r>
              <a:rPr lang="pl-PL" sz="1200" dirty="0" smtClean="0"/>
              <a:t>[</a:t>
            </a:r>
            <a:r>
              <a:rPr lang="pl-PL" sz="1200" dirty="0"/>
              <a:t>akka://default/user/$a] </a:t>
            </a:r>
            <a:r>
              <a:rPr lang="pl-PL" sz="1200" dirty="0" err="1">
                <a:solidFill>
                  <a:srgbClr val="FF0000"/>
                </a:solidFill>
              </a:rPr>
              <a:t>State</a:t>
            </a:r>
            <a:r>
              <a:rPr lang="pl-PL" sz="1200" dirty="0">
                <a:solidFill>
                  <a:srgbClr val="FF0000"/>
                </a:solidFill>
              </a:rPr>
              <a:t>: 16</a:t>
            </a:r>
          </a:p>
        </p:txBody>
      </p:sp>
    </p:spTree>
    <p:extLst>
      <p:ext uri="{BB962C8B-B14F-4D97-AF65-F5344CB8AC3E}">
        <p14:creationId xmlns:p14="http://schemas.microsoft.com/office/powerpoint/2010/main" val="1224558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110789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0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8" y="319264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receiveCommand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30688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110789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0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8" y="319264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receiveCommand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14" name="Rectangle 13"/>
          <p:cNvSpPr/>
          <p:nvPr/>
        </p:nvSpPr>
        <p:spPr>
          <a:xfrm>
            <a:off x="2943571" y="2411226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Add</a:t>
            </a:r>
            <a:endParaRPr lang="pl-PL" sz="800" dirty="0"/>
          </a:p>
          <a:p>
            <a:pPr algn="ctr"/>
            <a:r>
              <a:rPr lang="pl-PL" sz="80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838583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110789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0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8" y="319264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receiveCommand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14" name="Rectangle 13"/>
          <p:cNvSpPr/>
          <p:nvPr/>
        </p:nvSpPr>
        <p:spPr>
          <a:xfrm>
            <a:off x="3867826" y="3499345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Add</a:t>
            </a:r>
            <a:endParaRPr lang="pl-PL" sz="800" dirty="0"/>
          </a:p>
          <a:p>
            <a:pPr algn="ctr"/>
            <a:r>
              <a:rPr lang="pl-PL" sz="800" dirty="0"/>
              <a:t>6</a:t>
            </a:r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cxnSp>
        <p:nvCxnSpPr>
          <p:cNvPr id="5" name="Elbow Connector 4"/>
          <p:cNvCxnSpPr>
            <a:stCxn id="14" idx="3"/>
            <a:endCxn id="2" idx="1"/>
          </p:cNvCxnSpPr>
          <p:nvPr/>
        </p:nvCxnSpPr>
        <p:spPr>
          <a:xfrm>
            <a:off x="4327944" y="3680242"/>
            <a:ext cx="2682456" cy="72399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810868" y="3176179"/>
            <a:ext cx="2430308" cy="646331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pl-PL" dirty="0" err="1"/>
              <a:t>case</a:t>
            </a:r>
            <a:r>
              <a:rPr lang="pl-PL" dirty="0"/>
              <a:t> </a:t>
            </a:r>
            <a:r>
              <a:rPr lang="pl-PL" dirty="0" err="1"/>
              <a:t>AddCmd</a:t>
            </a:r>
            <a:r>
              <a:rPr lang="pl-PL" dirty="0"/>
              <a:t>(i) =&gt;</a:t>
            </a:r>
          </a:p>
          <a:p>
            <a:r>
              <a:rPr lang="pl-PL" dirty="0"/>
              <a:t>      </a:t>
            </a:r>
            <a:r>
              <a:rPr lang="pl-PL" dirty="0" err="1"/>
              <a:t>persist</a:t>
            </a:r>
            <a:r>
              <a:rPr lang="pl-PL" dirty="0"/>
              <a:t>(</a:t>
            </a:r>
            <a:r>
              <a:rPr lang="pl-PL" dirty="0" err="1"/>
              <a:t>AddEvt</a:t>
            </a:r>
            <a:r>
              <a:rPr lang="pl-PL" dirty="0"/>
              <a:t>(i)) </a:t>
            </a:r>
          </a:p>
        </p:txBody>
      </p:sp>
      <p:cxnSp>
        <p:nvCxnSpPr>
          <p:cNvPr id="10" name="Straight Connector 9"/>
          <p:cNvCxnSpPr>
            <a:endCxn id="8" idx="3"/>
          </p:cNvCxnSpPr>
          <p:nvPr/>
        </p:nvCxnSpPr>
        <p:spPr>
          <a:xfrm flipH="1">
            <a:off x="3241176" y="3413760"/>
            <a:ext cx="253042" cy="855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6710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110789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6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8" y="319264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receiveCommand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cxnSp>
        <p:nvCxnSpPr>
          <p:cNvPr id="8" name="Elbow Connector 7"/>
          <p:cNvCxnSpPr>
            <a:stCxn id="2" idx="1"/>
          </p:cNvCxnSpPr>
          <p:nvPr/>
        </p:nvCxnSpPr>
        <p:spPr>
          <a:xfrm rot="10800000">
            <a:off x="4165600" y="3624645"/>
            <a:ext cx="2844800" cy="779592"/>
          </a:xfrm>
          <a:prstGeom prst="bentConnector3">
            <a:avLst/>
          </a:prstGeom>
          <a:ln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263306" y="3149376"/>
            <a:ext cx="2977870" cy="1077218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pl-PL" sz="1600" dirty="0" err="1"/>
              <a:t>case</a:t>
            </a:r>
            <a:r>
              <a:rPr lang="pl-PL" sz="1600" dirty="0"/>
              <a:t> </a:t>
            </a:r>
            <a:r>
              <a:rPr lang="pl-PL" sz="1600" dirty="0" err="1"/>
              <a:t>AddCmd</a:t>
            </a:r>
            <a:r>
              <a:rPr lang="pl-PL" sz="1600" dirty="0"/>
              <a:t>(i) =&gt;</a:t>
            </a:r>
          </a:p>
          <a:p>
            <a:r>
              <a:rPr lang="pl-PL" sz="1600" dirty="0"/>
              <a:t>      </a:t>
            </a:r>
            <a:r>
              <a:rPr lang="pl-PL" sz="1600" dirty="0" err="1"/>
              <a:t>persist</a:t>
            </a:r>
            <a:r>
              <a:rPr lang="pl-PL" sz="1600" dirty="0"/>
              <a:t>(</a:t>
            </a:r>
            <a:r>
              <a:rPr lang="pl-PL" sz="1600" dirty="0" err="1"/>
              <a:t>AddEvt</a:t>
            </a:r>
            <a:r>
              <a:rPr lang="pl-PL" sz="1600" dirty="0"/>
              <a:t>(i)) { </a:t>
            </a:r>
            <a:r>
              <a:rPr lang="pl-PL" sz="1600" dirty="0" err="1"/>
              <a:t>evt</a:t>
            </a:r>
            <a:r>
              <a:rPr lang="pl-PL" sz="1600" dirty="0"/>
              <a:t> =&gt;</a:t>
            </a:r>
          </a:p>
          <a:p>
            <a:r>
              <a:rPr lang="pl-PL" sz="1600" dirty="0"/>
              <a:t>        </a:t>
            </a:r>
            <a:r>
              <a:rPr lang="pl-PL" sz="1600" dirty="0" err="1"/>
              <a:t>state</a:t>
            </a:r>
            <a:r>
              <a:rPr lang="pl-PL" sz="1600" dirty="0"/>
              <a:t> += </a:t>
            </a:r>
            <a:r>
              <a:rPr lang="pl-PL" sz="1600" dirty="0" err="1"/>
              <a:t>evt.i</a:t>
            </a:r>
            <a:endParaRPr lang="pl-PL" sz="1600" dirty="0"/>
          </a:p>
          <a:p>
            <a:r>
              <a:rPr lang="pl-PL" sz="1600" dirty="0"/>
              <a:t>      }</a:t>
            </a:r>
          </a:p>
        </p:txBody>
      </p:sp>
      <p:cxnSp>
        <p:nvCxnSpPr>
          <p:cNvPr id="11" name="Straight Connector 10"/>
          <p:cNvCxnSpPr>
            <a:stCxn id="28" idx="1"/>
            <a:endCxn id="9" idx="3"/>
          </p:cNvCxnSpPr>
          <p:nvPr/>
        </p:nvCxnSpPr>
        <p:spPr>
          <a:xfrm flipH="1">
            <a:off x="3241176" y="3408645"/>
            <a:ext cx="253042" cy="2793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28" idx="0"/>
            <a:endCxn id="25" idx="2"/>
          </p:cNvCxnSpPr>
          <p:nvPr/>
        </p:nvCxnSpPr>
        <p:spPr>
          <a:xfrm flipH="1" flipV="1">
            <a:off x="4097886" y="2822095"/>
            <a:ext cx="66876" cy="3705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1176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110789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6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8" y="319264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receiveCommand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sp>
        <p:nvSpPr>
          <p:cNvPr id="27" name="Rectangle 26"/>
          <p:cNvSpPr/>
          <p:nvPr/>
        </p:nvSpPr>
        <p:spPr>
          <a:xfrm>
            <a:off x="2943571" y="2411226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Add</a:t>
            </a:r>
            <a:endParaRPr lang="pl-PL" sz="800" dirty="0"/>
          </a:p>
          <a:p>
            <a:pPr algn="ctr"/>
            <a:r>
              <a:rPr lang="pl-PL" sz="800" dirty="0" smtClean="0"/>
              <a:t>10</a:t>
            </a:r>
            <a:endParaRPr lang="pl-PL" sz="800" dirty="0"/>
          </a:p>
        </p:txBody>
      </p:sp>
    </p:spTree>
    <p:extLst>
      <p:ext uri="{BB962C8B-B14F-4D97-AF65-F5344CB8AC3E}">
        <p14:creationId xmlns:p14="http://schemas.microsoft.com/office/powerpoint/2010/main" val="2489856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110789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6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8" y="319264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receiveCommand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14" name="Rectangle 13"/>
          <p:cNvSpPr/>
          <p:nvPr/>
        </p:nvSpPr>
        <p:spPr>
          <a:xfrm>
            <a:off x="3867826" y="3499345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err="1" smtClean="0"/>
              <a:t>Add</a:t>
            </a:r>
            <a:endParaRPr lang="pl-PL" sz="800" dirty="0"/>
          </a:p>
          <a:p>
            <a:pPr algn="ctr"/>
            <a:r>
              <a:rPr lang="pl-PL" sz="800" dirty="0" smtClean="0"/>
              <a:t>10</a:t>
            </a:r>
            <a:endParaRPr lang="pl-PL" sz="800" dirty="0"/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cxnSp>
        <p:nvCxnSpPr>
          <p:cNvPr id="5" name="Elbow Connector 4"/>
          <p:cNvCxnSpPr>
            <a:stCxn id="14" idx="3"/>
            <a:endCxn id="24" idx="1"/>
          </p:cNvCxnSpPr>
          <p:nvPr/>
        </p:nvCxnSpPr>
        <p:spPr>
          <a:xfrm>
            <a:off x="4327944" y="3680242"/>
            <a:ext cx="2680693" cy="38503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7008637" y="390969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10)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64196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292815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16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8" y="319264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receiveCommand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cxnSp>
        <p:nvCxnSpPr>
          <p:cNvPr id="8" name="Elbow Connector 7"/>
          <p:cNvCxnSpPr>
            <a:stCxn id="24" idx="1"/>
          </p:cNvCxnSpPr>
          <p:nvPr/>
        </p:nvCxnSpPr>
        <p:spPr>
          <a:xfrm rot="10800000">
            <a:off x="4165601" y="3624645"/>
            <a:ext cx="2843037" cy="440632"/>
          </a:xfrm>
          <a:prstGeom prst="bentConnector3">
            <a:avLst/>
          </a:prstGeom>
          <a:ln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28" idx="0"/>
            <a:endCxn id="25" idx="2"/>
          </p:cNvCxnSpPr>
          <p:nvPr/>
        </p:nvCxnSpPr>
        <p:spPr>
          <a:xfrm flipH="1" flipV="1">
            <a:off x="4097886" y="2822095"/>
            <a:ext cx="66876" cy="3705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7008637" y="390969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10)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08196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292815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16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8" y="319264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receiveCommand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sp>
        <p:nvSpPr>
          <p:cNvPr id="24" name="Rectangle 23"/>
          <p:cNvSpPr/>
          <p:nvPr/>
        </p:nvSpPr>
        <p:spPr>
          <a:xfrm>
            <a:off x="7008637" y="390969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10)</a:t>
            </a:r>
            <a:endParaRPr lang="pl-PL" dirty="0"/>
          </a:p>
        </p:txBody>
      </p:sp>
      <p:sp>
        <p:nvSpPr>
          <p:cNvPr id="26" name="Rectangle 25"/>
          <p:cNvSpPr/>
          <p:nvPr/>
        </p:nvSpPr>
        <p:spPr>
          <a:xfrm>
            <a:off x="2943571" y="2411226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smtClean="0"/>
              <a:t>Div</a:t>
            </a:r>
            <a:endParaRPr lang="pl-PL" sz="800" dirty="0"/>
          </a:p>
          <a:p>
            <a:pPr algn="ctr"/>
            <a:r>
              <a:rPr lang="pl-PL" sz="800" dirty="0" smtClean="0"/>
              <a:t>0</a:t>
            </a:r>
            <a:endParaRPr lang="pl-PL" sz="800" dirty="0"/>
          </a:p>
        </p:txBody>
      </p:sp>
    </p:spTree>
    <p:extLst>
      <p:ext uri="{BB962C8B-B14F-4D97-AF65-F5344CB8AC3E}">
        <p14:creationId xmlns:p14="http://schemas.microsoft.com/office/powerpoint/2010/main" val="1694862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Płyń</a:t>
            </a:r>
            <a:r>
              <a:rPr lang="en-US" dirty="0"/>
              <a:t> do </a:t>
            </a:r>
            <a:r>
              <a:rPr lang="en-US" dirty="0" err="1"/>
              <a:t>brzeg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8</a:t>
            </a:fld>
            <a:endParaRPr lang="en-GB"/>
          </a:p>
        </p:txBody>
      </p:sp>
      <p:sp>
        <p:nvSpPr>
          <p:cNvPr id="2" name="Rectangle 1"/>
          <p:cNvSpPr/>
          <p:nvPr/>
        </p:nvSpPr>
        <p:spPr>
          <a:xfrm>
            <a:off x="1804523" y="2945726"/>
            <a:ext cx="760651" cy="1084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grpSp>
        <p:nvGrpSpPr>
          <p:cNvPr id="10" name="Group 9"/>
          <p:cNvGrpSpPr/>
          <p:nvPr/>
        </p:nvGrpSpPr>
        <p:grpSpPr>
          <a:xfrm>
            <a:off x="1887985" y="3151651"/>
            <a:ext cx="593725" cy="352425"/>
            <a:chOff x="4614863" y="1689101"/>
            <a:chExt cx="593725" cy="352425"/>
          </a:xfrm>
          <a:solidFill>
            <a:schemeClr val="tx2"/>
          </a:solidFill>
        </p:grpSpPr>
        <p:sp>
          <p:nvSpPr>
            <p:cNvPr id="12" name="Freeform 32"/>
            <p:cNvSpPr>
              <a:spLocks noEditPoints="1"/>
            </p:cNvSpPr>
            <p:nvPr/>
          </p:nvSpPr>
          <p:spPr bwMode="auto">
            <a:xfrm>
              <a:off x="4614863" y="1689101"/>
              <a:ext cx="593725" cy="352425"/>
            </a:xfrm>
            <a:custGeom>
              <a:avLst/>
              <a:gdLst>
                <a:gd name="T0" fmla="*/ 240 w 290"/>
                <a:gd name="T1" fmla="*/ 172 h 172"/>
                <a:gd name="T2" fmla="*/ 56 w 290"/>
                <a:gd name="T3" fmla="*/ 172 h 172"/>
                <a:gd name="T4" fmla="*/ 0 w 290"/>
                <a:gd name="T5" fmla="*/ 116 h 172"/>
                <a:gd name="T6" fmla="*/ 55 w 290"/>
                <a:gd name="T7" fmla="*/ 60 h 172"/>
                <a:gd name="T8" fmla="*/ 146 w 290"/>
                <a:gd name="T9" fmla="*/ 0 h 172"/>
                <a:gd name="T10" fmla="*/ 240 w 290"/>
                <a:gd name="T11" fmla="*/ 72 h 172"/>
                <a:gd name="T12" fmla="*/ 290 w 290"/>
                <a:gd name="T13" fmla="*/ 122 h 172"/>
                <a:gd name="T14" fmla="*/ 240 w 290"/>
                <a:gd name="T15" fmla="*/ 172 h 172"/>
                <a:gd name="T16" fmla="*/ 56 w 290"/>
                <a:gd name="T17" fmla="*/ 64 h 172"/>
                <a:gd name="T18" fmla="*/ 4 w 290"/>
                <a:gd name="T19" fmla="*/ 116 h 172"/>
                <a:gd name="T20" fmla="*/ 56 w 290"/>
                <a:gd name="T21" fmla="*/ 168 h 172"/>
                <a:gd name="T22" fmla="*/ 240 w 290"/>
                <a:gd name="T23" fmla="*/ 168 h 172"/>
                <a:gd name="T24" fmla="*/ 286 w 290"/>
                <a:gd name="T25" fmla="*/ 122 h 172"/>
                <a:gd name="T26" fmla="*/ 240 w 290"/>
                <a:gd name="T27" fmla="*/ 76 h 172"/>
                <a:gd name="T28" fmla="*/ 237 w 290"/>
                <a:gd name="T29" fmla="*/ 76 h 172"/>
                <a:gd name="T30" fmla="*/ 237 w 290"/>
                <a:gd name="T31" fmla="*/ 74 h 172"/>
                <a:gd name="T32" fmla="*/ 146 w 290"/>
                <a:gd name="T33" fmla="*/ 4 h 172"/>
                <a:gd name="T34" fmla="*/ 58 w 290"/>
                <a:gd name="T35" fmla="*/ 62 h 172"/>
                <a:gd name="T36" fmla="*/ 58 w 290"/>
                <a:gd name="T37" fmla="*/ 64 h 172"/>
                <a:gd name="T38" fmla="*/ 56 w 290"/>
                <a:gd name="T39" fmla="*/ 6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0" h="172">
                  <a:moveTo>
                    <a:pt x="240" y="172"/>
                  </a:moveTo>
                  <a:cubicBezTo>
                    <a:pt x="56" y="172"/>
                    <a:pt x="56" y="172"/>
                    <a:pt x="56" y="172"/>
                  </a:cubicBezTo>
                  <a:cubicBezTo>
                    <a:pt x="25" y="172"/>
                    <a:pt x="0" y="146"/>
                    <a:pt x="0" y="116"/>
                  </a:cubicBezTo>
                  <a:cubicBezTo>
                    <a:pt x="0" y="85"/>
                    <a:pt x="24" y="60"/>
                    <a:pt x="55" y="60"/>
                  </a:cubicBezTo>
                  <a:cubicBezTo>
                    <a:pt x="71" y="23"/>
                    <a:pt x="106" y="0"/>
                    <a:pt x="146" y="0"/>
                  </a:cubicBezTo>
                  <a:cubicBezTo>
                    <a:pt x="190" y="0"/>
                    <a:pt x="228" y="29"/>
                    <a:pt x="240" y="72"/>
                  </a:cubicBezTo>
                  <a:cubicBezTo>
                    <a:pt x="268" y="72"/>
                    <a:pt x="290" y="94"/>
                    <a:pt x="290" y="122"/>
                  </a:cubicBezTo>
                  <a:cubicBezTo>
                    <a:pt x="290" y="149"/>
                    <a:pt x="267" y="172"/>
                    <a:pt x="240" y="172"/>
                  </a:cubicBezTo>
                  <a:close/>
                  <a:moveTo>
                    <a:pt x="56" y="64"/>
                  </a:moveTo>
                  <a:cubicBezTo>
                    <a:pt x="27" y="64"/>
                    <a:pt x="4" y="87"/>
                    <a:pt x="4" y="116"/>
                  </a:cubicBezTo>
                  <a:cubicBezTo>
                    <a:pt x="4" y="144"/>
                    <a:pt x="27" y="168"/>
                    <a:pt x="56" y="168"/>
                  </a:cubicBezTo>
                  <a:cubicBezTo>
                    <a:pt x="240" y="168"/>
                    <a:pt x="240" y="168"/>
                    <a:pt x="240" y="168"/>
                  </a:cubicBezTo>
                  <a:cubicBezTo>
                    <a:pt x="265" y="168"/>
                    <a:pt x="286" y="147"/>
                    <a:pt x="286" y="122"/>
                  </a:cubicBezTo>
                  <a:cubicBezTo>
                    <a:pt x="286" y="96"/>
                    <a:pt x="265" y="76"/>
                    <a:pt x="240" y="76"/>
                  </a:cubicBezTo>
                  <a:cubicBezTo>
                    <a:pt x="237" y="76"/>
                    <a:pt x="237" y="76"/>
                    <a:pt x="237" y="76"/>
                  </a:cubicBezTo>
                  <a:cubicBezTo>
                    <a:pt x="237" y="74"/>
                    <a:pt x="237" y="74"/>
                    <a:pt x="237" y="74"/>
                  </a:cubicBezTo>
                  <a:cubicBezTo>
                    <a:pt x="226" y="33"/>
                    <a:pt x="188" y="4"/>
                    <a:pt x="146" y="4"/>
                  </a:cubicBezTo>
                  <a:cubicBezTo>
                    <a:pt x="107" y="4"/>
                    <a:pt x="73" y="27"/>
                    <a:pt x="58" y="62"/>
                  </a:cubicBezTo>
                  <a:cubicBezTo>
                    <a:pt x="58" y="64"/>
                    <a:pt x="58" y="64"/>
                    <a:pt x="58" y="64"/>
                  </a:cubicBezTo>
                  <a:lnTo>
                    <a:pt x="56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3"/>
            <p:cNvSpPr>
              <a:spLocks/>
            </p:cNvSpPr>
            <p:nvPr/>
          </p:nvSpPr>
          <p:spPr bwMode="auto">
            <a:xfrm>
              <a:off x="4822825" y="1751013"/>
              <a:ext cx="177800" cy="55563"/>
            </a:xfrm>
            <a:custGeom>
              <a:avLst/>
              <a:gdLst>
                <a:gd name="T0" fmla="*/ 85 w 87"/>
                <a:gd name="T1" fmla="*/ 27 h 27"/>
                <a:gd name="T2" fmla="*/ 44 w 87"/>
                <a:gd name="T3" fmla="*/ 10 h 27"/>
                <a:gd name="T4" fmla="*/ 3 w 87"/>
                <a:gd name="T5" fmla="*/ 27 h 27"/>
                <a:gd name="T6" fmla="*/ 0 w 87"/>
                <a:gd name="T7" fmla="*/ 24 h 27"/>
                <a:gd name="T8" fmla="*/ 87 w 87"/>
                <a:gd name="T9" fmla="*/ 24 h 27"/>
                <a:gd name="T10" fmla="*/ 85 w 87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27">
                  <a:moveTo>
                    <a:pt x="85" y="27"/>
                  </a:moveTo>
                  <a:cubicBezTo>
                    <a:pt x="74" y="16"/>
                    <a:pt x="59" y="10"/>
                    <a:pt x="44" y="10"/>
                  </a:cubicBezTo>
                  <a:cubicBezTo>
                    <a:pt x="28" y="10"/>
                    <a:pt x="13" y="16"/>
                    <a:pt x="3" y="2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4" y="0"/>
                    <a:pt x="63" y="0"/>
                    <a:pt x="87" y="24"/>
                  </a:cubicBezTo>
                  <a:lnTo>
                    <a:pt x="85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4"/>
            <p:cNvSpPr>
              <a:spLocks/>
            </p:cNvSpPr>
            <p:nvPr/>
          </p:nvSpPr>
          <p:spPr bwMode="auto">
            <a:xfrm>
              <a:off x="4840288" y="1787526"/>
              <a:ext cx="144463" cy="34925"/>
            </a:xfrm>
            <a:custGeom>
              <a:avLst/>
              <a:gdLst>
                <a:gd name="T0" fmla="*/ 3 w 71"/>
                <a:gd name="T1" fmla="*/ 17 h 17"/>
                <a:gd name="T2" fmla="*/ 0 w 71"/>
                <a:gd name="T3" fmla="*/ 14 h 17"/>
                <a:gd name="T4" fmla="*/ 36 w 71"/>
                <a:gd name="T5" fmla="*/ 0 h 17"/>
                <a:gd name="T6" fmla="*/ 71 w 71"/>
                <a:gd name="T7" fmla="*/ 14 h 17"/>
                <a:gd name="T8" fmla="*/ 68 w 71"/>
                <a:gd name="T9" fmla="*/ 17 h 17"/>
                <a:gd name="T10" fmla="*/ 36 w 71"/>
                <a:gd name="T11" fmla="*/ 4 h 17"/>
                <a:gd name="T12" fmla="*/ 3 w 71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7">
                  <a:moveTo>
                    <a:pt x="3" y="17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10" y="5"/>
                    <a:pt x="22" y="0"/>
                    <a:pt x="36" y="0"/>
                  </a:cubicBezTo>
                  <a:cubicBezTo>
                    <a:pt x="49" y="0"/>
                    <a:pt x="61" y="5"/>
                    <a:pt x="71" y="14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59" y="8"/>
                    <a:pt x="48" y="4"/>
                    <a:pt x="36" y="4"/>
                  </a:cubicBezTo>
                  <a:cubicBezTo>
                    <a:pt x="23" y="4"/>
                    <a:pt x="12" y="8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5"/>
            <p:cNvSpPr>
              <a:spLocks/>
            </p:cNvSpPr>
            <p:nvPr/>
          </p:nvSpPr>
          <p:spPr bwMode="auto">
            <a:xfrm>
              <a:off x="4857750" y="1803401"/>
              <a:ext cx="109538" cy="38100"/>
            </a:xfrm>
            <a:custGeom>
              <a:avLst/>
              <a:gdLst>
                <a:gd name="T0" fmla="*/ 51 w 53"/>
                <a:gd name="T1" fmla="*/ 18 h 18"/>
                <a:gd name="T2" fmla="*/ 3 w 53"/>
                <a:gd name="T3" fmla="*/ 18 h 18"/>
                <a:gd name="T4" fmla="*/ 0 w 53"/>
                <a:gd name="T5" fmla="*/ 15 h 18"/>
                <a:gd name="T6" fmla="*/ 53 w 53"/>
                <a:gd name="T7" fmla="*/ 15 h 18"/>
                <a:gd name="T8" fmla="*/ 51 w 53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8">
                  <a:moveTo>
                    <a:pt x="51" y="18"/>
                  </a:moveTo>
                  <a:cubicBezTo>
                    <a:pt x="37" y="4"/>
                    <a:pt x="16" y="4"/>
                    <a:pt x="3" y="1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4" y="0"/>
                    <a:pt x="39" y="0"/>
                    <a:pt x="53" y="15"/>
                  </a:cubicBezTo>
                  <a:lnTo>
                    <a:pt x="5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6"/>
            <p:cNvSpPr>
              <a:spLocks/>
            </p:cNvSpPr>
            <p:nvPr/>
          </p:nvSpPr>
          <p:spPr bwMode="auto">
            <a:xfrm>
              <a:off x="4875213" y="1836738"/>
              <a:ext cx="74613" cy="20638"/>
            </a:xfrm>
            <a:custGeom>
              <a:avLst/>
              <a:gdLst>
                <a:gd name="T0" fmla="*/ 34 w 37"/>
                <a:gd name="T1" fmla="*/ 10 h 10"/>
                <a:gd name="T2" fmla="*/ 19 w 37"/>
                <a:gd name="T3" fmla="*/ 4 h 10"/>
                <a:gd name="T4" fmla="*/ 3 w 37"/>
                <a:gd name="T5" fmla="*/ 10 h 10"/>
                <a:gd name="T6" fmla="*/ 0 w 37"/>
                <a:gd name="T7" fmla="*/ 7 h 10"/>
                <a:gd name="T8" fmla="*/ 19 w 37"/>
                <a:gd name="T9" fmla="*/ 0 h 10"/>
                <a:gd name="T10" fmla="*/ 37 w 37"/>
                <a:gd name="T11" fmla="*/ 7 h 10"/>
                <a:gd name="T12" fmla="*/ 34 w 37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0">
                  <a:moveTo>
                    <a:pt x="34" y="10"/>
                  </a:moveTo>
                  <a:cubicBezTo>
                    <a:pt x="30" y="6"/>
                    <a:pt x="24" y="4"/>
                    <a:pt x="19" y="4"/>
                  </a:cubicBezTo>
                  <a:cubicBezTo>
                    <a:pt x="13" y="4"/>
                    <a:pt x="7" y="6"/>
                    <a:pt x="3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" y="2"/>
                    <a:pt x="12" y="0"/>
                    <a:pt x="19" y="0"/>
                  </a:cubicBezTo>
                  <a:cubicBezTo>
                    <a:pt x="25" y="0"/>
                    <a:pt x="32" y="2"/>
                    <a:pt x="37" y="7"/>
                  </a:cubicBezTo>
                  <a:lnTo>
                    <a:pt x="34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Espace réservé du texte 18"/>
          <p:cNvSpPr txBox="1">
            <a:spLocks/>
          </p:cNvSpPr>
          <p:nvPr/>
        </p:nvSpPr>
        <p:spPr>
          <a:xfrm>
            <a:off x="1772948" y="3638231"/>
            <a:ext cx="934923" cy="25767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US" sz="1600" b="1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20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dirty="0" smtClean="0"/>
              <a:t>SM-SR</a:t>
            </a:r>
            <a:endParaRPr lang="pl-PL" dirty="0"/>
          </a:p>
        </p:txBody>
      </p:sp>
      <p:grpSp>
        <p:nvGrpSpPr>
          <p:cNvPr id="18" name="Group 17"/>
          <p:cNvGrpSpPr/>
          <p:nvPr/>
        </p:nvGrpSpPr>
        <p:grpSpPr>
          <a:xfrm>
            <a:off x="1732000" y="2589211"/>
            <a:ext cx="965712" cy="243130"/>
            <a:chOff x="1416050" y="1741488"/>
            <a:chExt cx="6305550" cy="1587500"/>
          </a:xfrm>
          <a:solidFill>
            <a:schemeClr val="tx2"/>
          </a:solidFill>
        </p:grpSpPr>
        <p:grpSp>
          <p:nvGrpSpPr>
            <p:cNvPr id="19" name="Group 18"/>
            <p:cNvGrpSpPr/>
            <p:nvPr/>
          </p:nvGrpSpPr>
          <p:grpSpPr>
            <a:xfrm>
              <a:off x="1416050" y="1741488"/>
              <a:ext cx="1881188" cy="1587500"/>
              <a:chOff x="1416050" y="1741488"/>
              <a:chExt cx="1881188" cy="1587500"/>
            </a:xfrm>
            <a:grpFill/>
          </p:grpSpPr>
          <p:sp>
            <p:nvSpPr>
              <p:cNvPr id="21" name="Freeform 5"/>
              <p:cNvSpPr>
                <a:spLocks/>
              </p:cNvSpPr>
              <p:nvPr/>
            </p:nvSpPr>
            <p:spPr bwMode="auto">
              <a:xfrm>
                <a:off x="1979613" y="1741488"/>
                <a:ext cx="290513" cy="1587500"/>
              </a:xfrm>
              <a:custGeom>
                <a:avLst/>
                <a:gdLst>
                  <a:gd name="T0" fmla="*/ 84 w 183"/>
                  <a:gd name="T1" fmla="*/ 500 h 1000"/>
                  <a:gd name="T2" fmla="*/ 183 w 183"/>
                  <a:gd name="T3" fmla="*/ 0 h 1000"/>
                  <a:gd name="T4" fmla="*/ 100 w 183"/>
                  <a:gd name="T5" fmla="*/ 0 h 1000"/>
                  <a:gd name="T6" fmla="*/ 0 w 183"/>
                  <a:gd name="T7" fmla="*/ 500 h 1000"/>
                  <a:gd name="T8" fmla="*/ 100 w 183"/>
                  <a:gd name="T9" fmla="*/ 1000 h 1000"/>
                  <a:gd name="T10" fmla="*/ 183 w 183"/>
                  <a:gd name="T11" fmla="*/ 1000 h 1000"/>
                  <a:gd name="T12" fmla="*/ 84 w 183"/>
                  <a:gd name="T13" fmla="*/ 500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3" h="1000">
                    <a:moveTo>
                      <a:pt x="84" y="500"/>
                    </a:moveTo>
                    <a:lnTo>
                      <a:pt x="183" y="0"/>
                    </a:lnTo>
                    <a:lnTo>
                      <a:pt x="100" y="0"/>
                    </a:lnTo>
                    <a:lnTo>
                      <a:pt x="0" y="500"/>
                    </a:lnTo>
                    <a:lnTo>
                      <a:pt x="100" y="1000"/>
                    </a:lnTo>
                    <a:lnTo>
                      <a:pt x="183" y="1000"/>
                    </a:lnTo>
                    <a:lnTo>
                      <a:pt x="84" y="5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22" name="Freeform 6"/>
              <p:cNvSpPr>
                <a:spLocks/>
              </p:cNvSpPr>
              <p:nvPr/>
            </p:nvSpPr>
            <p:spPr bwMode="auto">
              <a:xfrm>
                <a:off x="1416050" y="1741488"/>
                <a:ext cx="566738" cy="1587500"/>
              </a:xfrm>
              <a:custGeom>
                <a:avLst/>
                <a:gdLst>
                  <a:gd name="T0" fmla="*/ 91 w 357"/>
                  <a:gd name="T1" fmla="*/ 500 h 1000"/>
                  <a:gd name="T2" fmla="*/ 357 w 357"/>
                  <a:gd name="T3" fmla="*/ 0 h 1000"/>
                  <a:gd name="T4" fmla="*/ 266 w 357"/>
                  <a:gd name="T5" fmla="*/ 0 h 1000"/>
                  <a:gd name="T6" fmla="*/ 0 w 357"/>
                  <a:gd name="T7" fmla="*/ 500 h 1000"/>
                  <a:gd name="T8" fmla="*/ 266 w 357"/>
                  <a:gd name="T9" fmla="*/ 1000 h 1000"/>
                  <a:gd name="T10" fmla="*/ 357 w 357"/>
                  <a:gd name="T11" fmla="*/ 1000 h 1000"/>
                  <a:gd name="T12" fmla="*/ 91 w 357"/>
                  <a:gd name="T13" fmla="*/ 500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7" h="1000">
                    <a:moveTo>
                      <a:pt x="91" y="500"/>
                    </a:moveTo>
                    <a:lnTo>
                      <a:pt x="357" y="0"/>
                    </a:lnTo>
                    <a:lnTo>
                      <a:pt x="266" y="0"/>
                    </a:lnTo>
                    <a:lnTo>
                      <a:pt x="0" y="500"/>
                    </a:lnTo>
                    <a:lnTo>
                      <a:pt x="266" y="1000"/>
                    </a:lnTo>
                    <a:lnTo>
                      <a:pt x="357" y="1000"/>
                    </a:lnTo>
                    <a:lnTo>
                      <a:pt x="91" y="5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2438400" y="1741488"/>
                <a:ext cx="293688" cy="1587500"/>
              </a:xfrm>
              <a:custGeom>
                <a:avLst/>
                <a:gdLst>
                  <a:gd name="T0" fmla="*/ 185 w 185"/>
                  <a:gd name="T1" fmla="*/ 500 h 1000"/>
                  <a:gd name="T2" fmla="*/ 86 w 185"/>
                  <a:gd name="T3" fmla="*/ 0 h 1000"/>
                  <a:gd name="T4" fmla="*/ 0 w 185"/>
                  <a:gd name="T5" fmla="*/ 0 h 1000"/>
                  <a:gd name="T6" fmla="*/ 102 w 185"/>
                  <a:gd name="T7" fmla="*/ 500 h 1000"/>
                  <a:gd name="T8" fmla="*/ 2 w 185"/>
                  <a:gd name="T9" fmla="*/ 1000 h 1000"/>
                  <a:gd name="T10" fmla="*/ 86 w 185"/>
                  <a:gd name="T11" fmla="*/ 1000 h 1000"/>
                  <a:gd name="T12" fmla="*/ 185 w 185"/>
                  <a:gd name="T13" fmla="*/ 500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5" h="1000">
                    <a:moveTo>
                      <a:pt x="185" y="500"/>
                    </a:moveTo>
                    <a:lnTo>
                      <a:pt x="86" y="0"/>
                    </a:lnTo>
                    <a:lnTo>
                      <a:pt x="0" y="0"/>
                    </a:lnTo>
                    <a:lnTo>
                      <a:pt x="102" y="500"/>
                    </a:lnTo>
                    <a:lnTo>
                      <a:pt x="2" y="1000"/>
                    </a:lnTo>
                    <a:lnTo>
                      <a:pt x="86" y="1000"/>
                    </a:lnTo>
                    <a:lnTo>
                      <a:pt x="185" y="5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24" name="Freeform 8"/>
              <p:cNvSpPr>
                <a:spLocks/>
              </p:cNvSpPr>
              <p:nvPr/>
            </p:nvSpPr>
            <p:spPr bwMode="auto">
              <a:xfrm>
                <a:off x="2725738" y="1741488"/>
                <a:ext cx="571500" cy="1587500"/>
              </a:xfrm>
              <a:custGeom>
                <a:avLst/>
                <a:gdLst>
                  <a:gd name="T0" fmla="*/ 360 w 360"/>
                  <a:gd name="T1" fmla="*/ 500 h 1000"/>
                  <a:gd name="T2" fmla="*/ 94 w 360"/>
                  <a:gd name="T3" fmla="*/ 0 h 1000"/>
                  <a:gd name="T4" fmla="*/ 0 w 360"/>
                  <a:gd name="T5" fmla="*/ 0 h 1000"/>
                  <a:gd name="T6" fmla="*/ 268 w 360"/>
                  <a:gd name="T7" fmla="*/ 500 h 1000"/>
                  <a:gd name="T8" fmla="*/ 2 w 360"/>
                  <a:gd name="T9" fmla="*/ 1000 h 1000"/>
                  <a:gd name="T10" fmla="*/ 94 w 360"/>
                  <a:gd name="T11" fmla="*/ 1000 h 1000"/>
                  <a:gd name="T12" fmla="*/ 360 w 360"/>
                  <a:gd name="T13" fmla="*/ 500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0" h="1000">
                    <a:moveTo>
                      <a:pt x="360" y="500"/>
                    </a:moveTo>
                    <a:lnTo>
                      <a:pt x="94" y="0"/>
                    </a:lnTo>
                    <a:lnTo>
                      <a:pt x="0" y="0"/>
                    </a:lnTo>
                    <a:lnTo>
                      <a:pt x="268" y="500"/>
                    </a:lnTo>
                    <a:lnTo>
                      <a:pt x="2" y="1000"/>
                    </a:lnTo>
                    <a:lnTo>
                      <a:pt x="94" y="1000"/>
                    </a:lnTo>
                    <a:lnTo>
                      <a:pt x="360" y="5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  <p:sp>
          <p:nvSpPr>
            <p:cNvPr id="20" name="Freeform 9"/>
            <p:cNvSpPr>
              <a:spLocks noEditPoints="1"/>
            </p:cNvSpPr>
            <p:nvPr/>
          </p:nvSpPr>
          <p:spPr bwMode="auto">
            <a:xfrm>
              <a:off x="3679825" y="2171701"/>
              <a:ext cx="4041775" cy="769938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449001" y="1715123"/>
            <a:ext cx="598488" cy="427038"/>
            <a:chOff x="3462338" y="4106864"/>
            <a:chExt cx="598488" cy="427038"/>
          </a:xfrm>
          <a:solidFill>
            <a:schemeClr val="tx2"/>
          </a:solidFill>
        </p:grpSpPr>
        <p:sp>
          <p:nvSpPr>
            <p:cNvPr id="26" name="Freeform 581"/>
            <p:cNvSpPr>
              <a:spLocks/>
            </p:cNvSpPr>
            <p:nvPr/>
          </p:nvSpPr>
          <p:spPr bwMode="auto">
            <a:xfrm>
              <a:off x="3595688" y="4232276"/>
              <a:ext cx="55563" cy="174625"/>
            </a:xfrm>
            <a:custGeom>
              <a:avLst/>
              <a:gdLst>
                <a:gd name="T0" fmla="*/ 24 w 27"/>
                <a:gd name="T1" fmla="*/ 85 h 85"/>
                <a:gd name="T2" fmla="*/ 24 w 27"/>
                <a:gd name="T3" fmla="*/ 0 h 85"/>
                <a:gd name="T4" fmla="*/ 27 w 27"/>
                <a:gd name="T5" fmla="*/ 3 h 85"/>
                <a:gd name="T6" fmla="*/ 27 w 27"/>
                <a:gd name="T7" fmla="*/ 82 h 85"/>
                <a:gd name="T8" fmla="*/ 24 w 27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5">
                  <a:moveTo>
                    <a:pt x="24" y="85"/>
                  </a:moveTo>
                  <a:cubicBezTo>
                    <a:pt x="0" y="62"/>
                    <a:pt x="0" y="23"/>
                    <a:pt x="24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25"/>
                    <a:pt x="5" y="60"/>
                    <a:pt x="27" y="82"/>
                  </a:cubicBezTo>
                  <a:lnTo>
                    <a:pt x="24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582"/>
            <p:cNvSpPr>
              <a:spLocks/>
            </p:cNvSpPr>
            <p:nvPr/>
          </p:nvSpPr>
          <p:spPr bwMode="auto">
            <a:xfrm>
              <a:off x="3560763" y="4189414"/>
              <a:ext cx="60325" cy="260350"/>
            </a:xfrm>
            <a:custGeom>
              <a:avLst/>
              <a:gdLst>
                <a:gd name="T0" fmla="*/ 27 w 29"/>
                <a:gd name="T1" fmla="*/ 127 h 127"/>
                <a:gd name="T2" fmla="*/ 0 w 29"/>
                <a:gd name="T3" fmla="*/ 63 h 127"/>
                <a:gd name="T4" fmla="*/ 27 w 29"/>
                <a:gd name="T5" fmla="*/ 0 h 127"/>
                <a:gd name="T6" fmla="*/ 29 w 29"/>
                <a:gd name="T7" fmla="*/ 3 h 127"/>
                <a:gd name="T8" fmla="*/ 4 w 29"/>
                <a:gd name="T9" fmla="*/ 63 h 127"/>
                <a:gd name="T10" fmla="*/ 29 w 29"/>
                <a:gd name="T11" fmla="*/ 124 h 127"/>
                <a:gd name="T12" fmla="*/ 27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27" y="127"/>
                  </a:moveTo>
                  <a:cubicBezTo>
                    <a:pt x="10" y="110"/>
                    <a:pt x="0" y="87"/>
                    <a:pt x="0" y="63"/>
                  </a:cubicBezTo>
                  <a:cubicBezTo>
                    <a:pt x="0" y="40"/>
                    <a:pt x="10" y="17"/>
                    <a:pt x="27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13" y="19"/>
                    <a:pt x="4" y="41"/>
                    <a:pt x="4" y="63"/>
                  </a:cubicBezTo>
                  <a:cubicBezTo>
                    <a:pt x="4" y="86"/>
                    <a:pt x="13" y="108"/>
                    <a:pt x="29" y="124"/>
                  </a:cubicBezTo>
                  <a:lnTo>
                    <a:pt x="2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583"/>
            <p:cNvSpPr>
              <a:spLocks/>
            </p:cNvSpPr>
            <p:nvPr/>
          </p:nvSpPr>
          <p:spPr bwMode="auto">
            <a:xfrm>
              <a:off x="3489326" y="4149726"/>
              <a:ext cx="100013" cy="341313"/>
            </a:xfrm>
            <a:custGeom>
              <a:avLst/>
              <a:gdLst>
                <a:gd name="T0" fmla="*/ 46 w 49"/>
                <a:gd name="T1" fmla="*/ 167 h 167"/>
                <a:gd name="T2" fmla="*/ 46 w 49"/>
                <a:gd name="T3" fmla="*/ 0 h 167"/>
                <a:gd name="T4" fmla="*/ 49 w 49"/>
                <a:gd name="T5" fmla="*/ 2 h 167"/>
                <a:gd name="T6" fmla="*/ 49 w 49"/>
                <a:gd name="T7" fmla="*/ 165 h 167"/>
                <a:gd name="T8" fmla="*/ 46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46" y="167"/>
                  </a:moveTo>
                  <a:cubicBezTo>
                    <a:pt x="0" y="121"/>
                    <a:pt x="0" y="46"/>
                    <a:pt x="46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" y="47"/>
                    <a:pt x="4" y="120"/>
                    <a:pt x="49" y="165"/>
                  </a:cubicBezTo>
                  <a:lnTo>
                    <a:pt x="4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584"/>
            <p:cNvSpPr>
              <a:spLocks/>
            </p:cNvSpPr>
            <p:nvPr/>
          </p:nvSpPr>
          <p:spPr bwMode="auto">
            <a:xfrm>
              <a:off x="3462338" y="4106864"/>
              <a:ext cx="95250" cy="427038"/>
            </a:xfrm>
            <a:custGeom>
              <a:avLst/>
              <a:gdLst>
                <a:gd name="T0" fmla="*/ 43 w 46"/>
                <a:gd name="T1" fmla="*/ 209 h 209"/>
                <a:gd name="T2" fmla="*/ 0 w 46"/>
                <a:gd name="T3" fmla="*/ 104 h 209"/>
                <a:gd name="T4" fmla="*/ 43 w 46"/>
                <a:gd name="T5" fmla="*/ 0 h 209"/>
                <a:gd name="T6" fmla="*/ 46 w 46"/>
                <a:gd name="T7" fmla="*/ 3 h 209"/>
                <a:gd name="T8" fmla="*/ 4 w 46"/>
                <a:gd name="T9" fmla="*/ 104 h 209"/>
                <a:gd name="T10" fmla="*/ 46 w 46"/>
                <a:gd name="T11" fmla="*/ 206 h 209"/>
                <a:gd name="T12" fmla="*/ 4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43" y="209"/>
                  </a:moveTo>
                  <a:cubicBezTo>
                    <a:pt x="15" y="181"/>
                    <a:pt x="0" y="144"/>
                    <a:pt x="0" y="104"/>
                  </a:cubicBezTo>
                  <a:cubicBezTo>
                    <a:pt x="0" y="65"/>
                    <a:pt x="15" y="28"/>
                    <a:pt x="43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19" y="30"/>
                    <a:pt x="4" y="66"/>
                    <a:pt x="4" y="104"/>
                  </a:cubicBezTo>
                  <a:cubicBezTo>
                    <a:pt x="4" y="143"/>
                    <a:pt x="19" y="179"/>
                    <a:pt x="46" y="206"/>
                  </a:cubicBezTo>
                  <a:lnTo>
                    <a:pt x="43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585"/>
            <p:cNvSpPr>
              <a:spLocks/>
            </p:cNvSpPr>
            <p:nvPr/>
          </p:nvSpPr>
          <p:spPr bwMode="auto">
            <a:xfrm>
              <a:off x="3871913" y="4232276"/>
              <a:ext cx="53975" cy="174625"/>
            </a:xfrm>
            <a:custGeom>
              <a:avLst/>
              <a:gdLst>
                <a:gd name="T0" fmla="*/ 3 w 26"/>
                <a:gd name="T1" fmla="*/ 85 h 85"/>
                <a:gd name="T2" fmla="*/ 0 w 26"/>
                <a:gd name="T3" fmla="*/ 82 h 85"/>
                <a:gd name="T4" fmla="*/ 0 w 26"/>
                <a:gd name="T5" fmla="*/ 3 h 85"/>
                <a:gd name="T6" fmla="*/ 3 w 26"/>
                <a:gd name="T7" fmla="*/ 0 h 85"/>
                <a:gd name="T8" fmla="*/ 3 w 26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3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60"/>
                    <a:pt x="22" y="2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6" y="23"/>
                    <a:pt x="26" y="62"/>
                    <a:pt x="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586"/>
            <p:cNvSpPr>
              <a:spLocks/>
            </p:cNvSpPr>
            <p:nvPr/>
          </p:nvSpPr>
          <p:spPr bwMode="auto">
            <a:xfrm>
              <a:off x="3900488" y="4189414"/>
              <a:ext cx="60325" cy="260350"/>
            </a:xfrm>
            <a:custGeom>
              <a:avLst/>
              <a:gdLst>
                <a:gd name="T0" fmla="*/ 3 w 29"/>
                <a:gd name="T1" fmla="*/ 127 h 127"/>
                <a:gd name="T2" fmla="*/ 0 w 29"/>
                <a:gd name="T3" fmla="*/ 124 h 127"/>
                <a:gd name="T4" fmla="*/ 25 w 29"/>
                <a:gd name="T5" fmla="*/ 63 h 127"/>
                <a:gd name="T6" fmla="*/ 0 w 29"/>
                <a:gd name="T7" fmla="*/ 3 h 127"/>
                <a:gd name="T8" fmla="*/ 3 w 29"/>
                <a:gd name="T9" fmla="*/ 0 h 127"/>
                <a:gd name="T10" fmla="*/ 29 w 29"/>
                <a:gd name="T11" fmla="*/ 63 h 127"/>
                <a:gd name="T12" fmla="*/ 3 w 29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7">
                  <a:moveTo>
                    <a:pt x="3" y="127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17" y="108"/>
                    <a:pt x="25" y="86"/>
                    <a:pt x="25" y="63"/>
                  </a:cubicBezTo>
                  <a:cubicBezTo>
                    <a:pt x="25" y="41"/>
                    <a:pt x="17" y="19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17"/>
                    <a:pt x="29" y="40"/>
                    <a:pt x="29" y="63"/>
                  </a:cubicBezTo>
                  <a:cubicBezTo>
                    <a:pt x="29" y="87"/>
                    <a:pt x="20" y="110"/>
                    <a:pt x="3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587"/>
            <p:cNvSpPr>
              <a:spLocks/>
            </p:cNvSpPr>
            <p:nvPr/>
          </p:nvSpPr>
          <p:spPr bwMode="auto">
            <a:xfrm>
              <a:off x="3933826" y="4149726"/>
              <a:ext cx="100013" cy="341313"/>
            </a:xfrm>
            <a:custGeom>
              <a:avLst/>
              <a:gdLst>
                <a:gd name="T0" fmla="*/ 2 w 49"/>
                <a:gd name="T1" fmla="*/ 167 h 167"/>
                <a:gd name="T2" fmla="*/ 0 w 49"/>
                <a:gd name="T3" fmla="*/ 165 h 167"/>
                <a:gd name="T4" fmla="*/ 0 w 49"/>
                <a:gd name="T5" fmla="*/ 2 h 167"/>
                <a:gd name="T6" fmla="*/ 2 w 49"/>
                <a:gd name="T7" fmla="*/ 0 h 167"/>
                <a:gd name="T8" fmla="*/ 2 w 49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67">
                  <a:moveTo>
                    <a:pt x="2" y="167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44" y="120"/>
                    <a:pt x="44" y="47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9" y="46"/>
                    <a:pt x="49" y="121"/>
                    <a:pt x="2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588"/>
            <p:cNvSpPr>
              <a:spLocks/>
            </p:cNvSpPr>
            <p:nvPr/>
          </p:nvSpPr>
          <p:spPr bwMode="auto">
            <a:xfrm>
              <a:off x="3967163" y="4106864"/>
              <a:ext cx="93663" cy="427038"/>
            </a:xfrm>
            <a:custGeom>
              <a:avLst/>
              <a:gdLst>
                <a:gd name="T0" fmla="*/ 3 w 46"/>
                <a:gd name="T1" fmla="*/ 209 h 209"/>
                <a:gd name="T2" fmla="*/ 0 w 46"/>
                <a:gd name="T3" fmla="*/ 206 h 209"/>
                <a:gd name="T4" fmla="*/ 42 w 46"/>
                <a:gd name="T5" fmla="*/ 104 h 209"/>
                <a:gd name="T6" fmla="*/ 0 w 46"/>
                <a:gd name="T7" fmla="*/ 3 h 209"/>
                <a:gd name="T8" fmla="*/ 3 w 46"/>
                <a:gd name="T9" fmla="*/ 0 h 209"/>
                <a:gd name="T10" fmla="*/ 46 w 46"/>
                <a:gd name="T11" fmla="*/ 104 h 209"/>
                <a:gd name="T12" fmla="*/ 3 w 46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9">
                  <a:moveTo>
                    <a:pt x="3" y="209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27" y="179"/>
                    <a:pt x="42" y="143"/>
                    <a:pt x="42" y="104"/>
                  </a:cubicBezTo>
                  <a:cubicBezTo>
                    <a:pt x="42" y="66"/>
                    <a:pt x="27" y="30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0" y="28"/>
                    <a:pt x="46" y="65"/>
                    <a:pt x="46" y="104"/>
                  </a:cubicBezTo>
                  <a:cubicBezTo>
                    <a:pt x="46" y="144"/>
                    <a:pt x="30" y="181"/>
                    <a:pt x="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589"/>
            <p:cNvSpPr>
              <a:spLocks noEditPoints="1"/>
            </p:cNvSpPr>
            <p:nvPr/>
          </p:nvSpPr>
          <p:spPr bwMode="auto">
            <a:xfrm>
              <a:off x="3681413" y="4259264"/>
              <a:ext cx="166688" cy="120650"/>
            </a:xfrm>
            <a:custGeom>
              <a:avLst/>
              <a:gdLst>
                <a:gd name="T0" fmla="*/ 105 w 105"/>
                <a:gd name="T1" fmla="*/ 76 h 76"/>
                <a:gd name="T2" fmla="*/ 0 w 105"/>
                <a:gd name="T3" fmla="*/ 76 h 76"/>
                <a:gd name="T4" fmla="*/ 0 w 105"/>
                <a:gd name="T5" fmla="*/ 0 h 76"/>
                <a:gd name="T6" fmla="*/ 105 w 105"/>
                <a:gd name="T7" fmla="*/ 0 h 76"/>
                <a:gd name="T8" fmla="*/ 105 w 105"/>
                <a:gd name="T9" fmla="*/ 76 h 76"/>
                <a:gd name="T10" fmla="*/ 6 w 105"/>
                <a:gd name="T11" fmla="*/ 71 h 76"/>
                <a:gd name="T12" fmla="*/ 100 w 105"/>
                <a:gd name="T13" fmla="*/ 71 h 76"/>
                <a:gd name="T14" fmla="*/ 100 w 105"/>
                <a:gd name="T15" fmla="*/ 5 h 76"/>
                <a:gd name="T16" fmla="*/ 6 w 105"/>
                <a:gd name="T17" fmla="*/ 5 h 76"/>
                <a:gd name="T18" fmla="*/ 6 w 105"/>
                <a:gd name="T19" fmla="*/ 7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76">
                  <a:moveTo>
                    <a:pt x="105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76"/>
                  </a:lnTo>
                  <a:close/>
                  <a:moveTo>
                    <a:pt x="6" y="71"/>
                  </a:moveTo>
                  <a:lnTo>
                    <a:pt x="100" y="71"/>
                  </a:lnTo>
                  <a:lnTo>
                    <a:pt x="100" y="5"/>
                  </a:lnTo>
                  <a:lnTo>
                    <a:pt x="6" y="5"/>
                  </a:lnTo>
                  <a:lnTo>
                    <a:pt x="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590"/>
            <p:cNvSpPr>
              <a:spLocks noChangeArrowheads="1"/>
            </p:cNvSpPr>
            <p:nvPr/>
          </p:nvSpPr>
          <p:spPr bwMode="auto">
            <a:xfrm>
              <a:off x="3709988" y="4264026"/>
              <a:ext cx="9525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591"/>
            <p:cNvSpPr>
              <a:spLocks noChangeArrowheads="1"/>
            </p:cNvSpPr>
            <p:nvPr/>
          </p:nvSpPr>
          <p:spPr bwMode="auto">
            <a:xfrm>
              <a:off x="3686176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592"/>
            <p:cNvSpPr>
              <a:spLocks noChangeArrowheads="1"/>
            </p:cNvSpPr>
            <p:nvPr/>
          </p:nvSpPr>
          <p:spPr bwMode="auto">
            <a:xfrm>
              <a:off x="3686176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593"/>
            <p:cNvSpPr>
              <a:spLocks noChangeArrowheads="1"/>
            </p:cNvSpPr>
            <p:nvPr/>
          </p:nvSpPr>
          <p:spPr bwMode="auto">
            <a:xfrm>
              <a:off x="3686176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594"/>
            <p:cNvSpPr>
              <a:spLocks noChangeArrowheads="1"/>
            </p:cNvSpPr>
            <p:nvPr/>
          </p:nvSpPr>
          <p:spPr bwMode="auto">
            <a:xfrm>
              <a:off x="3686176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595"/>
            <p:cNvSpPr>
              <a:spLocks noChangeArrowheads="1"/>
            </p:cNvSpPr>
            <p:nvPr/>
          </p:nvSpPr>
          <p:spPr bwMode="auto">
            <a:xfrm>
              <a:off x="3686176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596"/>
            <p:cNvSpPr>
              <a:spLocks noChangeArrowheads="1"/>
            </p:cNvSpPr>
            <p:nvPr/>
          </p:nvSpPr>
          <p:spPr bwMode="auto">
            <a:xfrm>
              <a:off x="3811588" y="4264026"/>
              <a:ext cx="7938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597"/>
            <p:cNvSpPr>
              <a:spLocks noChangeArrowheads="1"/>
            </p:cNvSpPr>
            <p:nvPr/>
          </p:nvSpPr>
          <p:spPr bwMode="auto">
            <a:xfrm>
              <a:off x="3814763" y="437197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598"/>
            <p:cNvSpPr>
              <a:spLocks noChangeArrowheads="1"/>
            </p:cNvSpPr>
            <p:nvPr/>
          </p:nvSpPr>
          <p:spPr bwMode="auto">
            <a:xfrm>
              <a:off x="3814763" y="434975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599"/>
            <p:cNvSpPr>
              <a:spLocks noChangeArrowheads="1"/>
            </p:cNvSpPr>
            <p:nvPr/>
          </p:nvSpPr>
          <p:spPr bwMode="auto">
            <a:xfrm>
              <a:off x="3814763" y="4327526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600"/>
            <p:cNvSpPr>
              <a:spLocks noChangeArrowheads="1"/>
            </p:cNvSpPr>
            <p:nvPr/>
          </p:nvSpPr>
          <p:spPr bwMode="auto">
            <a:xfrm>
              <a:off x="3814763" y="4305301"/>
              <a:ext cx="28575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601"/>
            <p:cNvSpPr>
              <a:spLocks noChangeArrowheads="1"/>
            </p:cNvSpPr>
            <p:nvPr/>
          </p:nvSpPr>
          <p:spPr bwMode="auto">
            <a:xfrm>
              <a:off x="3814763" y="4281489"/>
              <a:ext cx="285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" name="Espace réservé du texte 20"/>
          <p:cNvSpPr txBox="1">
            <a:spLocks/>
          </p:cNvSpPr>
          <p:nvPr/>
        </p:nvSpPr>
        <p:spPr>
          <a:xfrm>
            <a:off x="4449001" y="2146923"/>
            <a:ext cx="677207" cy="25767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US" sz="1600" b="1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20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200" dirty="0" err="1" smtClean="0"/>
              <a:t>eUICC</a:t>
            </a:r>
            <a:endParaRPr lang="pl-PL" sz="1200" dirty="0"/>
          </a:p>
        </p:txBody>
      </p:sp>
      <p:sp>
        <p:nvSpPr>
          <p:cNvPr id="50" name="Rectangle 49"/>
          <p:cNvSpPr/>
          <p:nvPr/>
        </p:nvSpPr>
        <p:spPr>
          <a:xfrm>
            <a:off x="6979152" y="2943464"/>
            <a:ext cx="760651" cy="108433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52" name="Espace réservé du texte 18"/>
          <p:cNvSpPr txBox="1">
            <a:spLocks/>
          </p:cNvSpPr>
          <p:nvPr/>
        </p:nvSpPr>
        <p:spPr>
          <a:xfrm>
            <a:off x="6923301" y="3635969"/>
            <a:ext cx="934923" cy="257671"/>
          </a:xfrm>
          <a:prstGeom prst="rect">
            <a:avLst/>
          </a:prstGeom>
          <a:ln>
            <a:noFill/>
          </a:ln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US" sz="1600" b="1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20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dirty="0" smtClean="0">
                <a:solidFill>
                  <a:srgbClr val="00B050"/>
                </a:solidFill>
              </a:rPr>
              <a:t>SM-SR</a:t>
            </a:r>
            <a:endParaRPr lang="pl-PL" dirty="0">
              <a:solidFill>
                <a:srgbClr val="00B050"/>
              </a:solidFill>
            </a:endParaRP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6095" y="3053963"/>
            <a:ext cx="506764" cy="506764"/>
          </a:xfrm>
          <a:prstGeom prst="rect">
            <a:avLst/>
          </a:prstGeom>
        </p:spPr>
      </p:pic>
      <p:sp>
        <p:nvSpPr>
          <p:cNvPr id="67" name="Espace réservé du texte 18"/>
          <p:cNvSpPr txBox="1">
            <a:spLocks/>
          </p:cNvSpPr>
          <p:nvPr/>
        </p:nvSpPr>
        <p:spPr>
          <a:xfrm>
            <a:off x="6753947" y="2641919"/>
            <a:ext cx="1273630" cy="257671"/>
          </a:xfrm>
          <a:prstGeom prst="rect">
            <a:avLst/>
          </a:prstGeom>
          <a:ln>
            <a:noFill/>
          </a:ln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lang="en-US" sz="1600" b="1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20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100" dirty="0" smtClean="0">
                <a:solidFill>
                  <a:srgbClr val="00B050"/>
                </a:solidFill>
              </a:rPr>
              <a:t>The </a:t>
            </a:r>
            <a:r>
              <a:rPr lang="pl-PL" sz="1100" dirty="0" err="1" smtClean="0">
                <a:solidFill>
                  <a:srgbClr val="00B050"/>
                </a:solidFill>
              </a:rPr>
              <a:t>others</a:t>
            </a:r>
            <a:r>
              <a:rPr lang="pl-PL" sz="1100" dirty="0" smtClean="0">
                <a:solidFill>
                  <a:srgbClr val="00B050"/>
                </a:solidFill>
              </a:rPr>
              <a:t>…</a:t>
            </a:r>
            <a:endParaRPr lang="pl-PL" sz="1100" dirty="0">
              <a:solidFill>
                <a:srgbClr val="00B050"/>
              </a:solidFill>
            </a:endParaRPr>
          </a:p>
        </p:txBody>
      </p:sp>
      <p:sp>
        <p:nvSpPr>
          <p:cNvPr id="68" name="Bent Arrow 67"/>
          <p:cNvSpPr/>
          <p:nvPr/>
        </p:nvSpPr>
        <p:spPr>
          <a:xfrm>
            <a:off x="2184847" y="1827905"/>
            <a:ext cx="2132772" cy="592243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sp>
        <p:nvSpPr>
          <p:cNvPr id="70" name="Bent Arrow 69"/>
          <p:cNvSpPr/>
          <p:nvPr/>
        </p:nvSpPr>
        <p:spPr>
          <a:xfrm rot="5400000">
            <a:off x="5977376" y="1046671"/>
            <a:ext cx="520876" cy="2223213"/>
          </a:xfrm>
          <a:prstGeom prst="ben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035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292815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16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8" y="3192645"/>
            <a:ext cx="134108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 smtClean="0"/>
              <a:t>receiveCommand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sp>
        <p:nvSpPr>
          <p:cNvPr id="24" name="Rectangle 23"/>
          <p:cNvSpPr/>
          <p:nvPr/>
        </p:nvSpPr>
        <p:spPr>
          <a:xfrm>
            <a:off x="7008637" y="390969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10)</a:t>
            </a:r>
            <a:endParaRPr lang="pl-PL" dirty="0"/>
          </a:p>
        </p:txBody>
      </p:sp>
      <p:sp>
        <p:nvSpPr>
          <p:cNvPr id="26" name="Rectangle 25"/>
          <p:cNvSpPr/>
          <p:nvPr/>
        </p:nvSpPr>
        <p:spPr>
          <a:xfrm>
            <a:off x="3934703" y="3531113"/>
            <a:ext cx="460118" cy="36179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800" dirty="0" smtClean="0"/>
              <a:t>Div</a:t>
            </a:r>
            <a:endParaRPr lang="pl-PL" sz="800" dirty="0"/>
          </a:p>
          <a:p>
            <a:pPr algn="ctr"/>
            <a:r>
              <a:rPr lang="pl-PL" sz="800" dirty="0" smtClean="0"/>
              <a:t>0</a:t>
            </a:r>
            <a:endParaRPr lang="pl-PL" sz="800" dirty="0"/>
          </a:p>
        </p:txBody>
      </p:sp>
      <p:sp>
        <p:nvSpPr>
          <p:cNvPr id="8" name="&quot;No&quot; Symbol 7"/>
          <p:cNvSpPr/>
          <p:nvPr/>
        </p:nvSpPr>
        <p:spPr>
          <a:xfrm>
            <a:off x="2681384" y="1181028"/>
            <a:ext cx="2884248" cy="2884248"/>
          </a:xfrm>
          <a:prstGeom prst="noSmoking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415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292815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0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7" y="3192645"/>
            <a:ext cx="1517763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/>
              <a:t>receiveRecover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sp>
        <p:nvSpPr>
          <p:cNvPr id="24" name="Rectangle 23"/>
          <p:cNvSpPr/>
          <p:nvPr/>
        </p:nvSpPr>
        <p:spPr>
          <a:xfrm>
            <a:off x="7008637" y="390969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10)</a:t>
            </a:r>
            <a:endParaRPr lang="pl-PL" dirty="0"/>
          </a:p>
        </p:txBody>
      </p:sp>
      <p:sp>
        <p:nvSpPr>
          <p:cNvPr id="4" name="Rectangle 3"/>
          <p:cNvSpPr/>
          <p:nvPr/>
        </p:nvSpPr>
        <p:spPr>
          <a:xfrm>
            <a:off x="198255" y="4068509"/>
            <a:ext cx="4572000" cy="1077218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r>
              <a:rPr lang="pl-PL" sz="1600" dirty="0" err="1"/>
              <a:t>override</a:t>
            </a:r>
            <a:r>
              <a:rPr lang="pl-PL" sz="1600" dirty="0"/>
              <a:t> def </a:t>
            </a:r>
            <a:r>
              <a:rPr lang="pl-PL" sz="1600" dirty="0" err="1"/>
              <a:t>receiveRecover</a:t>
            </a:r>
            <a:r>
              <a:rPr lang="pl-PL" sz="1600" dirty="0"/>
              <a:t>: </a:t>
            </a:r>
            <a:r>
              <a:rPr lang="pl-PL" sz="1600" dirty="0" err="1"/>
              <a:t>Receive</a:t>
            </a:r>
            <a:r>
              <a:rPr lang="pl-PL" sz="1600" dirty="0"/>
              <a:t> = {</a:t>
            </a:r>
          </a:p>
          <a:p>
            <a:r>
              <a:rPr lang="pl-PL" sz="1600" dirty="0"/>
              <a:t>    </a:t>
            </a:r>
            <a:r>
              <a:rPr lang="pl-PL" sz="1600" dirty="0" err="1"/>
              <a:t>case</a:t>
            </a:r>
            <a:r>
              <a:rPr lang="pl-PL" sz="1600" dirty="0"/>
              <a:t> </a:t>
            </a:r>
            <a:r>
              <a:rPr lang="pl-PL" sz="1600" dirty="0" err="1"/>
              <a:t>AddEvt</a:t>
            </a:r>
            <a:r>
              <a:rPr lang="pl-PL" sz="1600" dirty="0"/>
              <a:t>(i) =&gt; </a:t>
            </a:r>
            <a:r>
              <a:rPr lang="pl-PL" sz="1600" dirty="0" err="1"/>
              <a:t>state</a:t>
            </a:r>
            <a:r>
              <a:rPr lang="pl-PL" sz="1600" dirty="0"/>
              <a:t> += i</a:t>
            </a:r>
          </a:p>
          <a:p>
            <a:r>
              <a:rPr lang="pl-PL" sz="1600" dirty="0"/>
              <a:t>    </a:t>
            </a:r>
            <a:r>
              <a:rPr lang="pl-PL" sz="1600" dirty="0" err="1"/>
              <a:t>case</a:t>
            </a:r>
            <a:r>
              <a:rPr lang="pl-PL" sz="1600" dirty="0"/>
              <a:t> </a:t>
            </a:r>
            <a:r>
              <a:rPr lang="pl-PL" sz="1600" dirty="0" err="1"/>
              <a:t>DivideEvt</a:t>
            </a:r>
            <a:r>
              <a:rPr lang="pl-PL" sz="1600" dirty="0"/>
              <a:t>(i) =&gt; </a:t>
            </a:r>
            <a:r>
              <a:rPr lang="pl-PL" sz="1600" dirty="0" err="1"/>
              <a:t>state</a:t>
            </a:r>
            <a:r>
              <a:rPr lang="pl-PL" sz="1600" dirty="0"/>
              <a:t> /= i</a:t>
            </a:r>
          </a:p>
          <a:p>
            <a:r>
              <a:rPr lang="pl-PL" sz="1600" dirty="0"/>
              <a:t>  }</a:t>
            </a:r>
          </a:p>
        </p:txBody>
      </p:sp>
      <p:cxnSp>
        <p:nvCxnSpPr>
          <p:cNvPr id="9" name="Straight Connector 8"/>
          <p:cNvCxnSpPr>
            <a:stCxn id="4" idx="0"/>
            <a:endCxn id="28" idx="1"/>
          </p:cNvCxnSpPr>
          <p:nvPr/>
        </p:nvCxnSpPr>
        <p:spPr>
          <a:xfrm flipV="1">
            <a:off x="2484255" y="3408645"/>
            <a:ext cx="1009962" cy="6598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2672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292815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6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7" y="3192645"/>
            <a:ext cx="1517763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/>
              <a:t>receiveRecover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sp>
        <p:nvSpPr>
          <p:cNvPr id="24" name="Rectangle 23"/>
          <p:cNvSpPr/>
          <p:nvPr/>
        </p:nvSpPr>
        <p:spPr>
          <a:xfrm>
            <a:off x="7008637" y="390969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10)</a:t>
            </a:r>
            <a:endParaRPr lang="pl-PL" dirty="0"/>
          </a:p>
        </p:txBody>
      </p:sp>
      <p:cxnSp>
        <p:nvCxnSpPr>
          <p:cNvPr id="8" name="Elbow Connector 7"/>
          <p:cNvCxnSpPr>
            <a:stCxn id="2" idx="1"/>
          </p:cNvCxnSpPr>
          <p:nvPr/>
        </p:nvCxnSpPr>
        <p:spPr>
          <a:xfrm rot="10800000">
            <a:off x="4226560" y="3624645"/>
            <a:ext cx="2783840" cy="77959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endCxn id="25" idx="2"/>
          </p:cNvCxnSpPr>
          <p:nvPr/>
        </p:nvCxnSpPr>
        <p:spPr>
          <a:xfrm flipH="1" flipV="1">
            <a:off x="4188899" y="2822095"/>
            <a:ext cx="37660" cy="3705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461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292815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 = 16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7" y="3192645"/>
            <a:ext cx="1517763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/>
              <a:t>receiveRecover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sp>
        <p:nvSpPr>
          <p:cNvPr id="24" name="Rectangle 23"/>
          <p:cNvSpPr/>
          <p:nvPr/>
        </p:nvSpPr>
        <p:spPr>
          <a:xfrm>
            <a:off x="7008637" y="390969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10)</a:t>
            </a:r>
            <a:endParaRPr lang="pl-PL" dirty="0"/>
          </a:p>
        </p:txBody>
      </p:sp>
      <p:cxnSp>
        <p:nvCxnSpPr>
          <p:cNvPr id="8" name="Elbow Connector 7"/>
          <p:cNvCxnSpPr>
            <a:stCxn id="24" idx="1"/>
          </p:cNvCxnSpPr>
          <p:nvPr/>
        </p:nvCxnSpPr>
        <p:spPr>
          <a:xfrm rot="10800000">
            <a:off x="4226561" y="3624645"/>
            <a:ext cx="2782077" cy="44063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endCxn id="25" idx="2"/>
          </p:cNvCxnSpPr>
          <p:nvPr/>
        </p:nvCxnSpPr>
        <p:spPr>
          <a:xfrm flipH="1" flipV="1">
            <a:off x="4188899" y="2822095"/>
            <a:ext cx="37660" cy="3705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2496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168" y="920750"/>
            <a:ext cx="2633472" cy="41148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49680" y="2153920"/>
            <a:ext cx="62036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dirty="0" smtClean="0"/>
              <a:t>TOO MUCH             EVENTS</a:t>
            </a:r>
            <a:endParaRPr lang="pl-PL" sz="3600" dirty="0"/>
          </a:p>
        </p:txBody>
      </p:sp>
    </p:spTree>
    <p:extLst>
      <p:ext uri="{BB962C8B-B14F-4D97-AF65-F5344CB8AC3E}">
        <p14:creationId xmlns:p14="http://schemas.microsoft.com/office/powerpoint/2010/main" val="1061647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933607" y="1336962"/>
            <a:ext cx="1602223" cy="160222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Rectangle 18"/>
          <p:cNvSpPr/>
          <p:nvPr/>
        </p:nvSpPr>
        <p:spPr>
          <a:xfrm>
            <a:off x="3417851" y="1883175"/>
            <a:ext cx="1594130" cy="21120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3417852" y="188317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/>
              <a:t>PersistentActor</a:t>
            </a:r>
            <a:endParaRPr lang="pl-PL" sz="1600" dirty="0"/>
          </a:p>
        </p:txBody>
      </p:sp>
      <p:sp>
        <p:nvSpPr>
          <p:cNvPr id="21" name="Rectangle 20"/>
          <p:cNvSpPr/>
          <p:nvPr/>
        </p:nvSpPr>
        <p:spPr>
          <a:xfrm>
            <a:off x="2299802" y="2401066"/>
            <a:ext cx="1118047" cy="3789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2299803" y="2051627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Mailbox</a:t>
            </a:r>
            <a:endParaRPr lang="pl-PL" dirty="0"/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37648" y="1458964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Thread</a:t>
            </a:r>
            <a:endParaRPr lang="pl-PL" dirty="0"/>
          </a:p>
        </p:txBody>
      </p:sp>
      <p:sp>
        <p:nvSpPr>
          <p:cNvPr id="25" name="Rectangle 24"/>
          <p:cNvSpPr/>
          <p:nvPr/>
        </p:nvSpPr>
        <p:spPr>
          <a:xfrm>
            <a:off x="3542491" y="2359013"/>
            <a:ext cx="1349928" cy="4630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/>
              <a:t>s</a:t>
            </a:r>
            <a:r>
              <a:rPr lang="pl-PL" dirty="0" err="1" smtClean="0"/>
              <a:t>tate</a:t>
            </a:r>
            <a:r>
              <a:rPr lang="pl-PL" dirty="0" smtClean="0"/>
              <a:t> = 112</a:t>
            </a:r>
            <a:endParaRPr lang="pl-PL" dirty="0"/>
          </a:p>
        </p:txBody>
      </p:sp>
      <p:sp>
        <p:nvSpPr>
          <p:cNvPr id="28" name="Title 6"/>
          <p:cNvSpPr txBox="1">
            <a:spLocks/>
          </p:cNvSpPr>
          <p:nvPr/>
        </p:nvSpPr>
        <p:spPr>
          <a:xfrm>
            <a:off x="3494217" y="3192645"/>
            <a:ext cx="1517763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400" dirty="0" err="1"/>
              <a:t>receiveRecover</a:t>
            </a:r>
            <a:endParaRPr lang="pl-PL" sz="1400" dirty="0"/>
          </a:p>
        </p:txBody>
      </p:sp>
      <p:sp>
        <p:nvSpPr>
          <p:cNvPr id="3" name="Rectangle 2"/>
          <p:cNvSpPr/>
          <p:nvPr/>
        </p:nvSpPr>
        <p:spPr>
          <a:xfrm>
            <a:off x="7010400" y="1825472"/>
            <a:ext cx="1371600" cy="27343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Title 6"/>
          <p:cNvSpPr txBox="1">
            <a:spLocks/>
          </p:cNvSpPr>
          <p:nvPr/>
        </p:nvSpPr>
        <p:spPr>
          <a:xfrm>
            <a:off x="7253836" y="4559817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err="1" smtClean="0"/>
              <a:t>Stream</a:t>
            </a:r>
            <a:endParaRPr lang="pl-PL" dirty="0"/>
          </a:p>
        </p:txBody>
      </p:sp>
      <p:sp>
        <p:nvSpPr>
          <p:cNvPr id="2" name="Rectangle 1"/>
          <p:cNvSpPr/>
          <p:nvPr/>
        </p:nvSpPr>
        <p:spPr>
          <a:xfrm>
            <a:off x="7010400" y="424865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6)</a:t>
            </a:r>
            <a:endParaRPr lang="pl-PL" dirty="0"/>
          </a:p>
        </p:txBody>
      </p:sp>
      <p:sp>
        <p:nvSpPr>
          <p:cNvPr id="24" name="Rectangle 23"/>
          <p:cNvSpPr/>
          <p:nvPr/>
        </p:nvSpPr>
        <p:spPr>
          <a:xfrm>
            <a:off x="7008637" y="3909696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10)</a:t>
            </a:r>
            <a:endParaRPr lang="pl-PL" dirty="0"/>
          </a:p>
        </p:txBody>
      </p:sp>
      <p:cxnSp>
        <p:nvCxnSpPr>
          <p:cNvPr id="11" name="Straight Arrow Connector 10"/>
          <p:cNvCxnSpPr>
            <a:stCxn id="31" idx="1"/>
          </p:cNvCxnSpPr>
          <p:nvPr/>
        </p:nvCxnSpPr>
        <p:spPr>
          <a:xfrm flipH="1">
            <a:off x="4835429" y="2029821"/>
            <a:ext cx="2173208" cy="13788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7008637" y="2570323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DivEvt</a:t>
            </a:r>
            <a:r>
              <a:rPr lang="pl-PL" dirty="0" smtClean="0"/>
              <a:t>(54)</a:t>
            </a:r>
            <a:endParaRPr lang="pl-PL" dirty="0"/>
          </a:p>
        </p:txBody>
      </p:sp>
      <p:cxnSp>
        <p:nvCxnSpPr>
          <p:cNvPr id="27" name="Straight Connector 26"/>
          <p:cNvCxnSpPr>
            <a:stCxn id="26" idx="2"/>
            <a:endCxn id="24" idx="0"/>
          </p:cNvCxnSpPr>
          <p:nvPr/>
        </p:nvCxnSpPr>
        <p:spPr>
          <a:xfrm>
            <a:off x="7694437" y="2881484"/>
            <a:ext cx="0" cy="1028212"/>
          </a:xfrm>
          <a:prstGeom prst="line">
            <a:avLst/>
          </a:prstGeom>
          <a:ln w="76200"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6"/>
          <p:cNvSpPr txBox="1">
            <a:spLocks/>
          </p:cNvSpPr>
          <p:nvPr/>
        </p:nvSpPr>
        <p:spPr>
          <a:xfrm>
            <a:off x="7840172" y="3225002"/>
            <a:ext cx="88472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/>
              <a:t>x</a:t>
            </a:r>
            <a:r>
              <a:rPr lang="pl-PL" dirty="0" smtClean="0"/>
              <a:t> 1000</a:t>
            </a:r>
            <a:endParaRPr lang="pl-PL" dirty="0"/>
          </a:p>
        </p:txBody>
      </p:sp>
      <p:sp>
        <p:nvSpPr>
          <p:cNvPr id="30" name="Rectangle 29"/>
          <p:cNvSpPr/>
          <p:nvPr/>
        </p:nvSpPr>
        <p:spPr>
          <a:xfrm>
            <a:off x="7008637" y="2214076"/>
            <a:ext cx="1371600" cy="311161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State</a:t>
            </a:r>
            <a:r>
              <a:rPr lang="pl-PL" dirty="0" smtClean="0"/>
              <a:t>(100)</a:t>
            </a:r>
            <a:endParaRPr lang="pl-PL" dirty="0"/>
          </a:p>
        </p:txBody>
      </p:sp>
      <p:sp>
        <p:nvSpPr>
          <p:cNvPr id="31" name="Rectangle 30"/>
          <p:cNvSpPr/>
          <p:nvPr/>
        </p:nvSpPr>
        <p:spPr>
          <a:xfrm>
            <a:off x="7008637" y="1874240"/>
            <a:ext cx="1371600" cy="31116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AddEvt</a:t>
            </a:r>
            <a:r>
              <a:rPr lang="pl-PL" dirty="0" smtClean="0"/>
              <a:t>(12)</a:t>
            </a:r>
            <a:endParaRPr lang="pl-PL" dirty="0"/>
          </a:p>
        </p:txBody>
      </p:sp>
      <p:cxnSp>
        <p:nvCxnSpPr>
          <p:cNvPr id="32" name="Straight Arrow Connector 31"/>
          <p:cNvCxnSpPr/>
          <p:nvPr/>
        </p:nvCxnSpPr>
        <p:spPr>
          <a:xfrm flipH="1" flipV="1">
            <a:off x="4214916" y="2831725"/>
            <a:ext cx="38182" cy="4316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1673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33" name="Title 6"/>
          <p:cNvSpPr txBox="1">
            <a:spLocks/>
          </p:cNvSpPr>
          <p:nvPr/>
        </p:nvSpPr>
        <p:spPr>
          <a:xfrm>
            <a:off x="846308" y="953733"/>
            <a:ext cx="7310931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Maszyna stanu… czyli </a:t>
            </a:r>
            <a:r>
              <a:rPr lang="pl-PL" dirty="0" err="1" smtClean="0"/>
              <a:t>akka</a:t>
            </a:r>
            <a:r>
              <a:rPr lang="pl-PL" dirty="0" smtClean="0"/>
              <a:t> FSM</a:t>
            </a:r>
            <a:endParaRPr lang="pl-PL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88" y="1628174"/>
            <a:ext cx="4634369" cy="296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635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6174" y="1545579"/>
            <a:ext cx="1125410" cy="74716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898" y="1312256"/>
            <a:ext cx="1829316" cy="1213805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2108879" y="926006"/>
            <a:ext cx="5149677" cy="619573"/>
          </a:xfrm>
          <a:prstGeom prst="rect">
            <a:avLst/>
          </a:prstGeom>
        </p:spPr>
        <p:txBody>
          <a:bodyPr vert="horz" lIns="36000" tIns="0" rIns="36000" bIns="0" rtlCol="0" anchor="ctr">
            <a:normAutofit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pl-PL" dirty="0" smtClean="0"/>
              <a:t>Zady i walety</a:t>
            </a:r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1230183" y="2432357"/>
            <a:ext cx="3576486" cy="2139643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Tx/>
              <a:buChar char="-"/>
            </a:pPr>
            <a:r>
              <a:rPr lang="pl-PL" sz="1400" dirty="0" smtClean="0"/>
              <a:t>Inne podejście do projektowania aplikacji</a:t>
            </a:r>
          </a:p>
          <a:p>
            <a:pPr marL="285750" indent="-285750">
              <a:buFontTx/>
              <a:buChar char="-"/>
            </a:pPr>
            <a:endParaRPr lang="pl-PL" sz="1400" dirty="0"/>
          </a:p>
          <a:p>
            <a:pPr marL="285750" indent="-285750">
              <a:buFontTx/>
              <a:buChar char="-"/>
            </a:pPr>
            <a:r>
              <a:rPr lang="pl-PL" sz="1400" dirty="0" smtClean="0"/>
              <a:t>Brak magicznie działających technologii (np. MDC traci rację bytu)</a:t>
            </a:r>
          </a:p>
          <a:p>
            <a:pPr marL="285750" indent="-285750">
              <a:buFontTx/>
              <a:buChar char="-"/>
            </a:pPr>
            <a:endParaRPr lang="pl-PL" sz="1400" dirty="0"/>
          </a:p>
          <a:p>
            <a:pPr marL="285750" indent="-285750">
              <a:buFontTx/>
              <a:buChar char="-"/>
            </a:pPr>
            <a:r>
              <a:rPr lang="pl-PL" sz="1400" dirty="0" smtClean="0"/>
              <a:t>Nie działają adnotacje… bo nie ma kontenera</a:t>
            </a:r>
          </a:p>
          <a:p>
            <a:pPr marL="285750" indent="-285750">
              <a:buFontTx/>
              <a:buChar char="-"/>
            </a:pPr>
            <a:endParaRPr lang="pl-PL" sz="1400" dirty="0"/>
          </a:p>
          <a:p>
            <a:pPr marL="285750" indent="-285750">
              <a:buFontTx/>
              <a:buChar char="-"/>
            </a:pPr>
            <a:r>
              <a:rPr lang="pl-PL" sz="1400" dirty="0" smtClean="0"/>
              <a:t>Wszystko musi być </a:t>
            </a:r>
            <a:r>
              <a:rPr lang="pl-PL" sz="1400" dirty="0" err="1" smtClean="0"/>
              <a:t>immutable</a:t>
            </a:r>
            <a:endParaRPr lang="pl-PL" sz="1400" dirty="0"/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5162718" y="2751068"/>
            <a:ext cx="3868674" cy="2290269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Tx/>
              <a:buChar char="-"/>
            </a:pPr>
            <a:r>
              <a:rPr lang="pl-PL" sz="1400" dirty="0" smtClean="0"/>
              <a:t>Enkapsulacja </a:t>
            </a:r>
            <a:r>
              <a:rPr lang="pl-PL" sz="1400" dirty="0" err="1" smtClean="0"/>
              <a:t>level</a:t>
            </a:r>
            <a:r>
              <a:rPr lang="pl-PL" sz="1400" dirty="0" smtClean="0"/>
              <a:t> PRO</a:t>
            </a:r>
          </a:p>
          <a:p>
            <a:pPr marL="285750" indent="-285750">
              <a:buFontTx/>
              <a:buChar char="-"/>
            </a:pPr>
            <a:endParaRPr lang="pl-PL" sz="1400" dirty="0" smtClean="0"/>
          </a:p>
          <a:p>
            <a:pPr marL="285750" indent="-285750">
              <a:buFontTx/>
              <a:buChar char="-"/>
            </a:pPr>
            <a:r>
              <a:rPr lang="pl-PL" sz="1400" dirty="0" err="1" smtClean="0"/>
              <a:t>Thread</a:t>
            </a:r>
            <a:r>
              <a:rPr lang="pl-PL" sz="1400" dirty="0" smtClean="0"/>
              <a:t> </a:t>
            </a:r>
            <a:r>
              <a:rPr lang="pl-PL" sz="1400" dirty="0" err="1" smtClean="0"/>
              <a:t>safe</a:t>
            </a:r>
            <a:r>
              <a:rPr lang="pl-PL" sz="1400" dirty="0" smtClean="0"/>
              <a:t> (</a:t>
            </a:r>
            <a:r>
              <a:rPr lang="pl-PL" sz="1400" dirty="0" err="1" smtClean="0"/>
              <a:t>optimistic</a:t>
            </a:r>
            <a:r>
              <a:rPr lang="pl-PL" sz="1400" dirty="0" smtClean="0"/>
              <a:t>/</a:t>
            </a:r>
            <a:r>
              <a:rPr lang="pl-PL" sz="1400" dirty="0" err="1" smtClean="0"/>
              <a:t>pesimistic</a:t>
            </a:r>
            <a:r>
              <a:rPr lang="pl-PL" sz="1400" dirty="0" smtClean="0"/>
              <a:t> </a:t>
            </a:r>
            <a:r>
              <a:rPr lang="pl-PL" sz="1400" dirty="0" err="1" smtClean="0"/>
              <a:t>locking</a:t>
            </a:r>
            <a:r>
              <a:rPr lang="pl-PL" sz="1400" dirty="0" smtClean="0"/>
              <a:t> nie są potrzebne)</a:t>
            </a:r>
          </a:p>
          <a:p>
            <a:pPr marL="285750" indent="-285750">
              <a:buFontTx/>
              <a:buChar char="-"/>
            </a:pPr>
            <a:endParaRPr lang="pl-PL" sz="1400" dirty="0" smtClean="0"/>
          </a:p>
          <a:p>
            <a:pPr marL="285750" indent="-285750">
              <a:buFontTx/>
              <a:buChar char="-"/>
            </a:pPr>
            <a:r>
              <a:rPr lang="pl-PL" sz="1400" dirty="0" smtClean="0"/>
              <a:t>Audyt za darmo, </a:t>
            </a:r>
            <a:r>
              <a:rPr lang="pl-PL" sz="1400" dirty="0"/>
              <a:t>ł</a:t>
            </a:r>
            <a:r>
              <a:rPr lang="pl-PL" sz="1400" dirty="0" smtClean="0"/>
              <a:t>atwo odtworzyć kolejne kroki</a:t>
            </a:r>
          </a:p>
          <a:p>
            <a:pPr marL="285750" indent="-285750">
              <a:buFontTx/>
              <a:buChar char="-"/>
            </a:pPr>
            <a:endParaRPr lang="pl-PL" sz="1400" dirty="0" smtClean="0"/>
          </a:p>
          <a:p>
            <a:pPr marL="285750" indent="-285750">
              <a:buFontTx/>
              <a:buChar char="-"/>
            </a:pPr>
            <a:r>
              <a:rPr lang="pl-PL" sz="1400" dirty="0" smtClean="0"/>
              <a:t>Dobry kandydat zarówno na Sagę jak i na Encję</a:t>
            </a:r>
          </a:p>
          <a:p>
            <a:pPr marL="285750" indent="-285750">
              <a:buFontTx/>
              <a:buChar char="-"/>
            </a:pPr>
            <a:endParaRPr lang="pl-PL" sz="1400" dirty="0"/>
          </a:p>
          <a:p>
            <a:pPr marL="285750" indent="-285750">
              <a:buFontTx/>
              <a:buChar char="-"/>
            </a:pPr>
            <a:r>
              <a:rPr lang="pl-PL" sz="1400" dirty="0" smtClean="0"/>
              <a:t>Naturalne wsparcie dla maszyny stanu</a:t>
            </a:r>
          </a:p>
          <a:p>
            <a:pPr marL="285750" indent="-285750">
              <a:buFontTx/>
              <a:buChar char="-"/>
            </a:pPr>
            <a:endParaRPr lang="pl-PL" sz="1400" dirty="0" smtClean="0"/>
          </a:p>
          <a:p>
            <a:pPr marL="285750" indent="-285750">
              <a:buFontTx/>
              <a:buChar char="-"/>
            </a:pPr>
            <a:endParaRPr lang="pl-PL" sz="1400" dirty="0"/>
          </a:p>
        </p:txBody>
      </p:sp>
      <p:sp>
        <p:nvSpPr>
          <p:cNvPr id="16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952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smtClean="0"/>
              <a:t>Trochę odlecimy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074723"/>
            <a:ext cx="3578197" cy="357819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424506" y="3925104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l-PL" sz="1600" dirty="0">
                <a:solidFill>
                  <a:schemeClr val="tx2"/>
                </a:solidFill>
              </a:rPr>
              <a:t>https://www.youtube.com/watch?v=8JKjvY4etTY</a:t>
            </a:r>
          </a:p>
        </p:txBody>
      </p:sp>
      <p:sp>
        <p:nvSpPr>
          <p:cNvPr id="6" name="Rectangle 5"/>
          <p:cNvSpPr/>
          <p:nvPr/>
        </p:nvSpPr>
        <p:spPr>
          <a:xfrm>
            <a:off x="4424505" y="4314366"/>
            <a:ext cx="471949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600" dirty="0">
                <a:solidFill>
                  <a:schemeClr val="tx2"/>
                </a:solidFill>
              </a:rPr>
              <a:t>https://www.youtube.com/watch?v=JHGkaShoyNs</a:t>
            </a:r>
          </a:p>
        </p:txBody>
      </p:sp>
      <p:sp>
        <p:nvSpPr>
          <p:cNvPr id="7" name="Rectangle 6"/>
          <p:cNvSpPr/>
          <p:nvPr/>
        </p:nvSpPr>
        <p:spPr>
          <a:xfrm>
            <a:off x="4424505" y="3586550"/>
            <a:ext cx="55794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600" dirty="0">
                <a:solidFill>
                  <a:schemeClr val="tx2"/>
                </a:solidFill>
              </a:rPr>
              <a:t>https://www.youtube.com/watch?v=LDW0QWie21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3596" y="1202099"/>
            <a:ext cx="4013819" cy="2215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36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79"/>
          <p:cNvSpPr/>
          <p:nvPr/>
        </p:nvSpPr>
        <p:spPr>
          <a:xfrm>
            <a:off x="5436846" y="1049034"/>
            <a:ext cx="3626234" cy="4094465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Rectangle 2"/>
          <p:cNvSpPr/>
          <p:nvPr/>
        </p:nvSpPr>
        <p:spPr>
          <a:xfrm>
            <a:off x="979140" y="1262358"/>
            <a:ext cx="3552403" cy="33420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9" name="Rectangle 78"/>
          <p:cNvSpPr/>
          <p:nvPr/>
        </p:nvSpPr>
        <p:spPr>
          <a:xfrm>
            <a:off x="1120153" y="1829937"/>
            <a:ext cx="3370930" cy="2685116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smtClean="0"/>
              <a:t>Klasyk DDD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79140" y="1262358"/>
            <a:ext cx="2929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err="1" smtClean="0">
                <a:solidFill>
                  <a:schemeClr val="tx2"/>
                </a:solidFill>
              </a:rPr>
              <a:t>Bounded</a:t>
            </a:r>
            <a:r>
              <a:rPr lang="pl-PL" dirty="0" smtClean="0">
                <a:solidFill>
                  <a:schemeClr val="tx2"/>
                </a:solidFill>
              </a:rPr>
              <a:t> </a:t>
            </a:r>
            <a:r>
              <a:rPr lang="pl-PL" dirty="0" err="1" smtClean="0">
                <a:solidFill>
                  <a:schemeClr val="tx2"/>
                </a:solidFill>
              </a:rPr>
              <a:t>Context</a:t>
            </a:r>
            <a:r>
              <a:rPr lang="pl-PL" dirty="0" smtClean="0">
                <a:solidFill>
                  <a:schemeClr val="tx2"/>
                </a:solidFill>
              </a:rPr>
              <a:t> (SMSR)</a:t>
            </a:r>
            <a:endParaRPr lang="pl-PL" dirty="0">
              <a:solidFill>
                <a:schemeClr val="tx2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2701729"/>
              </p:ext>
            </p:extLst>
          </p:nvPr>
        </p:nvGraphicFramePr>
        <p:xfrm>
          <a:off x="5590371" y="1682254"/>
          <a:ext cx="1542882" cy="59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294">
                  <a:extLst>
                    <a:ext uri="{9D8B030D-6E8A-4147-A177-3AD203B41FA5}">
                      <a16:colId xmlns:a16="http://schemas.microsoft.com/office/drawing/2014/main" val="3246237949"/>
                    </a:ext>
                  </a:extLst>
                </a:gridCol>
                <a:gridCol w="514294">
                  <a:extLst>
                    <a:ext uri="{9D8B030D-6E8A-4147-A177-3AD203B41FA5}">
                      <a16:colId xmlns:a16="http://schemas.microsoft.com/office/drawing/2014/main" val="3309067380"/>
                    </a:ext>
                  </a:extLst>
                </a:gridCol>
                <a:gridCol w="514294">
                  <a:extLst>
                    <a:ext uri="{9D8B030D-6E8A-4147-A177-3AD203B41FA5}">
                      <a16:colId xmlns:a16="http://schemas.microsoft.com/office/drawing/2014/main" val="1184737048"/>
                    </a:ext>
                  </a:extLst>
                </a:gridCol>
              </a:tblGrid>
              <a:tr h="292522"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725861"/>
                  </a:ext>
                </a:extLst>
              </a:tr>
              <a:tr h="292522"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4674900"/>
                  </a:ext>
                </a:extLst>
              </a:tr>
            </a:tbl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935" y="1286634"/>
            <a:ext cx="621148" cy="621148"/>
          </a:xfrm>
          <a:prstGeom prst="rect">
            <a:avLst/>
          </a:prstGeom>
        </p:spPr>
      </p:pic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0741967"/>
              </p:ext>
            </p:extLst>
          </p:nvPr>
        </p:nvGraphicFramePr>
        <p:xfrm>
          <a:off x="7435794" y="2357238"/>
          <a:ext cx="1542882" cy="59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294">
                  <a:extLst>
                    <a:ext uri="{9D8B030D-6E8A-4147-A177-3AD203B41FA5}">
                      <a16:colId xmlns:a16="http://schemas.microsoft.com/office/drawing/2014/main" val="3246237949"/>
                    </a:ext>
                  </a:extLst>
                </a:gridCol>
                <a:gridCol w="514294">
                  <a:extLst>
                    <a:ext uri="{9D8B030D-6E8A-4147-A177-3AD203B41FA5}">
                      <a16:colId xmlns:a16="http://schemas.microsoft.com/office/drawing/2014/main" val="3309067380"/>
                    </a:ext>
                  </a:extLst>
                </a:gridCol>
                <a:gridCol w="514294">
                  <a:extLst>
                    <a:ext uri="{9D8B030D-6E8A-4147-A177-3AD203B41FA5}">
                      <a16:colId xmlns:a16="http://schemas.microsoft.com/office/drawing/2014/main" val="1184737048"/>
                    </a:ext>
                  </a:extLst>
                </a:gridCol>
              </a:tblGrid>
              <a:tr h="292522"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725861"/>
                  </a:ext>
                </a:extLst>
              </a:tr>
              <a:tr h="292522"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4674900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533727" y="1341903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>
                <a:solidFill>
                  <a:schemeClr val="tx2"/>
                </a:solidFill>
              </a:rPr>
              <a:t>EIS</a:t>
            </a:r>
            <a:endParaRPr lang="pl-PL" dirty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366697" y="1987906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>
                <a:solidFill>
                  <a:schemeClr val="tx2"/>
                </a:solidFill>
              </a:rPr>
              <a:t>ECASD</a:t>
            </a:r>
            <a:endParaRPr lang="pl-PL" dirty="0">
              <a:solidFill>
                <a:schemeClr val="tx2"/>
              </a:solidFill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439917"/>
              </p:ext>
            </p:extLst>
          </p:nvPr>
        </p:nvGraphicFramePr>
        <p:xfrm>
          <a:off x="7444920" y="3388489"/>
          <a:ext cx="1542882" cy="59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294">
                  <a:extLst>
                    <a:ext uri="{9D8B030D-6E8A-4147-A177-3AD203B41FA5}">
                      <a16:colId xmlns:a16="http://schemas.microsoft.com/office/drawing/2014/main" val="3246237949"/>
                    </a:ext>
                  </a:extLst>
                </a:gridCol>
                <a:gridCol w="514294">
                  <a:extLst>
                    <a:ext uri="{9D8B030D-6E8A-4147-A177-3AD203B41FA5}">
                      <a16:colId xmlns:a16="http://schemas.microsoft.com/office/drawing/2014/main" val="3309067380"/>
                    </a:ext>
                  </a:extLst>
                </a:gridCol>
                <a:gridCol w="514294">
                  <a:extLst>
                    <a:ext uri="{9D8B030D-6E8A-4147-A177-3AD203B41FA5}">
                      <a16:colId xmlns:a16="http://schemas.microsoft.com/office/drawing/2014/main" val="1184737048"/>
                    </a:ext>
                  </a:extLst>
                </a:gridCol>
              </a:tblGrid>
              <a:tr h="292522"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725861"/>
                  </a:ext>
                </a:extLst>
              </a:tr>
              <a:tr h="292522"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4674900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7366697" y="3068346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>
                <a:solidFill>
                  <a:schemeClr val="tx2"/>
                </a:solidFill>
              </a:rPr>
              <a:t>ISD-R</a:t>
            </a:r>
            <a:endParaRPr lang="pl-PL" dirty="0">
              <a:solidFill>
                <a:schemeClr val="tx2"/>
              </a:solidFill>
            </a:endParaRPr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3329697"/>
              </p:ext>
            </p:extLst>
          </p:nvPr>
        </p:nvGraphicFramePr>
        <p:xfrm>
          <a:off x="7435794" y="4465864"/>
          <a:ext cx="1542882" cy="59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294">
                  <a:extLst>
                    <a:ext uri="{9D8B030D-6E8A-4147-A177-3AD203B41FA5}">
                      <a16:colId xmlns:a16="http://schemas.microsoft.com/office/drawing/2014/main" val="3246237949"/>
                    </a:ext>
                  </a:extLst>
                </a:gridCol>
                <a:gridCol w="514294">
                  <a:extLst>
                    <a:ext uri="{9D8B030D-6E8A-4147-A177-3AD203B41FA5}">
                      <a16:colId xmlns:a16="http://schemas.microsoft.com/office/drawing/2014/main" val="3309067380"/>
                    </a:ext>
                  </a:extLst>
                </a:gridCol>
                <a:gridCol w="514294">
                  <a:extLst>
                    <a:ext uri="{9D8B030D-6E8A-4147-A177-3AD203B41FA5}">
                      <a16:colId xmlns:a16="http://schemas.microsoft.com/office/drawing/2014/main" val="1184737048"/>
                    </a:ext>
                  </a:extLst>
                </a:gridCol>
              </a:tblGrid>
              <a:tr h="292522"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725861"/>
                  </a:ext>
                </a:extLst>
              </a:tr>
              <a:tr h="292522"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4674900"/>
                  </a:ext>
                </a:extLst>
              </a:tr>
            </a:tbl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7357571" y="4145721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>
                <a:solidFill>
                  <a:schemeClr val="tx2"/>
                </a:solidFill>
              </a:rPr>
              <a:t>ISD-P</a:t>
            </a:r>
            <a:endParaRPr lang="pl-PL" dirty="0">
              <a:solidFill>
                <a:schemeClr val="tx2"/>
              </a:solidFill>
            </a:endParaRPr>
          </a:p>
        </p:txBody>
      </p:sp>
      <p:cxnSp>
        <p:nvCxnSpPr>
          <p:cNvPr id="15" name="Elbow Connector 14"/>
          <p:cNvCxnSpPr>
            <a:endCxn id="14" idx="1"/>
          </p:cNvCxnSpPr>
          <p:nvPr/>
        </p:nvCxnSpPr>
        <p:spPr>
          <a:xfrm>
            <a:off x="6376524" y="2276614"/>
            <a:ext cx="1059270" cy="37780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>
            <a:endCxn id="19" idx="1"/>
          </p:cNvCxnSpPr>
          <p:nvPr/>
        </p:nvCxnSpPr>
        <p:spPr>
          <a:xfrm rot="16200000" flipH="1">
            <a:off x="6181243" y="2421991"/>
            <a:ext cx="1458959" cy="106839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endCxn id="23" idx="1"/>
          </p:cNvCxnSpPr>
          <p:nvPr/>
        </p:nvCxnSpPr>
        <p:spPr>
          <a:xfrm rot="16200000" flipH="1">
            <a:off x="5633820" y="2961070"/>
            <a:ext cx="2540114" cy="106383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1577795" y="2123396"/>
            <a:ext cx="679731" cy="443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EIS</a:t>
            </a:r>
            <a:endParaRPr lang="pl-PL" dirty="0"/>
          </a:p>
        </p:txBody>
      </p:sp>
      <p:sp>
        <p:nvSpPr>
          <p:cNvPr id="31" name="Rectangle 30"/>
          <p:cNvSpPr/>
          <p:nvPr/>
        </p:nvSpPr>
        <p:spPr>
          <a:xfrm>
            <a:off x="2423410" y="2594102"/>
            <a:ext cx="995011" cy="42078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ECASD</a:t>
            </a:r>
            <a:endParaRPr lang="pl-PL" dirty="0"/>
          </a:p>
        </p:txBody>
      </p:sp>
      <p:sp>
        <p:nvSpPr>
          <p:cNvPr id="32" name="Rectangle 31"/>
          <p:cNvSpPr/>
          <p:nvPr/>
        </p:nvSpPr>
        <p:spPr>
          <a:xfrm>
            <a:off x="2423412" y="3154457"/>
            <a:ext cx="995011" cy="42078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SDR</a:t>
            </a:r>
            <a:endParaRPr lang="pl-PL" dirty="0"/>
          </a:p>
        </p:txBody>
      </p:sp>
      <p:sp>
        <p:nvSpPr>
          <p:cNvPr id="33" name="Rectangle 32"/>
          <p:cNvSpPr/>
          <p:nvPr/>
        </p:nvSpPr>
        <p:spPr>
          <a:xfrm>
            <a:off x="2423411" y="3745018"/>
            <a:ext cx="995011" cy="42078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SDP</a:t>
            </a:r>
            <a:endParaRPr lang="pl-PL" dirty="0"/>
          </a:p>
        </p:txBody>
      </p:sp>
      <p:cxnSp>
        <p:nvCxnSpPr>
          <p:cNvPr id="35" name="Elbow Connector 34"/>
          <p:cNvCxnSpPr>
            <a:stCxn id="30" idx="2"/>
            <a:endCxn id="31" idx="1"/>
          </p:cNvCxnSpPr>
          <p:nvPr/>
        </p:nvCxnSpPr>
        <p:spPr>
          <a:xfrm rot="16200000" flipH="1">
            <a:off x="2051519" y="2432604"/>
            <a:ext cx="238032" cy="50574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/>
          <p:cNvCxnSpPr>
            <a:stCxn id="30" idx="2"/>
            <a:endCxn id="32" idx="1"/>
          </p:cNvCxnSpPr>
          <p:nvPr/>
        </p:nvCxnSpPr>
        <p:spPr>
          <a:xfrm rot="16200000" flipH="1">
            <a:off x="1771343" y="2712780"/>
            <a:ext cx="798387" cy="50575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stCxn id="30" idx="2"/>
            <a:endCxn id="33" idx="1"/>
          </p:cNvCxnSpPr>
          <p:nvPr/>
        </p:nvCxnSpPr>
        <p:spPr>
          <a:xfrm rot="16200000" flipH="1">
            <a:off x="1476062" y="3008062"/>
            <a:ext cx="1388948" cy="50575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120153" y="1829937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err="1" smtClean="0">
                <a:solidFill>
                  <a:schemeClr val="tx2"/>
                </a:solidFill>
              </a:rPr>
              <a:t>Aggregate</a:t>
            </a:r>
            <a:r>
              <a:rPr lang="pl-PL" sz="1400" dirty="0" smtClean="0">
                <a:solidFill>
                  <a:schemeClr val="tx2"/>
                </a:solidFill>
              </a:rPr>
              <a:t> Root</a:t>
            </a:r>
            <a:endParaRPr lang="pl-PL" sz="1400" dirty="0">
              <a:solidFill>
                <a:schemeClr val="tx2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326623" y="2220468"/>
            <a:ext cx="1249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err="1" smtClean="0">
                <a:solidFill>
                  <a:srgbClr val="00B050"/>
                </a:solidFill>
              </a:rPr>
              <a:t>Aggregate</a:t>
            </a:r>
            <a:endParaRPr lang="pl-PL" dirty="0">
              <a:solidFill>
                <a:srgbClr val="00B050"/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3869934" y="2447444"/>
            <a:ext cx="228009" cy="238034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3" name="Oval 42"/>
          <p:cNvSpPr/>
          <p:nvPr/>
        </p:nvSpPr>
        <p:spPr>
          <a:xfrm>
            <a:off x="3972001" y="3004196"/>
            <a:ext cx="228009" cy="238034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4" name="Oval 43"/>
          <p:cNvSpPr/>
          <p:nvPr/>
        </p:nvSpPr>
        <p:spPr>
          <a:xfrm>
            <a:off x="3870519" y="3485292"/>
            <a:ext cx="228009" cy="238034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5" name="Oval 44"/>
          <p:cNvSpPr/>
          <p:nvPr/>
        </p:nvSpPr>
        <p:spPr>
          <a:xfrm>
            <a:off x="4093304" y="3966388"/>
            <a:ext cx="228009" cy="238034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6" name="Oval 45"/>
          <p:cNvSpPr/>
          <p:nvPr/>
        </p:nvSpPr>
        <p:spPr>
          <a:xfrm>
            <a:off x="4189530" y="2552199"/>
            <a:ext cx="228009" cy="23803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7" name="Oval 46"/>
          <p:cNvSpPr/>
          <p:nvPr/>
        </p:nvSpPr>
        <p:spPr>
          <a:xfrm>
            <a:off x="3724278" y="3133648"/>
            <a:ext cx="228009" cy="23803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8" name="Oval 47"/>
          <p:cNvSpPr/>
          <p:nvPr/>
        </p:nvSpPr>
        <p:spPr>
          <a:xfrm>
            <a:off x="4231516" y="3570472"/>
            <a:ext cx="228009" cy="23803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9" name="Oval 48"/>
          <p:cNvSpPr/>
          <p:nvPr/>
        </p:nvSpPr>
        <p:spPr>
          <a:xfrm>
            <a:off x="3637481" y="4183994"/>
            <a:ext cx="228009" cy="23803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0" name="Oval 49"/>
          <p:cNvSpPr/>
          <p:nvPr/>
        </p:nvSpPr>
        <p:spPr>
          <a:xfrm>
            <a:off x="3743992" y="3843929"/>
            <a:ext cx="228009" cy="23803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52" name="Straight Arrow Connector 51"/>
          <p:cNvCxnSpPr>
            <a:stCxn id="31" idx="3"/>
            <a:endCxn id="42" idx="2"/>
          </p:cNvCxnSpPr>
          <p:nvPr/>
        </p:nvCxnSpPr>
        <p:spPr>
          <a:xfrm flipV="1">
            <a:off x="3418421" y="2566461"/>
            <a:ext cx="451513" cy="23803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31" idx="3"/>
            <a:endCxn id="46" idx="2"/>
          </p:cNvCxnSpPr>
          <p:nvPr/>
        </p:nvCxnSpPr>
        <p:spPr>
          <a:xfrm flipV="1">
            <a:off x="3418421" y="2671216"/>
            <a:ext cx="771109" cy="1332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32" idx="3"/>
            <a:endCxn id="43" idx="2"/>
          </p:cNvCxnSpPr>
          <p:nvPr/>
        </p:nvCxnSpPr>
        <p:spPr>
          <a:xfrm flipV="1">
            <a:off x="3418423" y="3123213"/>
            <a:ext cx="553578" cy="2416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stCxn id="32" idx="3"/>
            <a:endCxn id="47" idx="3"/>
          </p:cNvCxnSpPr>
          <p:nvPr/>
        </p:nvCxnSpPr>
        <p:spPr>
          <a:xfrm flipV="1">
            <a:off x="3418423" y="3336823"/>
            <a:ext cx="339246" cy="2802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endCxn id="44" idx="2"/>
          </p:cNvCxnSpPr>
          <p:nvPr/>
        </p:nvCxnSpPr>
        <p:spPr>
          <a:xfrm>
            <a:off x="3434139" y="3357861"/>
            <a:ext cx="436380" cy="24644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stCxn id="33" idx="3"/>
            <a:endCxn id="48" idx="2"/>
          </p:cNvCxnSpPr>
          <p:nvPr/>
        </p:nvCxnSpPr>
        <p:spPr>
          <a:xfrm flipV="1">
            <a:off x="3418422" y="3689489"/>
            <a:ext cx="813094" cy="2659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endCxn id="50" idx="2"/>
          </p:cNvCxnSpPr>
          <p:nvPr/>
        </p:nvCxnSpPr>
        <p:spPr>
          <a:xfrm>
            <a:off x="3434138" y="3955411"/>
            <a:ext cx="309854" cy="75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endCxn id="45" idx="2"/>
          </p:cNvCxnSpPr>
          <p:nvPr/>
        </p:nvCxnSpPr>
        <p:spPr>
          <a:xfrm>
            <a:off x="3425012" y="3955411"/>
            <a:ext cx="668292" cy="12999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>
            <a:endCxn id="49" idx="2"/>
          </p:cNvCxnSpPr>
          <p:nvPr/>
        </p:nvCxnSpPr>
        <p:spPr>
          <a:xfrm>
            <a:off x="3434138" y="3962946"/>
            <a:ext cx="203343" cy="34006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2" name="Right Arrow 81"/>
          <p:cNvSpPr/>
          <p:nvPr/>
        </p:nvSpPr>
        <p:spPr>
          <a:xfrm flipH="1">
            <a:off x="4583639" y="3010349"/>
            <a:ext cx="79733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3" name="TextBox 82"/>
          <p:cNvSpPr txBox="1"/>
          <p:nvPr/>
        </p:nvSpPr>
        <p:spPr>
          <a:xfrm>
            <a:off x="4634007" y="2645555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>
                <a:solidFill>
                  <a:schemeClr val="tx2"/>
                </a:solidFill>
              </a:rPr>
              <a:t>ORM</a:t>
            </a:r>
            <a:endParaRPr lang="pl-PL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813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Nie trudne… ale nie trywial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E1EF5269-3979-4800-ABB9-360185B6109E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9</a:t>
            </a:fld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850" y="841572"/>
            <a:ext cx="4878034" cy="4301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677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79140" y="1262358"/>
            <a:ext cx="3552403" cy="33420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9" name="Rectangle 78"/>
          <p:cNvSpPr/>
          <p:nvPr/>
        </p:nvSpPr>
        <p:spPr>
          <a:xfrm>
            <a:off x="1120153" y="1829937"/>
            <a:ext cx="3370930" cy="2685116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smtClean="0"/>
              <a:t>Odjechane DDD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79140" y="1262358"/>
            <a:ext cx="2929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err="1" smtClean="0">
                <a:solidFill>
                  <a:schemeClr val="tx2"/>
                </a:solidFill>
              </a:rPr>
              <a:t>Bounded</a:t>
            </a:r>
            <a:r>
              <a:rPr lang="pl-PL" dirty="0" smtClean="0">
                <a:solidFill>
                  <a:schemeClr val="tx2"/>
                </a:solidFill>
              </a:rPr>
              <a:t> </a:t>
            </a:r>
            <a:r>
              <a:rPr lang="pl-PL" dirty="0" err="1" smtClean="0">
                <a:solidFill>
                  <a:schemeClr val="tx2"/>
                </a:solidFill>
              </a:rPr>
              <a:t>Context</a:t>
            </a:r>
            <a:r>
              <a:rPr lang="pl-PL" dirty="0" smtClean="0">
                <a:solidFill>
                  <a:schemeClr val="tx2"/>
                </a:solidFill>
              </a:rPr>
              <a:t> (SMSR)</a:t>
            </a:r>
            <a:endParaRPr lang="pl-PL" dirty="0">
              <a:solidFill>
                <a:schemeClr val="tx2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577795" y="2123396"/>
            <a:ext cx="679731" cy="4430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EIS</a:t>
            </a:r>
            <a:endParaRPr lang="pl-PL" dirty="0"/>
          </a:p>
        </p:txBody>
      </p:sp>
      <p:sp>
        <p:nvSpPr>
          <p:cNvPr id="31" name="Rectangle 30"/>
          <p:cNvSpPr/>
          <p:nvPr/>
        </p:nvSpPr>
        <p:spPr>
          <a:xfrm>
            <a:off x="2423410" y="2594102"/>
            <a:ext cx="995011" cy="42078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ECASD</a:t>
            </a:r>
            <a:endParaRPr lang="pl-PL" dirty="0"/>
          </a:p>
        </p:txBody>
      </p:sp>
      <p:sp>
        <p:nvSpPr>
          <p:cNvPr id="32" name="Rectangle 31"/>
          <p:cNvSpPr/>
          <p:nvPr/>
        </p:nvSpPr>
        <p:spPr>
          <a:xfrm>
            <a:off x="2423412" y="3154457"/>
            <a:ext cx="995011" cy="42078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SDR</a:t>
            </a:r>
            <a:endParaRPr lang="pl-PL" dirty="0"/>
          </a:p>
        </p:txBody>
      </p:sp>
      <p:sp>
        <p:nvSpPr>
          <p:cNvPr id="33" name="Rectangle 32"/>
          <p:cNvSpPr/>
          <p:nvPr/>
        </p:nvSpPr>
        <p:spPr>
          <a:xfrm>
            <a:off x="2423411" y="3745018"/>
            <a:ext cx="995011" cy="42078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smtClean="0"/>
              <a:t>ISDP</a:t>
            </a:r>
            <a:endParaRPr lang="pl-PL" dirty="0"/>
          </a:p>
        </p:txBody>
      </p:sp>
      <p:cxnSp>
        <p:nvCxnSpPr>
          <p:cNvPr id="35" name="Elbow Connector 34"/>
          <p:cNvCxnSpPr>
            <a:stCxn id="30" idx="2"/>
            <a:endCxn id="31" idx="1"/>
          </p:cNvCxnSpPr>
          <p:nvPr/>
        </p:nvCxnSpPr>
        <p:spPr>
          <a:xfrm rot="16200000" flipH="1">
            <a:off x="2051519" y="2432604"/>
            <a:ext cx="238032" cy="50574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/>
          <p:cNvCxnSpPr>
            <a:stCxn id="30" idx="2"/>
            <a:endCxn id="32" idx="1"/>
          </p:cNvCxnSpPr>
          <p:nvPr/>
        </p:nvCxnSpPr>
        <p:spPr>
          <a:xfrm rot="16200000" flipH="1">
            <a:off x="1771343" y="2712780"/>
            <a:ext cx="798387" cy="50575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stCxn id="30" idx="2"/>
            <a:endCxn id="33" idx="1"/>
          </p:cNvCxnSpPr>
          <p:nvPr/>
        </p:nvCxnSpPr>
        <p:spPr>
          <a:xfrm rot="16200000" flipH="1">
            <a:off x="1476062" y="3008062"/>
            <a:ext cx="1388948" cy="50575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120153" y="1829937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err="1" smtClean="0">
                <a:solidFill>
                  <a:schemeClr val="tx2"/>
                </a:solidFill>
              </a:rPr>
              <a:t>Aggregate</a:t>
            </a:r>
            <a:r>
              <a:rPr lang="pl-PL" sz="1400" dirty="0" smtClean="0">
                <a:solidFill>
                  <a:schemeClr val="tx2"/>
                </a:solidFill>
              </a:rPr>
              <a:t> Root</a:t>
            </a:r>
            <a:endParaRPr lang="pl-PL" sz="1400" dirty="0">
              <a:solidFill>
                <a:schemeClr val="tx2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326623" y="2220468"/>
            <a:ext cx="1249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err="1" smtClean="0">
                <a:solidFill>
                  <a:srgbClr val="00B050"/>
                </a:solidFill>
              </a:rPr>
              <a:t>Aggregate</a:t>
            </a:r>
            <a:endParaRPr lang="pl-PL" dirty="0">
              <a:solidFill>
                <a:srgbClr val="00B050"/>
              </a:solidFill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0088" y="1322830"/>
            <a:ext cx="660995" cy="660995"/>
          </a:xfrm>
          <a:prstGeom prst="rect">
            <a:avLst/>
          </a:prstGeom>
        </p:spPr>
      </p:pic>
      <p:sp>
        <p:nvSpPr>
          <p:cNvPr id="53" name="Oval 52"/>
          <p:cNvSpPr/>
          <p:nvPr/>
        </p:nvSpPr>
        <p:spPr>
          <a:xfrm>
            <a:off x="3869934" y="2447444"/>
            <a:ext cx="228009" cy="238034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5" name="Oval 54"/>
          <p:cNvSpPr/>
          <p:nvPr/>
        </p:nvSpPr>
        <p:spPr>
          <a:xfrm>
            <a:off x="3972001" y="3004196"/>
            <a:ext cx="228009" cy="238034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6" name="Oval 55"/>
          <p:cNvSpPr/>
          <p:nvPr/>
        </p:nvSpPr>
        <p:spPr>
          <a:xfrm>
            <a:off x="3870519" y="3485292"/>
            <a:ext cx="228009" cy="238034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8" name="Oval 57"/>
          <p:cNvSpPr/>
          <p:nvPr/>
        </p:nvSpPr>
        <p:spPr>
          <a:xfrm>
            <a:off x="4093304" y="3966388"/>
            <a:ext cx="228009" cy="238034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9" name="Oval 58"/>
          <p:cNvSpPr/>
          <p:nvPr/>
        </p:nvSpPr>
        <p:spPr>
          <a:xfrm>
            <a:off x="4189530" y="2552199"/>
            <a:ext cx="228009" cy="23803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1" name="Oval 60"/>
          <p:cNvSpPr/>
          <p:nvPr/>
        </p:nvSpPr>
        <p:spPr>
          <a:xfrm>
            <a:off x="3724278" y="3133648"/>
            <a:ext cx="228009" cy="23803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2" name="Oval 61"/>
          <p:cNvSpPr/>
          <p:nvPr/>
        </p:nvSpPr>
        <p:spPr>
          <a:xfrm>
            <a:off x="4231516" y="3570472"/>
            <a:ext cx="228009" cy="23803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4" name="Oval 63"/>
          <p:cNvSpPr/>
          <p:nvPr/>
        </p:nvSpPr>
        <p:spPr>
          <a:xfrm>
            <a:off x="3637481" y="4183994"/>
            <a:ext cx="228009" cy="23803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5" name="Oval 64"/>
          <p:cNvSpPr/>
          <p:nvPr/>
        </p:nvSpPr>
        <p:spPr>
          <a:xfrm>
            <a:off x="3743992" y="3843929"/>
            <a:ext cx="228009" cy="23803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67" name="Straight Arrow Connector 66"/>
          <p:cNvCxnSpPr>
            <a:endCxn id="53" idx="2"/>
          </p:cNvCxnSpPr>
          <p:nvPr/>
        </p:nvCxnSpPr>
        <p:spPr>
          <a:xfrm flipV="1">
            <a:off x="3418421" y="2566461"/>
            <a:ext cx="451513" cy="23803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>
            <a:endCxn id="59" idx="2"/>
          </p:cNvCxnSpPr>
          <p:nvPr/>
        </p:nvCxnSpPr>
        <p:spPr>
          <a:xfrm flipV="1">
            <a:off x="3418421" y="2671216"/>
            <a:ext cx="771109" cy="1332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endCxn id="55" idx="2"/>
          </p:cNvCxnSpPr>
          <p:nvPr/>
        </p:nvCxnSpPr>
        <p:spPr>
          <a:xfrm flipV="1">
            <a:off x="3418423" y="3123213"/>
            <a:ext cx="553578" cy="2416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1" name="Straight Arrow Connector 70"/>
          <p:cNvCxnSpPr>
            <a:endCxn id="61" idx="3"/>
          </p:cNvCxnSpPr>
          <p:nvPr/>
        </p:nvCxnSpPr>
        <p:spPr>
          <a:xfrm flipV="1">
            <a:off x="3418423" y="3336823"/>
            <a:ext cx="339246" cy="2802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endCxn id="56" idx="2"/>
          </p:cNvCxnSpPr>
          <p:nvPr/>
        </p:nvCxnSpPr>
        <p:spPr>
          <a:xfrm>
            <a:off x="3434139" y="3357861"/>
            <a:ext cx="436380" cy="24644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>
            <a:endCxn id="62" idx="2"/>
          </p:cNvCxnSpPr>
          <p:nvPr/>
        </p:nvCxnSpPr>
        <p:spPr>
          <a:xfrm flipV="1">
            <a:off x="3418422" y="3689489"/>
            <a:ext cx="813094" cy="2659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>
            <a:endCxn id="65" idx="2"/>
          </p:cNvCxnSpPr>
          <p:nvPr/>
        </p:nvCxnSpPr>
        <p:spPr>
          <a:xfrm>
            <a:off x="3434138" y="3955411"/>
            <a:ext cx="309854" cy="75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>
            <a:endCxn id="58" idx="2"/>
          </p:cNvCxnSpPr>
          <p:nvPr/>
        </p:nvCxnSpPr>
        <p:spPr>
          <a:xfrm>
            <a:off x="3425012" y="3955411"/>
            <a:ext cx="668292" cy="12999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>
            <a:endCxn id="64" idx="2"/>
          </p:cNvCxnSpPr>
          <p:nvPr/>
        </p:nvCxnSpPr>
        <p:spPr>
          <a:xfrm>
            <a:off x="3434138" y="3962946"/>
            <a:ext cx="203343" cy="34006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5945895" y="1031657"/>
            <a:ext cx="372091" cy="10391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4" name="Rectangle 83"/>
          <p:cNvSpPr/>
          <p:nvPr/>
        </p:nvSpPr>
        <p:spPr>
          <a:xfrm>
            <a:off x="5945895" y="1891663"/>
            <a:ext cx="372091" cy="17680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6" name="Rectangle 85"/>
          <p:cNvSpPr/>
          <p:nvPr/>
        </p:nvSpPr>
        <p:spPr>
          <a:xfrm>
            <a:off x="5945895" y="1684244"/>
            <a:ext cx="372091" cy="17680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7" name="Rectangle 86"/>
          <p:cNvSpPr/>
          <p:nvPr/>
        </p:nvSpPr>
        <p:spPr>
          <a:xfrm>
            <a:off x="5945895" y="1472779"/>
            <a:ext cx="372091" cy="17680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8" name="Rectangle 87"/>
          <p:cNvSpPr/>
          <p:nvPr/>
        </p:nvSpPr>
        <p:spPr>
          <a:xfrm>
            <a:off x="7241478" y="1322830"/>
            <a:ext cx="372091" cy="103910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9" name="Rectangle 88"/>
          <p:cNvSpPr/>
          <p:nvPr/>
        </p:nvSpPr>
        <p:spPr>
          <a:xfrm>
            <a:off x="7241478" y="2182836"/>
            <a:ext cx="372091" cy="1768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90" name="Rectangle 89"/>
          <p:cNvSpPr/>
          <p:nvPr/>
        </p:nvSpPr>
        <p:spPr>
          <a:xfrm>
            <a:off x="7241478" y="1975417"/>
            <a:ext cx="372091" cy="1768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91" name="Rectangle 90"/>
          <p:cNvSpPr/>
          <p:nvPr/>
        </p:nvSpPr>
        <p:spPr>
          <a:xfrm>
            <a:off x="7241478" y="1763952"/>
            <a:ext cx="372091" cy="1768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92" name="Rectangle 91"/>
          <p:cNvSpPr/>
          <p:nvPr/>
        </p:nvSpPr>
        <p:spPr>
          <a:xfrm>
            <a:off x="7241478" y="2503891"/>
            <a:ext cx="372091" cy="103910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93" name="Rectangle 92"/>
          <p:cNvSpPr/>
          <p:nvPr/>
        </p:nvSpPr>
        <p:spPr>
          <a:xfrm>
            <a:off x="7241478" y="3363897"/>
            <a:ext cx="372091" cy="1768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94" name="Rectangle 93"/>
          <p:cNvSpPr/>
          <p:nvPr/>
        </p:nvSpPr>
        <p:spPr>
          <a:xfrm>
            <a:off x="7241478" y="3156478"/>
            <a:ext cx="372091" cy="1768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95" name="Rectangle 94"/>
          <p:cNvSpPr/>
          <p:nvPr/>
        </p:nvSpPr>
        <p:spPr>
          <a:xfrm>
            <a:off x="7241478" y="2945013"/>
            <a:ext cx="372091" cy="1768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96" name="Rectangle 95"/>
          <p:cNvSpPr/>
          <p:nvPr/>
        </p:nvSpPr>
        <p:spPr>
          <a:xfrm>
            <a:off x="7241478" y="3742175"/>
            <a:ext cx="372091" cy="103910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97" name="Rectangle 96"/>
          <p:cNvSpPr/>
          <p:nvPr/>
        </p:nvSpPr>
        <p:spPr>
          <a:xfrm>
            <a:off x="7241478" y="4602181"/>
            <a:ext cx="372091" cy="1768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98" name="Rectangle 97"/>
          <p:cNvSpPr/>
          <p:nvPr/>
        </p:nvSpPr>
        <p:spPr>
          <a:xfrm>
            <a:off x="7241478" y="4394762"/>
            <a:ext cx="372091" cy="1768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99" name="Rectangle 98"/>
          <p:cNvSpPr/>
          <p:nvPr/>
        </p:nvSpPr>
        <p:spPr>
          <a:xfrm>
            <a:off x="7241478" y="4183297"/>
            <a:ext cx="372091" cy="1768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cxnSp>
        <p:nvCxnSpPr>
          <p:cNvPr id="4" name="Straight Arrow Connector 3"/>
          <p:cNvCxnSpPr>
            <a:stCxn id="30" idx="3"/>
            <a:endCxn id="81" idx="1"/>
          </p:cNvCxnSpPr>
          <p:nvPr/>
        </p:nvCxnSpPr>
        <p:spPr>
          <a:xfrm flipV="1">
            <a:off x="2257526" y="1551212"/>
            <a:ext cx="3688369" cy="79371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stCxn id="31" idx="3"/>
            <a:endCxn id="91" idx="1"/>
          </p:cNvCxnSpPr>
          <p:nvPr/>
        </p:nvCxnSpPr>
        <p:spPr>
          <a:xfrm flipV="1">
            <a:off x="3418421" y="1852354"/>
            <a:ext cx="3823057" cy="95214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00" name="Straight Arrow Connector 99"/>
          <p:cNvCxnSpPr>
            <a:stCxn id="32" idx="3"/>
            <a:endCxn id="95" idx="1"/>
          </p:cNvCxnSpPr>
          <p:nvPr/>
        </p:nvCxnSpPr>
        <p:spPr>
          <a:xfrm flipV="1">
            <a:off x="3418423" y="3033415"/>
            <a:ext cx="3823055" cy="3314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01" name="Straight Arrow Connector 100"/>
          <p:cNvCxnSpPr>
            <a:stCxn id="33" idx="3"/>
            <a:endCxn id="99" idx="1"/>
          </p:cNvCxnSpPr>
          <p:nvPr/>
        </p:nvCxnSpPr>
        <p:spPr>
          <a:xfrm>
            <a:off x="3418422" y="3955411"/>
            <a:ext cx="3823056" cy="3162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4877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 smtClean="0"/>
              <a:t>Aktor w chmurz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7397750" y="4346575"/>
            <a:ext cx="1746250" cy="274638"/>
          </a:xfrm>
        </p:spPr>
        <p:txBody>
          <a:bodyPr/>
          <a:lstStyle/>
          <a:p>
            <a:fld id="{B66DC712-81CA-499C-994D-5056AA16CC09}" type="datetime1">
              <a:rPr lang="en-GB" smtClean="0"/>
              <a:t>24/01/2018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9294" y="2780137"/>
            <a:ext cx="3414839" cy="2177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872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651" y="3390962"/>
            <a:ext cx="4819048" cy="990476"/>
          </a:xfrm>
          <a:prstGeom prst="rect">
            <a:avLst/>
          </a:prstGeom>
        </p:spPr>
      </p:pic>
      <p:sp>
        <p:nvSpPr>
          <p:cNvPr id="33" name="Title 6"/>
          <p:cNvSpPr txBox="1">
            <a:spLocks/>
          </p:cNvSpPr>
          <p:nvPr/>
        </p:nvSpPr>
        <p:spPr>
          <a:xfrm>
            <a:off x="969780" y="1004477"/>
            <a:ext cx="7310931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Aktor jest anonimowy</a:t>
            </a:r>
            <a:endParaRPr lang="pl-PL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5389" y="2213719"/>
            <a:ext cx="5428571" cy="200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057525" y="2133600"/>
            <a:ext cx="847725" cy="28011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" name="Straight Arrow Connector 12"/>
          <p:cNvCxnSpPr>
            <a:stCxn id="10" idx="2"/>
          </p:cNvCxnSpPr>
          <p:nvPr/>
        </p:nvCxnSpPr>
        <p:spPr>
          <a:xfrm flipH="1">
            <a:off x="2876550" y="2413719"/>
            <a:ext cx="604838" cy="12343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5183811" y="2173659"/>
            <a:ext cx="2463162" cy="28011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6252861" y="1796542"/>
            <a:ext cx="162531" cy="3971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4448175" y="1324203"/>
            <a:ext cx="4044762" cy="3693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pl-PL" dirty="0" smtClean="0"/>
              <a:t>() =&gt; </a:t>
            </a:r>
            <a:r>
              <a:rPr lang="pl-PL" dirty="0" err="1" smtClean="0"/>
              <a:t>Props</a:t>
            </a:r>
            <a:r>
              <a:rPr lang="pl-PL" dirty="0" smtClean="0"/>
              <a:t>(</a:t>
            </a:r>
            <a:r>
              <a:rPr lang="pl-PL" dirty="0" err="1" smtClean="0"/>
              <a:t>LongTermMemoryActor</a:t>
            </a:r>
            <a:r>
              <a:rPr lang="pl-PL" dirty="0" smtClean="0"/>
              <a:t>())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821536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79"/>
          <p:cNvSpPr/>
          <p:nvPr/>
        </p:nvSpPr>
        <p:spPr>
          <a:xfrm>
            <a:off x="2952750" y="2397003"/>
            <a:ext cx="4781550" cy="25940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" name="Rectangle 7"/>
          <p:cNvSpPr/>
          <p:nvPr/>
        </p:nvSpPr>
        <p:spPr>
          <a:xfrm>
            <a:off x="3105150" y="3248025"/>
            <a:ext cx="4181475" cy="15811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331408" y="3560849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3" name="Title 6"/>
          <p:cNvSpPr txBox="1">
            <a:spLocks/>
          </p:cNvSpPr>
          <p:nvPr/>
        </p:nvSpPr>
        <p:spPr>
          <a:xfrm>
            <a:off x="3402290" y="3541799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1</a:t>
            </a:r>
            <a:endParaRPr lang="pl-PL" sz="1600" dirty="0"/>
          </a:p>
        </p:txBody>
      </p:sp>
      <p:grpSp>
        <p:nvGrpSpPr>
          <p:cNvPr id="4" name="Group 3"/>
          <p:cNvGrpSpPr/>
          <p:nvPr/>
        </p:nvGrpSpPr>
        <p:grpSpPr>
          <a:xfrm>
            <a:off x="3471248" y="3864867"/>
            <a:ext cx="256357" cy="218601"/>
            <a:chOff x="3372132" y="1825353"/>
            <a:chExt cx="256357" cy="218601"/>
          </a:xfrm>
        </p:grpSpPr>
        <p:sp>
          <p:nvSpPr>
            <p:cNvPr id="18" name="Oval 17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879629" y="3857851"/>
            <a:ext cx="256357" cy="218601"/>
            <a:chOff x="3372132" y="1825353"/>
            <a:chExt cx="256357" cy="218601"/>
          </a:xfrm>
        </p:grpSpPr>
        <p:sp>
          <p:nvSpPr>
            <p:cNvPr id="35" name="Oval 3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3653074" y="4141038"/>
            <a:ext cx="256357" cy="218601"/>
            <a:chOff x="3372132" y="1825353"/>
            <a:chExt cx="256357" cy="218601"/>
          </a:xfrm>
        </p:grpSpPr>
        <p:sp>
          <p:nvSpPr>
            <p:cNvPr id="39" name="Oval 38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42" name="Rectangle 41"/>
          <p:cNvSpPr/>
          <p:nvPr/>
        </p:nvSpPr>
        <p:spPr>
          <a:xfrm>
            <a:off x="4681796" y="3561900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3" name="Title 6"/>
          <p:cNvSpPr txBox="1">
            <a:spLocks/>
          </p:cNvSpPr>
          <p:nvPr/>
        </p:nvSpPr>
        <p:spPr>
          <a:xfrm>
            <a:off x="4752678" y="3542850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2</a:t>
            </a:r>
            <a:endParaRPr lang="pl-PL" sz="1600" dirty="0"/>
          </a:p>
        </p:txBody>
      </p:sp>
      <p:grpSp>
        <p:nvGrpSpPr>
          <p:cNvPr id="44" name="Group 43"/>
          <p:cNvGrpSpPr/>
          <p:nvPr/>
        </p:nvGrpSpPr>
        <p:grpSpPr>
          <a:xfrm>
            <a:off x="4726386" y="3865918"/>
            <a:ext cx="256357" cy="218601"/>
            <a:chOff x="3372132" y="1825353"/>
            <a:chExt cx="256357" cy="218601"/>
          </a:xfrm>
        </p:grpSpPr>
        <p:sp>
          <p:nvSpPr>
            <p:cNvPr id="45" name="Oval 4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5182392" y="3858902"/>
            <a:ext cx="256357" cy="218601"/>
            <a:chOff x="3372132" y="1825353"/>
            <a:chExt cx="256357" cy="218601"/>
          </a:xfrm>
        </p:grpSpPr>
        <p:sp>
          <p:nvSpPr>
            <p:cNvPr id="49" name="Oval 48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003462" y="4142089"/>
            <a:ext cx="256357" cy="218601"/>
            <a:chOff x="3372132" y="1825353"/>
            <a:chExt cx="256357" cy="218601"/>
          </a:xfrm>
        </p:grpSpPr>
        <p:sp>
          <p:nvSpPr>
            <p:cNvPr id="53" name="Oval 52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5251112" y="4208764"/>
            <a:ext cx="256357" cy="218601"/>
            <a:chOff x="3372132" y="1825353"/>
            <a:chExt cx="256357" cy="218601"/>
          </a:xfrm>
        </p:grpSpPr>
        <p:sp>
          <p:nvSpPr>
            <p:cNvPr id="57" name="Oval 56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5946210" y="3539038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1" name="Title 6"/>
          <p:cNvSpPr txBox="1">
            <a:spLocks/>
          </p:cNvSpPr>
          <p:nvPr/>
        </p:nvSpPr>
        <p:spPr>
          <a:xfrm>
            <a:off x="6017092" y="3519988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3</a:t>
            </a:r>
            <a:endParaRPr lang="pl-PL" sz="1600" dirty="0"/>
          </a:p>
        </p:txBody>
      </p:sp>
      <p:grpSp>
        <p:nvGrpSpPr>
          <p:cNvPr id="62" name="Group 61"/>
          <p:cNvGrpSpPr/>
          <p:nvPr/>
        </p:nvGrpSpPr>
        <p:grpSpPr>
          <a:xfrm>
            <a:off x="5990800" y="3843056"/>
            <a:ext cx="256357" cy="218601"/>
            <a:chOff x="3372132" y="1825353"/>
            <a:chExt cx="256357" cy="218601"/>
          </a:xfrm>
        </p:grpSpPr>
        <p:sp>
          <p:nvSpPr>
            <p:cNvPr id="63" name="Oval 62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6046568" y="4093146"/>
            <a:ext cx="256357" cy="218601"/>
            <a:chOff x="3372132" y="1825353"/>
            <a:chExt cx="256357" cy="218601"/>
          </a:xfrm>
        </p:grpSpPr>
        <p:sp>
          <p:nvSpPr>
            <p:cNvPr id="67" name="Oval 66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6267876" y="4119227"/>
            <a:ext cx="256357" cy="218601"/>
            <a:chOff x="3372132" y="1825353"/>
            <a:chExt cx="256357" cy="218601"/>
          </a:xfrm>
        </p:grpSpPr>
        <p:sp>
          <p:nvSpPr>
            <p:cNvPr id="71" name="Oval 70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2" name="Rectangle 71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73" name="Rectangle 72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6515526" y="4185902"/>
            <a:ext cx="256357" cy="218601"/>
            <a:chOff x="3372132" y="1825353"/>
            <a:chExt cx="256357" cy="218601"/>
          </a:xfrm>
        </p:grpSpPr>
        <p:sp>
          <p:nvSpPr>
            <p:cNvPr id="75" name="Oval 7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77" name="Rectangle 7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78" name="Title 6"/>
          <p:cNvSpPr txBox="1">
            <a:spLocks/>
          </p:cNvSpPr>
          <p:nvPr/>
        </p:nvSpPr>
        <p:spPr>
          <a:xfrm>
            <a:off x="3155115" y="446348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Akka</a:t>
            </a:r>
            <a:r>
              <a:rPr lang="pl-PL" sz="1600" dirty="0" smtClean="0"/>
              <a:t> </a:t>
            </a:r>
            <a:r>
              <a:rPr lang="pl-PL" sz="1600" dirty="0" err="1" smtClean="0"/>
              <a:t>cluster</a:t>
            </a:r>
            <a:endParaRPr lang="pl-PL" sz="1600" dirty="0"/>
          </a:p>
        </p:txBody>
      </p:sp>
      <p:sp>
        <p:nvSpPr>
          <p:cNvPr id="10" name="Rounded Rectangle 9"/>
          <p:cNvSpPr/>
          <p:nvPr/>
        </p:nvSpPr>
        <p:spPr>
          <a:xfrm>
            <a:off x="3972036" y="1751701"/>
            <a:ext cx="2163363" cy="47625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400" dirty="0" err="1" smtClean="0"/>
              <a:t>PrepareSmsrChange</a:t>
            </a:r>
            <a:endParaRPr lang="pl-PL" sz="1400" dirty="0" smtClean="0"/>
          </a:p>
          <a:p>
            <a:pPr algn="ctr"/>
            <a:r>
              <a:rPr lang="pl-PL" sz="1400" dirty="0" smtClean="0"/>
              <a:t>(EID=15, </a:t>
            </a:r>
            <a:r>
              <a:rPr lang="pl-PL" sz="1400" dirty="0" err="1" smtClean="0"/>
              <a:t>currentSmsrId</a:t>
            </a:r>
            <a:r>
              <a:rPr lang="pl-PL" sz="1400" dirty="0" smtClean="0"/>
              <a:t>)</a:t>
            </a:r>
            <a:endParaRPr lang="pl-PL" sz="1400" dirty="0"/>
          </a:p>
        </p:txBody>
      </p:sp>
      <p:cxnSp>
        <p:nvCxnSpPr>
          <p:cNvPr id="13" name="Straight Arrow Connector 12"/>
          <p:cNvCxnSpPr>
            <a:endCxn id="10" idx="0"/>
          </p:cNvCxnSpPr>
          <p:nvPr/>
        </p:nvCxnSpPr>
        <p:spPr>
          <a:xfrm>
            <a:off x="5049181" y="1165253"/>
            <a:ext cx="4537" cy="5864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10" idx="2"/>
            <a:endCxn id="15" idx="0"/>
          </p:cNvCxnSpPr>
          <p:nvPr/>
        </p:nvCxnSpPr>
        <p:spPr>
          <a:xfrm>
            <a:off x="5053718" y="2227951"/>
            <a:ext cx="5116" cy="3381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4257182" y="2566055"/>
            <a:ext cx="1603303" cy="40787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RoundRobin</a:t>
            </a:r>
            <a:endParaRPr lang="pl-PL" dirty="0"/>
          </a:p>
        </p:txBody>
      </p:sp>
      <p:sp>
        <p:nvSpPr>
          <p:cNvPr id="81" name="Title 6"/>
          <p:cNvSpPr txBox="1">
            <a:spLocks/>
          </p:cNvSpPr>
          <p:nvPr/>
        </p:nvSpPr>
        <p:spPr>
          <a:xfrm>
            <a:off x="7070907" y="2397003"/>
            <a:ext cx="76180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cloud</a:t>
            </a:r>
            <a:endParaRPr lang="pl-PL" sz="1600" dirty="0" smtClean="0"/>
          </a:p>
        </p:txBody>
      </p:sp>
      <p:cxnSp>
        <p:nvCxnSpPr>
          <p:cNvPr id="83" name="Straight Arrow Connector 82"/>
          <p:cNvCxnSpPr>
            <a:stCxn id="15" idx="2"/>
          </p:cNvCxnSpPr>
          <p:nvPr/>
        </p:nvCxnSpPr>
        <p:spPr>
          <a:xfrm flipH="1">
            <a:off x="4245808" y="2973927"/>
            <a:ext cx="813026" cy="5869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090427" y="3204562"/>
            <a:ext cx="12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EID(1..10)</a:t>
            </a:r>
            <a:endParaRPr lang="pl-PL" dirty="0"/>
          </a:p>
        </p:txBody>
      </p:sp>
      <p:sp>
        <p:nvSpPr>
          <p:cNvPr id="82" name="TextBox 81"/>
          <p:cNvSpPr txBox="1"/>
          <p:nvPr/>
        </p:nvSpPr>
        <p:spPr>
          <a:xfrm>
            <a:off x="4504942" y="3218979"/>
            <a:ext cx="13473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EID(11..20)</a:t>
            </a:r>
            <a:endParaRPr lang="pl-PL" dirty="0"/>
          </a:p>
        </p:txBody>
      </p:sp>
      <p:sp>
        <p:nvSpPr>
          <p:cNvPr id="84" name="TextBox 83"/>
          <p:cNvSpPr txBox="1"/>
          <p:nvPr/>
        </p:nvSpPr>
        <p:spPr>
          <a:xfrm>
            <a:off x="5839515" y="3206861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EID(21…30)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65730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341254" y="2972998"/>
            <a:ext cx="1916295" cy="191629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3" name="Title 6"/>
          <p:cNvSpPr txBox="1">
            <a:spLocks/>
          </p:cNvSpPr>
          <p:nvPr/>
        </p:nvSpPr>
        <p:spPr>
          <a:xfrm>
            <a:off x="1412137" y="2953949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1</a:t>
            </a:r>
            <a:endParaRPr lang="pl-PL" sz="1600" dirty="0"/>
          </a:p>
        </p:txBody>
      </p:sp>
      <p:grpSp>
        <p:nvGrpSpPr>
          <p:cNvPr id="4" name="Group 3"/>
          <p:cNvGrpSpPr/>
          <p:nvPr/>
        </p:nvGrpSpPr>
        <p:grpSpPr>
          <a:xfrm>
            <a:off x="1517822" y="3809719"/>
            <a:ext cx="256357" cy="218601"/>
            <a:chOff x="3372132" y="1825353"/>
            <a:chExt cx="256357" cy="218601"/>
          </a:xfrm>
        </p:grpSpPr>
        <p:sp>
          <p:nvSpPr>
            <p:cNvPr id="18" name="Oval 17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612322" y="4375297"/>
            <a:ext cx="256357" cy="218601"/>
            <a:chOff x="3372132" y="1825353"/>
            <a:chExt cx="256357" cy="218601"/>
          </a:xfrm>
        </p:grpSpPr>
        <p:sp>
          <p:nvSpPr>
            <p:cNvPr id="35" name="Oval 3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2089274" y="4209738"/>
            <a:ext cx="256357" cy="218601"/>
            <a:chOff x="3372132" y="1825353"/>
            <a:chExt cx="256357" cy="218601"/>
          </a:xfrm>
        </p:grpSpPr>
        <p:sp>
          <p:nvSpPr>
            <p:cNvPr id="39" name="Oval 38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84" name="Rounded Rectangle 83"/>
          <p:cNvSpPr/>
          <p:nvPr/>
        </p:nvSpPr>
        <p:spPr>
          <a:xfrm>
            <a:off x="1223979" y="1436470"/>
            <a:ext cx="1959286" cy="47625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400" dirty="0" err="1" smtClean="0"/>
              <a:t>PrepareSmsrChange</a:t>
            </a:r>
            <a:endParaRPr lang="pl-PL" sz="1400" dirty="0" smtClean="0"/>
          </a:p>
          <a:p>
            <a:pPr algn="ctr"/>
            <a:r>
              <a:rPr lang="pl-PL" sz="1400" dirty="0" smtClean="0"/>
              <a:t>(EID, </a:t>
            </a:r>
            <a:r>
              <a:rPr lang="pl-PL" sz="1400" dirty="0" err="1" smtClean="0"/>
              <a:t>currentSmsrId</a:t>
            </a:r>
            <a:r>
              <a:rPr lang="pl-PL" sz="1400" dirty="0" smtClean="0"/>
              <a:t>)</a:t>
            </a:r>
            <a:endParaRPr lang="pl-PL" sz="1400" dirty="0"/>
          </a:p>
        </p:txBody>
      </p:sp>
      <p:cxnSp>
        <p:nvCxnSpPr>
          <p:cNvPr id="3" name="Straight Arrow Connector 2"/>
          <p:cNvCxnSpPr>
            <a:stCxn id="84" idx="2"/>
            <a:endCxn id="18" idx="7"/>
          </p:cNvCxnSpPr>
          <p:nvPr/>
        </p:nvCxnSpPr>
        <p:spPr>
          <a:xfrm flipH="1">
            <a:off x="1752349" y="1912720"/>
            <a:ext cx="451273" cy="19203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3310497" y="814188"/>
            <a:ext cx="568221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val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saga: </a:t>
            </a:r>
            <a:r>
              <a:rPr lang="pl-PL" sz="1600" b="1" dirty="0" err="1">
                <a:solidFill>
                  <a:schemeClr val="tx2">
                    <a:lumMod val="75000"/>
                  </a:schemeClr>
                </a:solidFill>
              </a:rPr>
              <a:t>ActorRef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=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ClusterSharding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(system).start(</a:t>
            </a:r>
          </a:p>
          <a:p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typeName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= 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„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SmsrChangeReceiverSaga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",</a:t>
            </a:r>
            <a:endParaRPr lang="pl-PL" sz="1600" dirty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entityProps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= 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Props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[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SmsrChangeReceiverSaga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],</a:t>
            </a:r>
            <a:endParaRPr lang="pl-PL" sz="1600" dirty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settings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=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ClusterShardingSettings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(system),</a:t>
            </a:r>
          </a:p>
          <a:p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extractEntityId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=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extractEntityId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,</a:t>
            </a:r>
          </a:p>
          <a:p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extractShardId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= 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extractShardId</a:t>
            </a:r>
            <a:endParaRPr lang="pl-PL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)</a:t>
            </a:r>
            <a:endParaRPr lang="pl-PL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10497" y="2609390"/>
            <a:ext cx="559537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val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extractEntityId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:  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ShardRegion.ExtractEntityId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= 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{</a:t>
            </a:r>
          </a:p>
          <a:p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	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case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PrepareSmsrChange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(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eid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,_)=&gt;</a:t>
            </a:r>
          </a:p>
          <a:p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	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	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eid.value</a:t>
            </a:r>
            <a:endParaRPr lang="pl-PL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}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303267" y="3807993"/>
            <a:ext cx="550735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val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extractShardId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: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ShardRegion.ExtractShardId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= 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{</a:t>
            </a:r>
          </a:p>
          <a:p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	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case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PrepareSmsrChange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(</a:t>
            </a:r>
            <a:r>
              <a:rPr lang="pl-PL" sz="1600" dirty="0" err="1">
                <a:solidFill>
                  <a:schemeClr val="tx2">
                    <a:lumMod val="75000"/>
                  </a:schemeClr>
                </a:solidFill>
              </a:rPr>
              <a:t>eid</a:t>
            </a:r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,_)=&gt;</a:t>
            </a:r>
          </a:p>
          <a:p>
            <a:r>
              <a:rPr lang="pl-PL" sz="1600" dirty="0">
                <a:solidFill>
                  <a:schemeClr val="tx2">
                    <a:lumMod val="75000"/>
                  </a:schemeClr>
                </a:solidFill>
              </a:rPr>
              <a:t>		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(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BigInt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(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eid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) % 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numberOfShards</a:t>
            </a:r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).</a:t>
            </a:r>
            <a:r>
              <a:rPr lang="pl-PL" sz="1600" dirty="0" err="1" smtClean="0">
                <a:solidFill>
                  <a:schemeClr val="tx2">
                    <a:lumMod val="75000"/>
                  </a:schemeClr>
                </a:solidFill>
              </a:rPr>
              <a:t>toString</a:t>
            </a:r>
            <a:endParaRPr lang="pl-PL" sz="1600" dirty="0">
              <a:solidFill>
                <a:schemeClr val="tx2">
                  <a:lumMod val="75000"/>
                </a:schemeClr>
              </a:solidFill>
            </a:endParaRPr>
          </a:p>
          <a:p>
            <a:endParaRPr lang="pl-PL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pl-PL" sz="1600" dirty="0" smtClean="0">
                <a:solidFill>
                  <a:schemeClr val="tx2">
                    <a:lumMod val="75000"/>
                  </a:schemeClr>
                </a:solidFill>
              </a:rPr>
              <a:t>}</a:t>
            </a:r>
            <a:endParaRPr lang="pl-PL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418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79"/>
          <p:cNvSpPr/>
          <p:nvPr/>
        </p:nvSpPr>
        <p:spPr>
          <a:xfrm>
            <a:off x="2952750" y="2397003"/>
            <a:ext cx="4781550" cy="25940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" name="Rectangle 7"/>
          <p:cNvSpPr/>
          <p:nvPr/>
        </p:nvSpPr>
        <p:spPr>
          <a:xfrm>
            <a:off x="3105150" y="3248025"/>
            <a:ext cx="4181475" cy="15811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331408" y="3560849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3" name="Title 6"/>
          <p:cNvSpPr txBox="1">
            <a:spLocks/>
          </p:cNvSpPr>
          <p:nvPr/>
        </p:nvSpPr>
        <p:spPr>
          <a:xfrm>
            <a:off x="3402290" y="3541799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1</a:t>
            </a:r>
            <a:endParaRPr lang="pl-PL" sz="1600" dirty="0"/>
          </a:p>
        </p:txBody>
      </p:sp>
      <p:grpSp>
        <p:nvGrpSpPr>
          <p:cNvPr id="4" name="Group 3"/>
          <p:cNvGrpSpPr/>
          <p:nvPr/>
        </p:nvGrpSpPr>
        <p:grpSpPr>
          <a:xfrm>
            <a:off x="3471248" y="3864867"/>
            <a:ext cx="256357" cy="218601"/>
            <a:chOff x="3372132" y="1825353"/>
            <a:chExt cx="256357" cy="218601"/>
          </a:xfrm>
        </p:grpSpPr>
        <p:sp>
          <p:nvSpPr>
            <p:cNvPr id="18" name="Oval 17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879629" y="3857851"/>
            <a:ext cx="256357" cy="218601"/>
            <a:chOff x="3372132" y="1825353"/>
            <a:chExt cx="256357" cy="218601"/>
          </a:xfrm>
        </p:grpSpPr>
        <p:sp>
          <p:nvSpPr>
            <p:cNvPr id="35" name="Oval 3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3653074" y="4141038"/>
            <a:ext cx="256357" cy="218601"/>
            <a:chOff x="3372132" y="1825353"/>
            <a:chExt cx="256357" cy="218601"/>
          </a:xfrm>
        </p:grpSpPr>
        <p:sp>
          <p:nvSpPr>
            <p:cNvPr id="39" name="Oval 38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42" name="Rectangle 41"/>
          <p:cNvSpPr/>
          <p:nvPr/>
        </p:nvSpPr>
        <p:spPr>
          <a:xfrm>
            <a:off x="4681796" y="3561900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3" name="Title 6"/>
          <p:cNvSpPr txBox="1">
            <a:spLocks/>
          </p:cNvSpPr>
          <p:nvPr/>
        </p:nvSpPr>
        <p:spPr>
          <a:xfrm>
            <a:off x="4752678" y="3542850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2</a:t>
            </a:r>
            <a:endParaRPr lang="pl-PL" sz="1600" dirty="0"/>
          </a:p>
        </p:txBody>
      </p:sp>
      <p:grpSp>
        <p:nvGrpSpPr>
          <p:cNvPr id="44" name="Group 43"/>
          <p:cNvGrpSpPr/>
          <p:nvPr/>
        </p:nvGrpSpPr>
        <p:grpSpPr>
          <a:xfrm>
            <a:off x="4726386" y="3865918"/>
            <a:ext cx="256357" cy="218601"/>
            <a:chOff x="3372132" y="1825353"/>
            <a:chExt cx="256357" cy="218601"/>
          </a:xfrm>
        </p:grpSpPr>
        <p:sp>
          <p:nvSpPr>
            <p:cNvPr id="45" name="Oval 4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5182392" y="3858902"/>
            <a:ext cx="256357" cy="218601"/>
            <a:chOff x="3372132" y="1825353"/>
            <a:chExt cx="256357" cy="218601"/>
          </a:xfrm>
        </p:grpSpPr>
        <p:sp>
          <p:nvSpPr>
            <p:cNvPr id="49" name="Oval 48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003462" y="4142089"/>
            <a:ext cx="256357" cy="218601"/>
            <a:chOff x="3372132" y="1825353"/>
            <a:chExt cx="256357" cy="218601"/>
          </a:xfrm>
        </p:grpSpPr>
        <p:sp>
          <p:nvSpPr>
            <p:cNvPr id="53" name="Oval 52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  <a:solidFill>
              <a:srgbClr val="F39CA9"/>
            </a:solidFill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5251112" y="4208764"/>
            <a:ext cx="256357" cy="218601"/>
            <a:chOff x="3372132" y="1825353"/>
            <a:chExt cx="256357" cy="218601"/>
          </a:xfrm>
        </p:grpSpPr>
        <p:sp>
          <p:nvSpPr>
            <p:cNvPr id="57" name="Oval 56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5946210" y="3539038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1" name="Title 6"/>
          <p:cNvSpPr txBox="1">
            <a:spLocks/>
          </p:cNvSpPr>
          <p:nvPr/>
        </p:nvSpPr>
        <p:spPr>
          <a:xfrm>
            <a:off x="6017092" y="3519988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3</a:t>
            </a:r>
            <a:endParaRPr lang="pl-PL" sz="1600" dirty="0"/>
          </a:p>
        </p:txBody>
      </p:sp>
      <p:grpSp>
        <p:nvGrpSpPr>
          <p:cNvPr id="62" name="Group 61"/>
          <p:cNvGrpSpPr/>
          <p:nvPr/>
        </p:nvGrpSpPr>
        <p:grpSpPr>
          <a:xfrm>
            <a:off x="5990800" y="3843056"/>
            <a:ext cx="256357" cy="218601"/>
            <a:chOff x="3372132" y="1825353"/>
            <a:chExt cx="256357" cy="218601"/>
          </a:xfrm>
        </p:grpSpPr>
        <p:sp>
          <p:nvSpPr>
            <p:cNvPr id="63" name="Oval 62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6046568" y="4093146"/>
            <a:ext cx="256357" cy="218601"/>
            <a:chOff x="3372132" y="1825353"/>
            <a:chExt cx="256357" cy="218601"/>
          </a:xfrm>
        </p:grpSpPr>
        <p:sp>
          <p:nvSpPr>
            <p:cNvPr id="67" name="Oval 66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6267876" y="4119227"/>
            <a:ext cx="256357" cy="218601"/>
            <a:chOff x="3372132" y="1825353"/>
            <a:chExt cx="256357" cy="218601"/>
          </a:xfrm>
        </p:grpSpPr>
        <p:sp>
          <p:nvSpPr>
            <p:cNvPr id="71" name="Oval 70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2" name="Rectangle 71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73" name="Rectangle 72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6515526" y="4185902"/>
            <a:ext cx="256357" cy="218601"/>
            <a:chOff x="3372132" y="1825353"/>
            <a:chExt cx="256357" cy="218601"/>
          </a:xfrm>
        </p:grpSpPr>
        <p:sp>
          <p:nvSpPr>
            <p:cNvPr id="75" name="Oval 7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77" name="Rectangle 7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78" name="Title 6"/>
          <p:cNvSpPr txBox="1">
            <a:spLocks/>
          </p:cNvSpPr>
          <p:nvPr/>
        </p:nvSpPr>
        <p:spPr>
          <a:xfrm>
            <a:off x="3155115" y="446348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Akka</a:t>
            </a:r>
            <a:r>
              <a:rPr lang="pl-PL" sz="1600" dirty="0" smtClean="0"/>
              <a:t> </a:t>
            </a:r>
            <a:r>
              <a:rPr lang="pl-PL" sz="1600" dirty="0" err="1" smtClean="0"/>
              <a:t>cluster</a:t>
            </a:r>
            <a:endParaRPr lang="pl-PL" sz="1600" dirty="0"/>
          </a:p>
        </p:txBody>
      </p:sp>
      <p:sp>
        <p:nvSpPr>
          <p:cNvPr id="10" name="Rounded Rectangle 9"/>
          <p:cNvSpPr/>
          <p:nvPr/>
        </p:nvSpPr>
        <p:spPr>
          <a:xfrm>
            <a:off x="3939669" y="1751701"/>
            <a:ext cx="2236362" cy="47625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400" dirty="0" err="1" smtClean="0"/>
              <a:t>PrepareSmsrChange</a:t>
            </a:r>
            <a:endParaRPr lang="pl-PL" sz="1400" dirty="0" smtClean="0"/>
          </a:p>
          <a:p>
            <a:pPr algn="ctr"/>
            <a:r>
              <a:rPr lang="pl-PL" sz="1400" dirty="0" smtClean="0"/>
              <a:t>(EID=15, </a:t>
            </a:r>
            <a:r>
              <a:rPr lang="pl-PL" sz="1400" dirty="0" err="1" smtClean="0"/>
              <a:t>currentSmsrId</a:t>
            </a:r>
            <a:r>
              <a:rPr lang="pl-PL" sz="1400" dirty="0" smtClean="0"/>
              <a:t>)</a:t>
            </a:r>
            <a:endParaRPr lang="pl-PL" sz="1400" dirty="0"/>
          </a:p>
        </p:txBody>
      </p:sp>
      <p:cxnSp>
        <p:nvCxnSpPr>
          <p:cNvPr id="13" name="Straight Arrow Connector 12"/>
          <p:cNvCxnSpPr>
            <a:endCxn id="10" idx="0"/>
          </p:cNvCxnSpPr>
          <p:nvPr/>
        </p:nvCxnSpPr>
        <p:spPr>
          <a:xfrm>
            <a:off x="5057850" y="1221897"/>
            <a:ext cx="0" cy="5298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10" idx="2"/>
            <a:endCxn id="15" idx="0"/>
          </p:cNvCxnSpPr>
          <p:nvPr/>
        </p:nvCxnSpPr>
        <p:spPr>
          <a:xfrm>
            <a:off x="5057850" y="2227951"/>
            <a:ext cx="984" cy="3381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4257182" y="2566055"/>
            <a:ext cx="1603303" cy="40787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RoundRobin</a:t>
            </a:r>
            <a:endParaRPr lang="pl-PL" dirty="0"/>
          </a:p>
        </p:txBody>
      </p:sp>
      <p:sp>
        <p:nvSpPr>
          <p:cNvPr id="81" name="Title 6"/>
          <p:cNvSpPr txBox="1">
            <a:spLocks/>
          </p:cNvSpPr>
          <p:nvPr/>
        </p:nvSpPr>
        <p:spPr>
          <a:xfrm>
            <a:off x="7070907" y="2397003"/>
            <a:ext cx="76180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cloud</a:t>
            </a:r>
            <a:endParaRPr lang="pl-PL" sz="1600" dirty="0" smtClean="0"/>
          </a:p>
        </p:txBody>
      </p:sp>
      <p:cxnSp>
        <p:nvCxnSpPr>
          <p:cNvPr id="83" name="Straight Arrow Connector 82"/>
          <p:cNvCxnSpPr>
            <a:stCxn id="15" idx="2"/>
          </p:cNvCxnSpPr>
          <p:nvPr/>
        </p:nvCxnSpPr>
        <p:spPr>
          <a:xfrm flipH="1">
            <a:off x="4245808" y="2973927"/>
            <a:ext cx="813026" cy="5869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Arrow Connector 2"/>
          <p:cNvCxnSpPr>
            <a:endCxn id="35" idx="7"/>
          </p:cNvCxnSpPr>
          <p:nvPr/>
        </p:nvCxnSpPr>
        <p:spPr>
          <a:xfrm flipH="1">
            <a:off x="4114156" y="3560849"/>
            <a:ext cx="143026" cy="3203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36" idx="3"/>
          </p:cNvCxnSpPr>
          <p:nvPr/>
        </p:nvCxnSpPr>
        <p:spPr>
          <a:xfrm>
            <a:off x="4073657" y="3996063"/>
            <a:ext cx="905847" cy="2823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3090427" y="3204562"/>
            <a:ext cx="12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EID(1..10)</a:t>
            </a:r>
            <a:endParaRPr lang="pl-PL" dirty="0"/>
          </a:p>
        </p:txBody>
      </p:sp>
      <p:sp>
        <p:nvSpPr>
          <p:cNvPr id="84" name="TextBox 83"/>
          <p:cNvSpPr txBox="1"/>
          <p:nvPr/>
        </p:nvSpPr>
        <p:spPr>
          <a:xfrm>
            <a:off x="4504942" y="3218979"/>
            <a:ext cx="13473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EID(11..20)</a:t>
            </a:r>
            <a:endParaRPr lang="pl-PL" dirty="0"/>
          </a:p>
        </p:txBody>
      </p:sp>
      <p:sp>
        <p:nvSpPr>
          <p:cNvPr id="85" name="TextBox 84"/>
          <p:cNvSpPr txBox="1"/>
          <p:nvPr/>
        </p:nvSpPr>
        <p:spPr>
          <a:xfrm>
            <a:off x="5839515" y="3206861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EID(21…30)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52352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79"/>
          <p:cNvSpPr/>
          <p:nvPr/>
        </p:nvSpPr>
        <p:spPr>
          <a:xfrm>
            <a:off x="1495425" y="2397003"/>
            <a:ext cx="7353300" cy="25940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" name="Rectangle 7"/>
          <p:cNvSpPr/>
          <p:nvPr/>
        </p:nvSpPr>
        <p:spPr>
          <a:xfrm>
            <a:off x="1724026" y="3248025"/>
            <a:ext cx="6943724" cy="15811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874083" y="3560849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3" name="Title 6"/>
          <p:cNvSpPr txBox="1">
            <a:spLocks/>
          </p:cNvSpPr>
          <p:nvPr/>
        </p:nvSpPr>
        <p:spPr>
          <a:xfrm>
            <a:off x="1944965" y="3541799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1</a:t>
            </a:r>
            <a:endParaRPr lang="pl-PL" sz="1600" dirty="0"/>
          </a:p>
        </p:txBody>
      </p:sp>
      <p:grpSp>
        <p:nvGrpSpPr>
          <p:cNvPr id="4" name="Group 3"/>
          <p:cNvGrpSpPr/>
          <p:nvPr/>
        </p:nvGrpSpPr>
        <p:grpSpPr>
          <a:xfrm>
            <a:off x="2013923" y="3864867"/>
            <a:ext cx="256357" cy="218601"/>
            <a:chOff x="3372132" y="1825353"/>
            <a:chExt cx="256357" cy="218601"/>
          </a:xfrm>
        </p:grpSpPr>
        <p:sp>
          <p:nvSpPr>
            <p:cNvPr id="18" name="Oval 17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422304" y="3857851"/>
            <a:ext cx="256357" cy="218601"/>
            <a:chOff x="3372132" y="1825353"/>
            <a:chExt cx="256357" cy="218601"/>
          </a:xfrm>
        </p:grpSpPr>
        <p:sp>
          <p:nvSpPr>
            <p:cNvPr id="35" name="Oval 3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2195749" y="4141038"/>
            <a:ext cx="256357" cy="218601"/>
            <a:chOff x="3372132" y="1825353"/>
            <a:chExt cx="256357" cy="218601"/>
          </a:xfrm>
        </p:grpSpPr>
        <p:sp>
          <p:nvSpPr>
            <p:cNvPr id="39" name="Oval 38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42" name="Rectangle 41"/>
          <p:cNvSpPr/>
          <p:nvPr/>
        </p:nvSpPr>
        <p:spPr>
          <a:xfrm>
            <a:off x="6858445" y="3578988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3" name="Title 6"/>
          <p:cNvSpPr txBox="1">
            <a:spLocks/>
          </p:cNvSpPr>
          <p:nvPr/>
        </p:nvSpPr>
        <p:spPr>
          <a:xfrm>
            <a:off x="6929327" y="3559938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5</a:t>
            </a:r>
            <a:endParaRPr lang="pl-PL" sz="1600" dirty="0"/>
          </a:p>
        </p:txBody>
      </p:sp>
      <p:grpSp>
        <p:nvGrpSpPr>
          <p:cNvPr id="44" name="Group 43"/>
          <p:cNvGrpSpPr/>
          <p:nvPr/>
        </p:nvGrpSpPr>
        <p:grpSpPr>
          <a:xfrm>
            <a:off x="6903035" y="3883006"/>
            <a:ext cx="256357" cy="218601"/>
            <a:chOff x="3372132" y="1825353"/>
            <a:chExt cx="256357" cy="218601"/>
          </a:xfrm>
        </p:grpSpPr>
        <p:sp>
          <p:nvSpPr>
            <p:cNvPr id="45" name="Oval 4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7359041" y="3875990"/>
            <a:ext cx="256357" cy="218601"/>
            <a:chOff x="3372132" y="1825353"/>
            <a:chExt cx="256357" cy="218601"/>
          </a:xfrm>
        </p:grpSpPr>
        <p:sp>
          <p:nvSpPr>
            <p:cNvPr id="49" name="Oval 48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7180111" y="4159177"/>
            <a:ext cx="256357" cy="218601"/>
            <a:chOff x="3372132" y="1825353"/>
            <a:chExt cx="256357" cy="218601"/>
          </a:xfrm>
        </p:grpSpPr>
        <p:sp>
          <p:nvSpPr>
            <p:cNvPr id="53" name="Oval 52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  <a:solidFill>
              <a:srgbClr val="F39CA9"/>
            </a:solidFill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427761" y="4225852"/>
            <a:ext cx="256357" cy="218601"/>
            <a:chOff x="3372132" y="1825353"/>
            <a:chExt cx="256357" cy="218601"/>
          </a:xfrm>
        </p:grpSpPr>
        <p:sp>
          <p:nvSpPr>
            <p:cNvPr id="57" name="Oval 56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4364371" y="3578988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1" name="Title 6"/>
          <p:cNvSpPr txBox="1">
            <a:spLocks/>
          </p:cNvSpPr>
          <p:nvPr/>
        </p:nvSpPr>
        <p:spPr>
          <a:xfrm>
            <a:off x="4435253" y="3559938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3</a:t>
            </a:r>
            <a:endParaRPr lang="pl-PL" sz="1600" dirty="0"/>
          </a:p>
        </p:txBody>
      </p:sp>
      <p:grpSp>
        <p:nvGrpSpPr>
          <p:cNvPr id="62" name="Group 61"/>
          <p:cNvGrpSpPr/>
          <p:nvPr/>
        </p:nvGrpSpPr>
        <p:grpSpPr>
          <a:xfrm>
            <a:off x="4408961" y="3883006"/>
            <a:ext cx="256357" cy="218601"/>
            <a:chOff x="3372132" y="1825353"/>
            <a:chExt cx="256357" cy="218601"/>
          </a:xfrm>
        </p:grpSpPr>
        <p:sp>
          <p:nvSpPr>
            <p:cNvPr id="63" name="Oval 62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4464729" y="4133096"/>
            <a:ext cx="256357" cy="218601"/>
            <a:chOff x="3372132" y="1825353"/>
            <a:chExt cx="256357" cy="218601"/>
          </a:xfrm>
        </p:grpSpPr>
        <p:sp>
          <p:nvSpPr>
            <p:cNvPr id="67" name="Oval 66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4686037" y="4159177"/>
            <a:ext cx="256357" cy="218601"/>
            <a:chOff x="3372132" y="1825353"/>
            <a:chExt cx="256357" cy="218601"/>
          </a:xfrm>
        </p:grpSpPr>
        <p:sp>
          <p:nvSpPr>
            <p:cNvPr id="71" name="Oval 70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2" name="Rectangle 71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73" name="Rectangle 72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4933687" y="3892477"/>
            <a:ext cx="256357" cy="218601"/>
            <a:chOff x="3372132" y="1825353"/>
            <a:chExt cx="256357" cy="218601"/>
          </a:xfrm>
        </p:grpSpPr>
        <p:sp>
          <p:nvSpPr>
            <p:cNvPr id="75" name="Oval 7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77" name="Rectangle 7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78" name="Title 6"/>
          <p:cNvSpPr txBox="1">
            <a:spLocks/>
          </p:cNvSpPr>
          <p:nvPr/>
        </p:nvSpPr>
        <p:spPr>
          <a:xfrm>
            <a:off x="1737278" y="4453438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Akka</a:t>
            </a:r>
            <a:r>
              <a:rPr lang="pl-PL" sz="1600" dirty="0" smtClean="0"/>
              <a:t> </a:t>
            </a:r>
            <a:r>
              <a:rPr lang="pl-PL" sz="1600" dirty="0" err="1" smtClean="0"/>
              <a:t>cluster</a:t>
            </a:r>
            <a:endParaRPr lang="pl-PL" sz="1600" dirty="0"/>
          </a:p>
        </p:txBody>
      </p:sp>
      <p:sp>
        <p:nvSpPr>
          <p:cNvPr id="10" name="Rounded Rectangle 9"/>
          <p:cNvSpPr/>
          <p:nvPr/>
        </p:nvSpPr>
        <p:spPr>
          <a:xfrm>
            <a:off x="4077233" y="1751701"/>
            <a:ext cx="1959286" cy="47625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sz="1400" dirty="0" err="1" smtClean="0"/>
              <a:t>PrepareSmsrChange</a:t>
            </a:r>
            <a:endParaRPr lang="pl-PL" sz="1400" dirty="0" smtClean="0"/>
          </a:p>
          <a:p>
            <a:pPr algn="ctr"/>
            <a:r>
              <a:rPr lang="pl-PL" sz="1400" dirty="0" smtClean="0"/>
              <a:t>(EID, </a:t>
            </a:r>
            <a:r>
              <a:rPr lang="pl-PL" sz="1400" dirty="0" err="1" smtClean="0"/>
              <a:t>currentSmsrId</a:t>
            </a:r>
            <a:r>
              <a:rPr lang="pl-PL" sz="1400" dirty="0" smtClean="0"/>
              <a:t>)</a:t>
            </a:r>
            <a:endParaRPr lang="pl-PL" sz="1400" dirty="0"/>
          </a:p>
        </p:txBody>
      </p:sp>
      <p:cxnSp>
        <p:nvCxnSpPr>
          <p:cNvPr id="13" name="Straight Arrow Connector 12"/>
          <p:cNvCxnSpPr>
            <a:endCxn id="10" idx="0"/>
          </p:cNvCxnSpPr>
          <p:nvPr/>
        </p:nvCxnSpPr>
        <p:spPr>
          <a:xfrm>
            <a:off x="5056876" y="1190625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10" idx="2"/>
            <a:endCxn id="15" idx="0"/>
          </p:cNvCxnSpPr>
          <p:nvPr/>
        </p:nvCxnSpPr>
        <p:spPr>
          <a:xfrm>
            <a:off x="5056876" y="2227951"/>
            <a:ext cx="1958" cy="3381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4257182" y="2566055"/>
            <a:ext cx="1603303" cy="40787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 err="1" smtClean="0"/>
              <a:t>RoundRobin</a:t>
            </a:r>
            <a:endParaRPr lang="pl-PL" dirty="0"/>
          </a:p>
        </p:txBody>
      </p:sp>
      <p:sp>
        <p:nvSpPr>
          <p:cNvPr id="81" name="Title 6"/>
          <p:cNvSpPr txBox="1">
            <a:spLocks/>
          </p:cNvSpPr>
          <p:nvPr/>
        </p:nvSpPr>
        <p:spPr>
          <a:xfrm>
            <a:off x="8099607" y="2397003"/>
            <a:ext cx="76180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cloud</a:t>
            </a:r>
            <a:endParaRPr lang="pl-PL" sz="1600" dirty="0" smtClean="0"/>
          </a:p>
        </p:txBody>
      </p:sp>
      <p:cxnSp>
        <p:nvCxnSpPr>
          <p:cNvPr id="83" name="Straight Arrow Connector 82"/>
          <p:cNvCxnSpPr>
            <a:stCxn id="15" idx="2"/>
          </p:cNvCxnSpPr>
          <p:nvPr/>
        </p:nvCxnSpPr>
        <p:spPr>
          <a:xfrm flipH="1">
            <a:off x="2799857" y="2973927"/>
            <a:ext cx="2258977" cy="6113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Arrow Connector 2"/>
          <p:cNvCxnSpPr>
            <a:endCxn id="35" idx="7"/>
          </p:cNvCxnSpPr>
          <p:nvPr/>
        </p:nvCxnSpPr>
        <p:spPr>
          <a:xfrm flipH="1">
            <a:off x="2656831" y="3560849"/>
            <a:ext cx="143026" cy="3203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00"/>
          <p:cNvSpPr/>
          <p:nvPr/>
        </p:nvSpPr>
        <p:spPr>
          <a:xfrm>
            <a:off x="3108329" y="3563202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2" name="Title 6"/>
          <p:cNvSpPr txBox="1">
            <a:spLocks/>
          </p:cNvSpPr>
          <p:nvPr/>
        </p:nvSpPr>
        <p:spPr>
          <a:xfrm>
            <a:off x="3179211" y="3544152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2</a:t>
            </a:r>
            <a:endParaRPr lang="pl-PL" sz="1600" dirty="0"/>
          </a:p>
        </p:txBody>
      </p:sp>
      <p:grpSp>
        <p:nvGrpSpPr>
          <p:cNvPr id="103" name="Group 102"/>
          <p:cNvGrpSpPr/>
          <p:nvPr/>
        </p:nvGrpSpPr>
        <p:grpSpPr>
          <a:xfrm>
            <a:off x="3152919" y="3867220"/>
            <a:ext cx="256357" cy="218601"/>
            <a:chOff x="3372132" y="1825353"/>
            <a:chExt cx="256357" cy="218601"/>
          </a:xfrm>
        </p:grpSpPr>
        <p:sp>
          <p:nvSpPr>
            <p:cNvPr id="104" name="Oval 103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3246787" y="3964910"/>
            <a:ext cx="256357" cy="218601"/>
            <a:chOff x="3372132" y="1825353"/>
            <a:chExt cx="256357" cy="218601"/>
          </a:xfrm>
        </p:grpSpPr>
        <p:sp>
          <p:nvSpPr>
            <p:cNvPr id="108" name="Oval 107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3468095" y="3990991"/>
            <a:ext cx="256357" cy="218601"/>
            <a:chOff x="3372132" y="1825353"/>
            <a:chExt cx="256357" cy="218601"/>
          </a:xfrm>
        </p:grpSpPr>
        <p:sp>
          <p:nvSpPr>
            <p:cNvPr id="112" name="Oval 111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3715745" y="4057666"/>
            <a:ext cx="256357" cy="218601"/>
            <a:chOff x="3372132" y="1825353"/>
            <a:chExt cx="256357" cy="218601"/>
          </a:xfrm>
        </p:grpSpPr>
        <p:sp>
          <p:nvSpPr>
            <p:cNvPr id="116" name="Oval 115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19" name="Rectangle 118"/>
          <p:cNvSpPr/>
          <p:nvPr/>
        </p:nvSpPr>
        <p:spPr>
          <a:xfrm>
            <a:off x="5611408" y="3569167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20" name="Title 6"/>
          <p:cNvSpPr txBox="1">
            <a:spLocks/>
          </p:cNvSpPr>
          <p:nvPr/>
        </p:nvSpPr>
        <p:spPr>
          <a:xfrm>
            <a:off x="5682290" y="3550117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4</a:t>
            </a:r>
            <a:endParaRPr lang="pl-PL" sz="1600" dirty="0"/>
          </a:p>
        </p:txBody>
      </p:sp>
      <p:grpSp>
        <p:nvGrpSpPr>
          <p:cNvPr id="121" name="Group 120"/>
          <p:cNvGrpSpPr/>
          <p:nvPr/>
        </p:nvGrpSpPr>
        <p:grpSpPr>
          <a:xfrm>
            <a:off x="5655998" y="3873185"/>
            <a:ext cx="256357" cy="218601"/>
            <a:chOff x="3372132" y="1825353"/>
            <a:chExt cx="256357" cy="218601"/>
          </a:xfrm>
        </p:grpSpPr>
        <p:sp>
          <p:nvSpPr>
            <p:cNvPr id="122" name="Oval 121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5711766" y="4123275"/>
            <a:ext cx="256357" cy="218601"/>
            <a:chOff x="3372132" y="1825353"/>
            <a:chExt cx="256357" cy="218601"/>
          </a:xfrm>
        </p:grpSpPr>
        <p:sp>
          <p:nvSpPr>
            <p:cNvPr id="126" name="Oval 125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28" name="Rectangle 127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5980699" y="3892181"/>
            <a:ext cx="256357" cy="218601"/>
            <a:chOff x="3372132" y="1825353"/>
            <a:chExt cx="256357" cy="218601"/>
          </a:xfrm>
        </p:grpSpPr>
        <p:sp>
          <p:nvSpPr>
            <p:cNvPr id="130" name="Oval 129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6180724" y="4216031"/>
            <a:ext cx="256357" cy="218601"/>
            <a:chOff x="3372132" y="1825353"/>
            <a:chExt cx="256357" cy="218601"/>
          </a:xfrm>
        </p:grpSpPr>
        <p:sp>
          <p:nvSpPr>
            <p:cNvPr id="134" name="Oval 133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cxnSp>
        <p:nvCxnSpPr>
          <p:cNvPr id="12" name="Straight Arrow Connector 11"/>
          <p:cNvCxnSpPr>
            <a:stCxn id="36" idx="3"/>
            <a:endCxn id="55" idx="2"/>
          </p:cNvCxnSpPr>
          <p:nvPr/>
        </p:nvCxnSpPr>
        <p:spPr>
          <a:xfrm>
            <a:off x="2616332" y="3996063"/>
            <a:ext cx="4586639" cy="3222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itle 6"/>
          <p:cNvSpPr txBox="1">
            <a:spLocks/>
          </p:cNvSpPr>
          <p:nvPr/>
        </p:nvSpPr>
        <p:spPr>
          <a:xfrm>
            <a:off x="916558" y="871972"/>
            <a:ext cx="7310931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To się skaluje</a:t>
            </a:r>
            <a:endParaRPr lang="pl-PL" dirty="0"/>
          </a:p>
        </p:txBody>
      </p:sp>
      <p:cxnSp>
        <p:nvCxnSpPr>
          <p:cNvPr id="138" name="Straight Arrow Connector 137"/>
          <p:cNvCxnSpPr/>
          <p:nvPr/>
        </p:nvCxnSpPr>
        <p:spPr>
          <a:xfrm>
            <a:off x="5513156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Arrow Connector 138"/>
          <p:cNvCxnSpPr/>
          <p:nvPr/>
        </p:nvCxnSpPr>
        <p:spPr>
          <a:xfrm>
            <a:off x="5675081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/>
          <p:cNvCxnSpPr/>
          <p:nvPr/>
        </p:nvCxnSpPr>
        <p:spPr>
          <a:xfrm>
            <a:off x="5862904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/>
          <p:cNvCxnSpPr/>
          <p:nvPr/>
        </p:nvCxnSpPr>
        <p:spPr>
          <a:xfrm>
            <a:off x="6024829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/>
          <p:cNvCxnSpPr/>
          <p:nvPr/>
        </p:nvCxnSpPr>
        <p:spPr>
          <a:xfrm>
            <a:off x="6166736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Arrow Connector 142"/>
          <p:cNvCxnSpPr/>
          <p:nvPr/>
        </p:nvCxnSpPr>
        <p:spPr>
          <a:xfrm>
            <a:off x="6328661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/>
          <p:cNvCxnSpPr/>
          <p:nvPr/>
        </p:nvCxnSpPr>
        <p:spPr>
          <a:xfrm>
            <a:off x="6501645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/>
          <p:cNvCxnSpPr/>
          <p:nvPr/>
        </p:nvCxnSpPr>
        <p:spPr>
          <a:xfrm>
            <a:off x="6663570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Arrow Connector 145"/>
          <p:cNvCxnSpPr/>
          <p:nvPr/>
        </p:nvCxnSpPr>
        <p:spPr>
          <a:xfrm>
            <a:off x="6851393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/>
          <p:cNvCxnSpPr/>
          <p:nvPr/>
        </p:nvCxnSpPr>
        <p:spPr>
          <a:xfrm>
            <a:off x="7013318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Arrow Connector 147"/>
          <p:cNvCxnSpPr/>
          <p:nvPr/>
        </p:nvCxnSpPr>
        <p:spPr>
          <a:xfrm>
            <a:off x="7155225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Arrow Connector 148"/>
          <p:cNvCxnSpPr/>
          <p:nvPr/>
        </p:nvCxnSpPr>
        <p:spPr>
          <a:xfrm>
            <a:off x="7317150" y="94202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Arrow Connector 149"/>
          <p:cNvCxnSpPr/>
          <p:nvPr/>
        </p:nvCxnSpPr>
        <p:spPr>
          <a:xfrm>
            <a:off x="2874468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Arrow Connector 150"/>
          <p:cNvCxnSpPr/>
          <p:nvPr/>
        </p:nvCxnSpPr>
        <p:spPr>
          <a:xfrm>
            <a:off x="3036393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Arrow Connector 151"/>
          <p:cNvCxnSpPr/>
          <p:nvPr/>
        </p:nvCxnSpPr>
        <p:spPr>
          <a:xfrm>
            <a:off x="3224216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/>
          <p:cNvCxnSpPr/>
          <p:nvPr/>
        </p:nvCxnSpPr>
        <p:spPr>
          <a:xfrm>
            <a:off x="3386141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/>
          <p:cNvCxnSpPr/>
          <p:nvPr/>
        </p:nvCxnSpPr>
        <p:spPr>
          <a:xfrm>
            <a:off x="3528048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/>
          <p:cNvCxnSpPr/>
          <p:nvPr/>
        </p:nvCxnSpPr>
        <p:spPr>
          <a:xfrm>
            <a:off x="3689973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/>
          <p:cNvCxnSpPr/>
          <p:nvPr/>
        </p:nvCxnSpPr>
        <p:spPr>
          <a:xfrm>
            <a:off x="3862957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/>
          <p:cNvCxnSpPr/>
          <p:nvPr/>
        </p:nvCxnSpPr>
        <p:spPr>
          <a:xfrm>
            <a:off x="4024882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/>
          <p:nvPr/>
        </p:nvCxnSpPr>
        <p:spPr>
          <a:xfrm>
            <a:off x="4212705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Arrow Connector 158"/>
          <p:cNvCxnSpPr/>
          <p:nvPr/>
        </p:nvCxnSpPr>
        <p:spPr>
          <a:xfrm>
            <a:off x="4374630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/>
          <p:cNvCxnSpPr/>
          <p:nvPr/>
        </p:nvCxnSpPr>
        <p:spPr>
          <a:xfrm>
            <a:off x="4516537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Arrow Connector 160"/>
          <p:cNvCxnSpPr/>
          <p:nvPr/>
        </p:nvCxnSpPr>
        <p:spPr>
          <a:xfrm>
            <a:off x="4678462" y="922972"/>
            <a:ext cx="0" cy="561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6752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79"/>
          <p:cNvSpPr/>
          <p:nvPr/>
        </p:nvSpPr>
        <p:spPr>
          <a:xfrm>
            <a:off x="2484255" y="2549403"/>
            <a:ext cx="4781550" cy="25940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" name="Rectangle 7"/>
          <p:cNvSpPr/>
          <p:nvPr/>
        </p:nvSpPr>
        <p:spPr>
          <a:xfrm>
            <a:off x="2636655" y="3400425"/>
            <a:ext cx="4181475" cy="15811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484255" y="299627"/>
            <a:ext cx="7310931" cy="432000"/>
          </a:xfrm>
        </p:spPr>
        <p:txBody>
          <a:bodyPr>
            <a:normAutofit/>
          </a:bodyPr>
          <a:lstStyle/>
          <a:p>
            <a:r>
              <a:rPr lang="pl-PL" dirty="0" err="1"/>
              <a:t>A</a:t>
            </a:r>
            <a:r>
              <a:rPr lang="pl-PL" dirty="0" err="1" smtClean="0"/>
              <a:t>ctor</a:t>
            </a:r>
            <a:r>
              <a:rPr lang="pl-PL" dirty="0" smtClean="0"/>
              <a:t>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08" y="152331"/>
            <a:ext cx="1613671" cy="66185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862913" y="3713249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3" name="Title 6"/>
          <p:cNvSpPr txBox="1">
            <a:spLocks/>
          </p:cNvSpPr>
          <p:nvPr/>
        </p:nvSpPr>
        <p:spPr>
          <a:xfrm>
            <a:off x="2933795" y="3694199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1</a:t>
            </a:r>
            <a:endParaRPr lang="pl-PL" sz="1600" dirty="0"/>
          </a:p>
        </p:txBody>
      </p:sp>
      <p:grpSp>
        <p:nvGrpSpPr>
          <p:cNvPr id="4" name="Group 3"/>
          <p:cNvGrpSpPr/>
          <p:nvPr/>
        </p:nvGrpSpPr>
        <p:grpSpPr>
          <a:xfrm>
            <a:off x="3002753" y="4017267"/>
            <a:ext cx="256357" cy="218601"/>
            <a:chOff x="3372132" y="1825353"/>
            <a:chExt cx="256357" cy="218601"/>
          </a:xfrm>
        </p:grpSpPr>
        <p:sp>
          <p:nvSpPr>
            <p:cNvPr id="18" name="Oval 17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411134" y="4010251"/>
            <a:ext cx="256357" cy="218601"/>
            <a:chOff x="3372132" y="1825353"/>
            <a:chExt cx="256357" cy="218601"/>
          </a:xfrm>
        </p:grpSpPr>
        <p:sp>
          <p:nvSpPr>
            <p:cNvPr id="35" name="Oval 3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3184579" y="4293438"/>
            <a:ext cx="256357" cy="218601"/>
            <a:chOff x="3372132" y="1825353"/>
            <a:chExt cx="256357" cy="218601"/>
          </a:xfrm>
        </p:grpSpPr>
        <p:sp>
          <p:nvSpPr>
            <p:cNvPr id="39" name="Oval 38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42" name="Rectangle 41"/>
          <p:cNvSpPr/>
          <p:nvPr/>
        </p:nvSpPr>
        <p:spPr>
          <a:xfrm>
            <a:off x="4213301" y="3714300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3" name="Title 6"/>
          <p:cNvSpPr txBox="1">
            <a:spLocks/>
          </p:cNvSpPr>
          <p:nvPr/>
        </p:nvSpPr>
        <p:spPr>
          <a:xfrm>
            <a:off x="4284183" y="3695250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2</a:t>
            </a:r>
            <a:endParaRPr lang="pl-PL" sz="1600" dirty="0"/>
          </a:p>
        </p:txBody>
      </p:sp>
      <p:grpSp>
        <p:nvGrpSpPr>
          <p:cNvPr id="44" name="Group 43"/>
          <p:cNvGrpSpPr/>
          <p:nvPr/>
        </p:nvGrpSpPr>
        <p:grpSpPr>
          <a:xfrm>
            <a:off x="4257891" y="4018318"/>
            <a:ext cx="256357" cy="218601"/>
            <a:chOff x="3372132" y="1825353"/>
            <a:chExt cx="256357" cy="218601"/>
          </a:xfrm>
        </p:grpSpPr>
        <p:sp>
          <p:nvSpPr>
            <p:cNvPr id="45" name="Oval 4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713897" y="4011302"/>
            <a:ext cx="256357" cy="218601"/>
            <a:chOff x="3372132" y="1825353"/>
            <a:chExt cx="256357" cy="218601"/>
          </a:xfrm>
        </p:grpSpPr>
        <p:sp>
          <p:nvSpPr>
            <p:cNvPr id="49" name="Oval 48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4782617" y="4361164"/>
            <a:ext cx="256357" cy="218601"/>
            <a:chOff x="3372132" y="1825353"/>
            <a:chExt cx="256357" cy="218601"/>
          </a:xfrm>
        </p:grpSpPr>
        <p:sp>
          <p:nvSpPr>
            <p:cNvPr id="57" name="Oval 56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5477715" y="3691438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1" name="Title 6"/>
          <p:cNvSpPr txBox="1">
            <a:spLocks/>
          </p:cNvSpPr>
          <p:nvPr/>
        </p:nvSpPr>
        <p:spPr>
          <a:xfrm>
            <a:off x="5548597" y="3672388"/>
            <a:ext cx="843518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smtClean="0"/>
              <a:t>Node3</a:t>
            </a:r>
            <a:endParaRPr lang="pl-PL" sz="1600" dirty="0"/>
          </a:p>
        </p:txBody>
      </p:sp>
      <p:grpSp>
        <p:nvGrpSpPr>
          <p:cNvPr id="62" name="Group 61"/>
          <p:cNvGrpSpPr/>
          <p:nvPr/>
        </p:nvGrpSpPr>
        <p:grpSpPr>
          <a:xfrm>
            <a:off x="5522305" y="3995456"/>
            <a:ext cx="256357" cy="218601"/>
            <a:chOff x="3372132" y="1825353"/>
            <a:chExt cx="256357" cy="218601"/>
          </a:xfrm>
        </p:grpSpPr>
        <p:sp>
          <p:nvSpPr>
            <p:cNvPr id="63" name="Oval 62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5578073" y="4245546"/>
            <a:ext cx="256357" cy="218601"/>
            <a:chOff x="3372132" y="1825353"/>
            <a:chExt cx="256357" cy="218601"/>
          </a:xfrm>
        </p:grpSpPr>
        <p:sp>
          <p:nvSpPr>
            <p:cNvPr id="67" name="Oval 66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5799381" y="4271627"/>
            <a:ext cx="256357" cy="218601"/>
            <a:chOff x="3372132" y="1825353"/>
            <a:chExt cx="256357" cy="218601"/>
          </a:xfrm>
        </p:grpSpPr>
        <p:sp>
          <p:nvSpPr>
            <p:cNvPr id="71" name="Oval 70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2" name="Rectangle 71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73" name="Rectangle 72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6047031" y="4338302"/>
            <a:ext cx="256357" cy="218601"/>
            <a:chOff x="3372132" y="1825353"/>
            <a:chExt cx="256357" cy="218601"/>
          </a:xfrm>
        </p:grpSpPr>
        <p:sp>
          <p:nvSpPr>
            <p:cNvPr id="75" name="Oval 7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77" name="Rectangle 7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78" name="Title 6"/>
          <p:cNvSpPr txBox="1">
            <a:spLocks/>
          </p:cNvSpPr>
          <p:nvPr/>
        </p:nvSpPr>
        <p:spPr>
          <a:xfrm>
            <a:off x="2686620" y="4615885"/>
            <a:ext cx="1594130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Akka</a:t>
            </a:r>
            <a:r>
              <a:rPr lang="pl-PL" sz="1600" dirty="0" smtClean="0"/>
              <a:t> </a:t>
            </a:r>
            <a:r>
              <a:rPr lang="pl-PL" sz="1600" dirty="0" err="1" smtClean="0"/>
              <a:t>cluster</a:t>
            </a:r>
            <a:endParaRPr lang="pl-PL" sz="1600" dirty="0"/>
          </a:p>
        </p:txBody>
      </p:sp>
      <p:sp>
        <p:nvSpPr>
          <p:cNvPr id="81" name="Title 6"/>
          <p:cNvSpPr txBox="1">
            <a:spLocks/>
          </p:cNvSpPr>
          <p:nvPr/>
        </p:nvSpPr>
        <p:spPr>
          <a:xfrm>
            <a:off x="6602412" y="2616078"/>
            <a:ext cx="761807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cloud</a:t>
            </a:r>
            <a:endParaRPr lang="pl-PL" sz="1600" dirty="0" smtClean="0"/>
          </a:p>
        </p:txBody>
      </p:sp>
      <p:grpSp>
        <p:nvGrpSpPr>
          <p:cNvPr id="82" name="Group 81"/>
          <p:cNvGrpSpPr/>
          <p:nvPr/>
        </p:nvGrpSpPr>
        <p:grpSpPr>
          <a:xfrm>
            <a:off x="2909950" y="4281909"/>
            <a:ext cx="256357" cy="218601"/>
            <a:chOff x="3372132" y="1825353"/>
            <a:chExt cx="256357" cy="218601"/>
          </a:xfrm>
        </p:grpSpPr>
        <p:sp>
          <p:nvSpPr>
            <p:cNvPr id="84" name="Oval 83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85" name="Rectangle 84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86" name="Rectangle 85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87" name="Title 6"/>
          <p:cNvSpPr txBox="1">
            <a:spLocks/>
          </p:cNvSpPr>
          <p:nvPr/>
        </p:nvSpPr>
        <p:spPr>
          <a:xfrm>
            <a:off x="916558" y="871972"/>
            <a:ext cx="7310931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Ale aż tak super nie jest</a:t>
            </a:r>
            <a:endParaRPr lang="pl-PL" dirty="0"/>
          </a:p>
        </p:txBody>
      </p:sp>
      <p:grpSp>
        <p:nvGrpSpPr>
          <p:cNvPr id="88" name="Group 87"/>
          <p:cNvGrpSpPr/>
          <p:nvPr/>
        </p:nvGrpSpPr>
        <p:grpSpPr>
          <a:xfrm>
            <a:off x="3449781" y="4303369"/>
            <a:ext cx="256357" cy="218601"/>
            <a:chOff x="3372132" y="1825353"/>
            <a:chExt cx="256357" cy="218601"/>
          </a:xfrm>
        </p:grpSpPr>
        <p:sp>
          <p:nvSpPr>
            <p:cNvPr id="89" name="Oval 88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90" name="Rectangle 89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91" name="Rectangle 90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4325745" y="4332934"/>
            <a:ext cx="256357" cy="218601"/>
            <a:chOff x="3372132" y="1825353"/>
            <a:chExt cx="256357" cy="218601"/>
          </a:xfrm>
        </p:grpSpPr>
        <p:sp>
          <p:nvSpPr>
            <p:cNvPr id="93" name="Oval 92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94" name="Rectangle 93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95" name="Rectangle 94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6108326" y="4017953"/>
            <a:ext cx="256357" cy="218601"/>
            <a:chOff x="3372132" y="1825353"/>
            <a:chExt cx="256357" cy="218601"/>
          </a:xfrm>
        </p:grpSpPr>
        <p:sp>
          <p:nvSpPr>
            <p:cNvPr id="97" name="Oval 96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98" name="Rectangle 97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2609147" y="1464562"/>
            <a:ext cx="256357" cy="218601"/>
            <a:chOff x="3372132" y="1825353"/>
            <a:chExt cx="256357" cy="218601"/>
          </a:xfrm>
        </p:grpSpPr>
        <p:sp>
          <p:nvSpPr>
            <p:cNvPr id="101" name="Oval 100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2610656" y="1980866"/>
            <a:ext cx="256357" cy="218601"/>
            <a:chOff x="3372132" y="1825353"/>
            <a:chExt cx="256357" cy="218601"/>
          </a:xfrm>
        </p:grpSpPr>
        <p:sp>
          <p:nvSpPr>
            <p:cNvPr id="105" name="Oval 104"/>
            <p:cNvSpPr/>
            <p:nvPr/>
          </p:nvSpPr>
          <p:spPr>
            <a:xfrm>
              <a:off x="3479427" y="1825353"/>
              <a:ext cx="149062" cy="15914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3417851" y="1883176"/>
              <a:ext cx="148309" cy="160778"/>
            </a:xfrm>
            <a:prstGeom prst="rect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3372132" y="1938781"/>
              <a:ext cx="45719" cy="45719"/>
            </a:xfrm>
            <a:prstGeom prst="rect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08" name="Title 6"/>
          <p:cNvSpPr txBox="1">
            <a:spLocks/>
          </p:cNvSpPr>
          <p:nvPr/>
        </p:nvSpPr>
        <p:spPr>
          <a:xfrm>
            <a:off x="2997703" y="1373937"/>
            <a:ext cx="1972551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Shard</a:t>
            </a:r>
            <a:r>
              <a:rPr lang="pl-PL" sz="1600" dirty="0" smtClean="0"/>
              <a:t> </a:t>
            </a:r>
            <a:r>
              <a:rPr lang="pl-PL" sz="1600" dirty="0" err="1" smtClean="0"/>
              <a:t>Coordinator</a:t>
            </a:r>
            <a:r>
              <a:rPr lang="pl-PL" sz="1600" dirty="0" smtClean="0"/>
              <a:t> </a:t>
            </a:r>
            <a:r>
              <a:rPr lang="pl-PL" sz="1600" dirty="0" err="1" smtClean="0"/>
              <a:t>Actor</a:t>
            </a:r>
            <a:endParaRPr lang="pl-PL" sz="1600" dirty="0" smtClean="0"/>
          </a:p>
        </p:txBody>
      </p:sp>
      <p:sp>
        <p:nvSpPr>
          <p:cNvPr id="109" name="Title 6"/>
          <p:cNvSpPr txBox="1">
            <a:spLocks/>
          </p:cNvSpPr>
          <p:nvPr/>
        </p:nvSpPr>
        <p:spPr>
          <a:xfrm>
            <a:off x="2991892" y="1907734"/>
            <a:ext cx="1972551" cy="432000"/>
          </a:xfrm>
          <a:prstGeom prst="rect">
            <a:avLst/>
          </a:prstGeom>
        </p:spPr>
        <p:txBody>
          <a:bodyPr vert="horz" lIns="36000" tIns="0" rIns="36000" bIns="0" rtlCol="0" anchor="ctr">
            <a:normAutofit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1600" dirty="0" err="1" smtClean="0"/>
              <a:t>Shard</a:t>
            </a:r>
            <a:r>
              <a:rPr lang="pl-PL" sz="1600" dirty="0" smtClean="0"/>
              <a:t> Region </a:t>
            </a:r>
          </a:p>
          <a:p>
            <a:r>
              <a:rPr lang="pl-PL" sz="1600" dirty="0" err="1" smtClean="0"/>
              <a:t>Actor</a:t>
            </a:r>
            <a:endParaRPr lang="pl-PL" sz="1600" dirty="0" smtClean="0"/>
          </a:p>
        </p:txBody>
      </p:sp>
    </p:spTree>
    <p:extLst>
      <p:ext uri="{BB962C8B-B14F-4D97-AF65-F5344CB8AC3E}">
        <p14:creationId xmlns:p14="http://schemas.microsoft.com/office/powerpoint/2010/main" val="3029043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dirty="0" smtClean="0"/>
              <a:t>Confidential / Restricted / Public Presentation or part title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98</a:t>
            </a:fld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7289" y="938960"/>
            <a:ext cx="5985960" cy="336577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157289" y="4409668"/>
            <a:ext cx="58578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dirty="0">
                <a:solidFill>
                  <a:srgbClr val="002060"/>
                </a:solidFill>
              </a:rPr>
              <a:t>https://www.youtube.com/watch?v=qP2A6DODr98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083217" y="-275100"/>
            <a:ext cx="7857000" cy="1485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l-PL" dirty="0" smtClean="0"/>
              <a:t>Inny ciekawy przykład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71590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fld id="{E5ACEC6D-EB66-47E3-9F18-7F6AD5E116F2}" type="datetime1">
              <a:rPr lang="en-GB" smtClean="0"/>
              <a:t>24/01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 dirty="0" smtClean="0"/>
              <a:t>Confidential / Restricted / Public Presentation or part title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ctr"/>
            <a:fld id="{22AC7BF3-41A4-4F34-8455-176B8EEB8387}" type="slidenum">
              <a:rPr lang="en-GB" smtClean="0"/>
              <a:pPr algn="ctr"/>
              <a:t>99</a:t>
            </a:fld>
            <a:endParaRPr lang="en-GB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083217" y="-275100"/>
            <a:ext cx="8335912" cy="1485000"/>
          </a:xfrm>
          <a:prstGeom prst="rect">
            <a:avLst/>
          </a:prstGeom>
        </p:spPr>
        <p:txBody>
          <a:bodyPr vert="horz" lIns="36000" tIns="0" rIns="3600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l-PL" sz="3600" dirty="0" smtClean="0"/>
              <a:t>Jeszcze ciekawsze zastosowanie</a:t>
            </a:r>
            <a:endParaRPr lang="pl-PL" sz="3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7621" y="773550"/>
            <a:ext cx="5512904" cy="3776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102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DEMIA">
  <a:themeElements>
    <a:clrScheme name="IDEMIA">
      <a:dk1>
        <a:srgbClr val="6C6D6B"/>
      </a:dk1>
      <a:lt1>
        <a:srgbClr val="FFFFFF"/>
      </a:lt1>
      <a:dk2>
        <a:srgbClr val="430099"/>
      </a:dk2>
      <a:lt2>
        <a:srgbClr val="B3BABE"/>
      </a:lt2>
      <a:accent1>
        <a:srgbClr val="430099"/>
      </a:accent1>
      <a:accent2>
        <a:srgbClr val="B3BABE"/>
      </a:accent2>
      <a:accent3>
        <a:srgbClr val="00A870"/>
      </a:accent3>
      <a:accent4>
        <a:srgbClr val="6476B8"/>
      </a:accent4>
      <a:accent5>
        <a:srgbClr val="EB5D40"/>
      </a:accent5>
      <a:accent6>
        <a:srgbClr val="C63577"/>
      </a:accent6>
      <a:hlink>
        <a:srgbClr val="430099"/>
      </a:hlink>
      <a:folHlink>
        <a:srgbClr val="430099"/>
      </a:folHlink>
    </a:clrScheme>
    <a:fontScheme name="IDEMIA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itizen Identity">
      <a:srgbClr val="FBC9A0"/>
    </a:custClr>
    <a:custClr name="Mobile Operators">
      <a:srgbClr val="F39CA9"/>
    </a:custClr>
    <a:custClr name="Connected Objects">
      <a:srgbClr val="F3E034"/>
    </a:custClr>
    <a:custClr name="Public Security">
      <a:srgbClr val="ADD5AF"/>
    </a:custClr>
    <a:custClr name="Financial Institutions">
      <a:srgbClr val="37B7B4"/>
    </a:custClr>
    <a:custClr name="Noram Identity Security">
      <a:srgbClr val="A4CBE6"/>
    </a:custClr>
  </a:custClrLst>
  <a:extLst>
    <a:ext uri="{05A4C25C-085E-4340-85A3-A5531E510DB2}">
      <thm15:themeFamily xmlns:thm15="http://schemas.microsoft.com/office/thememl/2012/main" name="IDEMIA_Presentation_Template_20171205.potx" id="{7C08F767-0310-46F5-95FC-58E4DBE0DA76}" vid="{CCB2520D-A217-4E5F-9CED-CCE55E0AB156}"/>
    </a:ext>
  </a:extLst>
</a:theme>
</file>

<file path=ppt/theme/theme2.xml><?xml version="1.0" encoding="utf-8"?>
<a:theme xmlns:a="http://schemas.openxmlformats.org/drawingml/2006/main" name="Citizen Identity">
  <a:themeElements>
    <a:clrScheme name="Custom 1">
      <a:dk1>
        <a:srgbClr val="6C6D6B"/>
      </a:dk1>
      <a:lt1>
        <a:srgbClr val="FFFFFF"/>
      </a:lt1>
      <a:dk2>
        <a:srgbClr val="FBC9A0"/>
      </a:dk2>
      <a:lt2>
        <a:srgbClr val="B3BABE"/>
      </a:lt2>
      <a:accent1>
        <a:srgbClr val="430099"/>
      </a:accent1>
      <a:accent2>
        <a:srgbClr val="B3BABE"/>
      </a:accent2>
      <a:accent3>
        <a:srgbClr val="00A870"/>
      </a:accent3>
      <a:accent4>
        <a:srgbClr val="6476B8"/>
      </a:accent4>
      <a:accent5>
        <a:srgbClr val="EB5D40"/>
      </a:accent5>
      <a:accent6>
        <a:srgbClr val="C63577"/>
      </a:accent6>
      <a:hlink>
        <a:srgbClr val="430099"/>
      </a:hlink>
      <a:folHlink>
        <a:srgbClr val="430099"/>
      </a:folHlink>
    </a:clrScheme>
    <a:fontScheme name="IDEMIA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itizen Identity">
      <a:srgbClr val="FBC9A0"/>
    </a:custClr>
    <a:custClr name="Mobile Operators">
      <a:srgbClr val="F39CA9"/>
    </a:custClr>
    <a:custClr name="Connected Objects">
      <a:srgbClr val="F3E034"/>
    </a:custClr>
    <a:custClr name="Public Security">
      <a:srgbClr val="ADD5AF"/>
    </a:custClr>
    <a:custClr name="Financial Institutions">
      <a:srgbClr val="37B7B4"/>
    </a:custClr>
    <a:custClr name="Noram Identity Security">
      <a:srgbClr val="A4CBE6"/>
    </a:custClr>
  </a:custClrLst>
  <a:extLst>
    <a:ext uri="{05A4C25C-085E-4340-85A3-A5531E510DB2}">
      <thm15:themeFamily xmlns:thm15="http://schemas.microsoft.com/office/thememl/2012/main" name="IDEMIA_Presentation_Template_20171205.potx" id="{7C08F767-0310-46F5-95FC-58E4DBE0DA76}" vid="{A96AF96D-3148-482E-B8A3-04CAC9DC98B0}"/>
    </a:ext>
  </a:extLst>
</a:theme>
</file>

<file path=ppt/theme/theme3.xml><?xml version="1.0" encoding="utf-8"?>
<a:theme xmlns:a="http://schemas.openxmlformats.org/drawingml/2006/main" name="Mobile Operators">
  <a:themeElements>
    <a:clrScheme name="IDEMIA MO">
      <a:dk1>
        <a:srgbClr val="6C6D6B"/>
      </a:dk1>
      <a:lt1>
        <a:srgbClr val="FFFFFF"/>
      </a:lt1>
      <a:dk2>
        <a:srgbClr val="F39CA9"/>
      </a:dk2>
      <a:lt2>
        <a:srgbClr val="B3BABE"/>
      </a:lt2>
      <a:accent1>
        <a:srgbClr val="430099"/>
      </a:accent1>
      <a:accent2>
        <a:srgbClr val="B3BABE"/>
      </a:accent2>
      <a:accent3>
        <a:srgbClr val="00A870"/>
      </a:accent3>
      <a:accent4>
        <a:srgbClr val="6476B8"/>
      </a:accent4>
      <a:accent5>
        <a:srgbClr val="EB5D40"/>
      </a:accent5>
      <a:accent6>
        <a:srgbClr val="C63577"/>
      </a:accent6>
      <a:hlink>
        <a:srgbClr val="430099"/>
      </a:hlink>
      <a:folHlink>
        <a:srgbClr val="430099"/>
      </a:folHlink>
    </a:clrScheme>
    <a:fontScheme name="IDEMIA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itizen Identity">
      <a:srgbClr val="FBC9A0"/>
    </a:custClr>
    <a:custClr name="Mobile Operators">
      <a:srgbClr val="F39CA9"/>
    </a:custClr>
    <a:custClr name="Connected Objects">
      <a:srgbClr val="F3E034"/>
    </a:custClr>
    <a:custClr name="Public Security">
      <a:srgbClr val="ADD5AF"/>
    </a:custClr>
    <a:custClr name="Financial Institutions">
      <a:srgbClr val="37B7B4"/>
    </a:custClr>
    <a:custClr name="Noram Identity Security">
      <a:srgbClr val="A4CBE6"/>
    </a:custClr>
  </a:custClrLst>
  <a:extLst>
    <a:ext uri="{05A4C25C-085E-4340-85A3-A5531E510DB2}">
      <thm15:themeFamily xmlns:thm15="http://schemas.microsoft.com/office/thememl/2012/main" name="IDEMIA_Presentation_Template_20171205.potx" id="{7C08F767-0310-46F5-95FC-58E4DBE0DA76}" vid="{E3B393D2-676C-47B0-B970-12A3C61A17BA}"/>
    </a:ext>
  </a:extLst>
</a:theme>
</file>

<file path=ppt/theme/theme4.xml><?xml version="1.0" encoding="utf-8"?>
<a:theme xmlns:a="http://schemas.openxmlformats.org/drawingml/2006/main" name="Connected Objects">
  <a:themeElements>
    <a:clrScheme name="IDEMIA CO">
      <a:dk1>
        <a:srgbClr val="6C6D6B"/>
      </a:dk1>
      <a:lt1>
        <a:srgbClr val="FFFFFF"/>
      </a:lt1>
      <a:dk2>
        <a:srgbClr val="F3E034"/>
      </a:dk2>
      <a:lt2>
        <a:srgbClr val="B3BABE"/>
      </a:lt2>
      <a:accent1>
        <a:srgbClr val="430099"/>
      </a:accent1>
      <a:accent2>
        <a:srgbClr val="B3BABE"/>
      </a:accent2>
      <a:accent3>
        <a:srgbClr val="00A870"/>
      </a:accent3>
      <a:accent4>
        <a:srgbClr val="6476B8"/>
      </a:accent4>
      <a:accent5>
        <a:srgbClr val="EB5D40"/>
      </a:accent5>
      <a:accent6>
        <a:srgbClr val="C63577"/>
      </a:accent6>
      <a:hlink>
        <a:srgbClr val="430099"/>
      </a:hlink>
      <a:folHlink>
        <a:srgbClr val="430099"/>
      </a:folHlink>
    </a:clrScheme>
    <a:fontScheme name="IDEMIA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itizen Identity">
      <a:srgbClr val="FBC9A0"/>
    </a:custClr>
    <a:custClr name="Mobile Operators">
      <a:srgbClr val="F39CA9"/>
    </a:custClr>
    <a:custClr name="Connected Objects">
      <a:srgbClr val="F3E034"/>
    </a:custClr>
    <a:custClr name="Public Security">
      <a:srgbClr val="ADD5AF"/>
    </a:custClr>
    <a:custClr name="Financial Institutions">
      <a:srgbClr val="37B7B4"/>
    </a:custClr>
    <a:custClr name="Noram Identity Security">
      <a:srgbClr val="A4CBE6"/>
    </a:custClr>
  </a:custClrLst>
  <a:extLst>
    <a:ext uri="{05A4C25C-085E-4340-85A3-A5531E510DB2}">
      <thm15:themeFamily xmlns:thm15="http://schemas.microsoft.com/office/thememl/2012/main" name="IDEMIA_Presentation_Template_20171205.potx" id="{7C08F767-0310-46F5-95FC-58E4DBE0DA76}" vid="{F88667DB-2AAF-4DA4-BDCC-6996E88C3383}"/>
    </a:ext>
  </a:extLst>
</a:theme>
</file>

<file path=ppt/theme/theme5.xml><?xml version="1.0" encoding="utf-8"?>
<a:theme xmlns:a="http://schemas.openxmlformats.org/drawingml/2006/main" name="Public Security">
  <a:themeElements>
    <a:clrScheme name="IDEMIA PS">
      <a:dk1>
        <a:srgbClr val="6C6D6B"/>
      </a:dk1>
      <a:lt1>
        <a:srgbClr val="FFFFFF"/>
      </a:lt1>
      <a:dk2>
        <a:srgbClr val="ADD5AF"/>
      </a:dk2>
      <a:lt2>
        <a:srgbClr val="B3BABE"/>
      </a:lt2>
      <a:accent1>
        <a:srgbClr val="430099"/>
      </a:accent1>
      <a:accent2>
        <a:srgbClr val="B3BABE"/>
      </a:accent2>
      <a:accent3>
        <a:srgbClr val="00A870"/>
      </a:accent3>
      <a:accent4>
        <a:srgbClr val="6476B8"/>
      </a:accent4>
      <a:accent5>
        <a:srgbClr val="EB5D40"/>
      </a:accent5>
      <a:accent6>
        <a:srgbClr val="C63577"/>
      </a:accent6>
      <a:hlink>
        <a:srgbClr val="430099"/>
      </a:hlink>
      <a:folHlink>
        <a:srgbClr val="430099"/>
      </a:folHlink>
    </a:clrScheme>
    <a:fontScheme name="IDEMIA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itizen Identity">
      <a:srgbClr val="FBC9A0"/>
    </a:custClr>
    <a:custClr name="Mobile Operators">
      <a:srgbClr val="F39CA9"/>
    </a:custClr>
    <a:custClr name="Connected Objects">
      <a:srgbClr val="F3E034"/>
    </a:custClr>
    <a:custClr name="Public Security">
      <a:srgbClr val="ADD5AF"/>
    </a:custClr>
    <a:custClr name="Financial Institutions">
      <a:srgbClr val="37B7B4"/>
    </a:custClr>
    <a:custClr name="Noram Identity Security">
      <a:srgbClr val="A4CBE6"/>
    </a:custClr>
  </a:custClrLst>
  <a:extLst>
    <a:ext uri="{05A4C25C-085E-4340-85A3-A5531E510DB2}">
      <thm15:themeFamily xmlns:thm15="http://schemas.microsoft.com/office/thememl/2012/main" name="IDEMIA_Presentation_Template_20171205.potx" id="{7C08F767-0310-46F5-95FC-58E4DBE0DA76}" vid="{311DB38C-9353-44DE-96CC-C7E59F9F9360}"/>
    </a:ext>
  </a:extLst>
</a:theme>
</file>

<file path=ppt/theme/theme6.xml><?xml version="1.0" encoding="utf-8"?>
<a:theme xmlns:a="http://schemas.openxmlformats.org/drawingml/2006/main" name="Financial Institutions">
  <a:themeElements>
    <a:clrScheme name="IDEMIA FI">
      <a:dk1>
        <a:srgbClr val="6C6D6B"/>
      </a:dk1>
      <a:lt1>
        <a:srgbClr val="FFFFFF"/>
      </a:lt1>
      <a:dk2>
        <a:srgbClr val="37B7B4"/>
      </a:dk2>
      <a:lt2>
        <a:srgbClr val="B3BABE"/>
      </a:lt2>
      <a:accent1>
        <a:srgbClr val="430099"/>
      </a:accent1>
      <a:accent2>
        <a:srgbClr val="B3BABE"/>
      </a:accent2>
      <a:accent3>
        <a:srgbClr val="00A870"/>
      </a:accent3>
      <a:accent4>
        <a:srgbClr val="6476B8"/>
      </a:accent4>
      <a:accent5>
        <a:srgbClr val="EB5D40"/>
      </a:accent5>
      <a:accent6>
        <a:srgbClr val="C63577"/>
      </a:accent6>
      <a:hlink>
        <a:srgbClr val="430099"/>
      </a:hlink>
      <a:folHlink>
        <a:srgbClr val="430099"/>
      </a:folHlink>
    </a:clrScheme>
    <a:fontScheme name="IDEMIA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itizen Identity">
      <a:srgbClr val="FBC9A0"/>
    </a:custClr>
    <a:custClr name="Mobile Operators">
      <a:srgbClr val="F39CA9"/>
    </a:custClr>
    <a:custClr name="Connected Objects">
      <a:srgbClr val="F3E034"/>
    </a:custClr>
    <a:custClr name="Public Security">
      <a:srgbClr val="ADD5AF"/>
    </a:custClr>
    <a:custClr name="Financial Institutions">
      <a:srgbClr val="37B7B4"/>
    </a:custClr>
    <a:custClr name="Noram Identity Security">
      <a:srgbClr val="A4CBE6"/>
    </a:custClr>
  </a:custClrLst>
  <a:extLst>
    <a:ext uri="{05A4C25C-085E-4340-85A3-A5531E510DB2}">
      <thm15:themeFamily xmlns:thm15="http://schemas.microsoft.com/office/thememl/2012/main" name="IDEMIA_Presentation_Template_20171205.potx" id="{7C08F767-0310-46F5-95FC-58E4DBE0DA76}" vid="{916B484C-BA30-4621-BA76-D182D43C92C9}"/>
    </a:ext>
  </a:extLst>
</a:theme>
</file>

<file path=ppt/theme/theme7.xml><?xml version="1.0" encoding="utf-8"?>
<a:theme xmlns:a="http://schemas.openxmlformats.org/drawingml/2006/main" name="NORAM I&amp;S">
  <a:themeElements>
    <a:clrScheme name="Custom 1">
      <a:dk1>
        <a:srgbClr val="6C6D6B"/>
      </a:dk1>
      <a:lt1>
        <a:srgbClr val="FFFFFF"/>
      </a:lt1>
      <a:dk2>
        <a:srgbClr val="A4CBE6"/>
      </a:dk2>
      <a:lt2>
        <a:srgbClr val="B3BABE"/>
      </a:lt2>
      <a:accent1>
        <a:srgbClr val="430099"/>
      </a:accent1>
      <a:accent2>
        <a:srgbClr val="B3BABE"/>
      </a:accent2>
      <a:accent3>
        <a:srgbClr val="00A870"/>
      </a:accent3>
      <a:accent4>
        <a:srgbClr val="6476B8"/>
      </a:accent4>
      <a:accent5>
        <a:srgbClr val="EB5D40"/>
      </a:accent5>
      <a:accent6>
        <a:srgbClr val="C63577"/>
      </a:accent6>
      <a:hlink>
        <a:srgbClr val="430099"/>
      </a:hlink>
      <a:folHlink>
        <a:srgbClr val="430099"/>
      </a:folHlink>
    </a:clrScheme>
    <a:fontScheme name="IDEMIA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itizen Identity">
      <a:srgbClr val="FBC9A0"/>
    </a:custClr>
    <a:custClr name="Mobile Operators">
      <a:srgbClr val="F39CA9"/>
    </a:custClr>
    <a:custClr name="Connected Objects">
      <a:srgbClr val="F3E034"/>
    </a:custClr>
    <a:custClr name="Public Security">
      <a:srgbClr val="ADD5AF"/>
    </a:custClr>
    <a:custClr name="Financial Institutions">
      <a:srgbClr val="37B7B4"/>
    </a:custClr>
    <a:custClr name="Noram Identity Security">
      <a:srgbClr val="A4CBE6"/>
    </a:custClr>
  </a:custClrLst>
  <a:extLst>
    <a:ext uri="{05A4C25C-085E-4340-85A3-A5531E510DB2}">
      <thm15:themeFamily xmlns:thm15="http://schemas.microsoft.com/office/thememl/2012/main" name="IDEMIA_Presentation_Template_20171205.potx" id="{7C08F767-0310-46F5-95FC-58E4DBE0DA76}" vid="{F5F01B42-43A5-4744-93E3-A885ED5CEFA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DEMIA">
    <a:dk1>
      <a:srgbClr val="6C6D6B"/>
    </a:dk1>
    <a:lt1>
      <a:srgbClr val="FFFFFF"/>
    </a:lt1>
    <a:dk2>
      <a:srgbClr val="430099"/>
    </a:dk2>
    <a:lt2>
      <a:srgbClr val="B3BABE"/>
    </a:lt2>
    <a:accent1>
      <a:srgbClr val="430099"/>
    </a:accent1>
    <a:accent2>
      <a:srgbClr val="B3BABE"/>
    </a:accent2>
    <a:accent3>
      <a:srgbClr val="00A870"/>
    </a:accent3>
    <a:accent4>
      <a:srgbClr val="6476B8"/>
    </a:accent4>
    <a:accent5>
      <a:srgbClr val="EB5D40"/>
    </a:accent5>
    <a:accent6>
      <a:srgbClr val="C63577"/>
    </a:accent6>
    <a:hlink>
      <a:srgbClr val="430099"/>
    </a:hlink>
    <a:folHlink>
      <a:srgbClr val="430099"/>
    </a:folHlink>
  </a:clrScheme>
</a:themeOverride>
</file>

<file path=ppt/theme/themeOverride2.xml><?xml version="1.0" encoding="utf-8"?>
<a:themeOverride xmlns:a="http://schemas.openxmlformats.org/drawingml/2006/main">
  <a:clrScheme name="IDEMIA">
    <a:dk1>
      <a:srgbClr val="6C6D6B"/>
    </a:dk1>
    <a:lt1>
      <a:srgbClr val="FFFFFF"/>
    </a:lt1>
    <a:dk2>
      <a:srgbClr val="430099"/>
    </a:dk2>
    <a:lt2>
      <a:srgbClr val="B3BABE"/>
    </a:lt2>
    <a:accent1>
      <a:srgbClr val="430099"/>
    </a:accent1>
    <a:accent2>
      <a:srgbClr val="B3BABE"/>
    </a:accent2>
    <a:accent3>
      <a:srgbClr val="00A870"/>
    </a:accent3>
    <a:accent4>
      <a:srgbClr val="6476B8"/>
    </a:accent4>
    <a:accent5>
      <a:srgbClr val="EB5D40"/>
    </a:accent5>
    <a:accent6>
      <a:srgbClr val="C63577"/>
    </a:accent6>
    <a:hlink>
      <a:srgbClr val="430099"/>
    </a:hlink>
    <a:folHlink>
      <a:srgbClr val="43009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DEMIA_Presentation_Template_20171205(1)</Template>
  <TotalTime>5489</TotalTime>
  <Words>2213</Words>
  <Application>Microsoft Office PowerPoint</Application>
  <PresentationFormat>On-screen Show (16:9)</PresentationFormat>
  <Paragraphs>1172</Paragraphs>
  <Slides>10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1</vt:i4>
      </vt:variant>
    </vt:vector>
  </HeadingPairs>
  <TitlesOfParts>
    <vt:vector size="116" baseType="lpstr">
      <vt:lpstr>Arial</vt:lpstr>
      <vt:lpstr>Calibri</vt:lpstr>
      <vt:lpstr>Modern No. 20</vt:lpstr>
      <vt:lpstr>PingFangSC-Regular</vt:lpstr>
      <vt:lpstr>Symbol</vt:lpstr>
      <vt:lpstr>Verdana</vt:lpstr>
      <vt:lpstr>Wingdings 2</vt:lpstr>
      <vt:lpstr>IDEMIA</vt:lpstr>
      <vt:lpstr>Citizen Identity</vt:lpstr>
      <vt:lpstr>Mobile Operators</vt:lpstr>
      <vt:lpstr>Connected Objects</vt:lpstr>
      <vt:lpstr>Public Security</vt:lpstr>
      <vt:lpstr>Financial Institutions</vt:lpstr>
      <vt:lpstr>NORAM I&amp;S</vt:lpstr>
      <vt:lpstr>think-cell Slide</vt:lpstr>
      <vt:lpstr>Do czego służą sagi i w czym może nam pomóc event sourcing</vt:lpstr>
      <vt:lpstr>O mnie</vt:lpstr>
      <vt:lpstr>Małe przeprosiny</vt:lpstr>
      <vt:lpstr>Małe przeprosiny</vt:lpstr>
      <vt:lpstr>Czym się zajmuję (przyda się do opisu problemu)</vt:lpstr>
      <vt:lpstr>Jak wygląda eUICC</vt:lpstr>
      <vt:lpstr>Komunikacja z kartą</vt:lpstr>
      <vt:lpstr>Płyń do brzegu</vt:lpstr>
      <vt:lpstr>Nie trudne… ale nie trywialne</vt:lpstr>
      <vt:lpstr>Krok po kroku</vt:lpstr>
      <vt:lpstr>Krok po kroku</vt:lpstr>
      <vt:lpstr>Krok po kroku</vt:lpstr>
      <vt:lpstr>Krok po kroku</vt:lpstr>
      <vt:lpstr>Krok po kroku</vt:lpstr>
      <vt:lpstr>Krok po kroku</vt:lpstr>
      <vt:lpstr>Krok po kroku</vt:lpstr>
      <vt:lpstr>Krok po kroku</vt:lpstr>
      <vt:lpstr>Krok po kroku</vt:lpstr>
      <vt:lpstr>Krok po kroku</vt:lpstr>
      <vt:lpstr>Krok po kroku</vt:lpstr>
      <vt:lpstr>Krok po kroku</vt:lpstr>
      <vt:lpstr>Krok po kroku</vt:lpstr>
      <vt:lpstr>Krok po kroku</vt:lpstr>
      <vt:lpstr>Pytanie do publiczności</vt:lpstr>
      <vt:lpstr>Podpowiedź</vt:lpstr>
      <vt:lpstr>Jak taki proces zaimplementować?</vt:lpstr>
      <vt:lpstr>Klasyk</vt:lpstr>
      <vt:lpstr>Klasyk</vt:lpstr>
      <vt:lpstr>Klasyk</vt:lpstr>
      <vt:lpstr>Klasyk</vt:lpstr>
      <vt:lpstr>Klasyk</vt:lpstr>
      <vt:lpstr>Klasyk</vt:lpstr>
      <vt:lpstr>Jak to robili pradawni</vt:lpstr>
      <vt:lpstr>Persystentny Multi-Listener, czyli... Saga?</vt:lpstr>
      <vt:lpstr>PowerPoint Presentation</vt:lpstr>
      <vt:lpstr>Po raz kolejny krok po kroku</vt:lpstr>
      <vt:lpstr>Po raz kolejny krok po kroku</vt:lpstr>
      <vt:lpstr>Po raz kolejny krok po kroku</vt:lpstr>
      <vt:lpstr>Po raz kolejny krok po kroku</vt:lpstr>
      <vt:lpstr>Po raz kolejny krok po kroku</vt:lpstr>
      <vt:lpstr>Po raz kolejny krok po kroku</vt:lpstr>
      <vt:lpstr>Po raz kolejny krok po kroku</vt:lpstr>
      <vt:lpstr>Po raz kolejny krok po kroku</vt:lpstr>
      <vt:lpstr>Po raz kolejny krok po kroku</vt:lpstr>
      <vt:lpstr>Po raz kolejny krok po kroku</vt:lpstr>
      <vt:lpstr>Po raz kolejny krok po kroku</vt:lpstr>
      <vt:lpstr>Po raz kolejny krok po kroku</vt:lpstr>
      <vt:lpstr>Po raz kolejny krok po kroku</vt:lpstr>
      <vt:lpstr>Po raz kolejny krok po kroku</vt:lpstr>
      <vt:lpstr>PowerPoint Presentation</vt:lpstr>
      <vt:lpstr>Przykład oparty na</vt:lpstr>
      <vt:lpstr>Spring is coming</vt:lpstr>
      <vt:lpstr>Spring is coming</vt:lpstr>
      <vt:lpstr>Spring is coming</vt:lpstr>
      <vt:lpstr>Spring …</vt:lpstr>
      <vt:lpstr>Spring is coming</vt:lpstr>
      <vt:lpstr>Microservice</vt:lpstr>
      <vt:lpstr>PowerPoint Presentation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Actor model</vt:lpstr>
      <vt:lpstr>Trochę odlecimy</vt:lpstr>
      <vt:lpstr>Klasyk DDD</vt:lpstr>
      <vt:lpstr>Odjechane DDD</vt:lpstr>
      <vt:lpstr>Aktor w chmurze</vt:lpstr>
      <vt:lpstr>Actor model</vt:lpstr>
      <vt:lpstr>Actor model</vt:lpstr>
      <vt:lpstr>Actor model</vt:lpstr>
      <vt:lpstr>Actor model</vt:lpstr>
      <vt:lpstr>Actor model</vt:lpstr>
      <vt:lpstr>Actor model</vt:lpstr>
      <vt:lpstr>PowerPoint Presentation</vt:lpstr>
      <vt:lpstr>PowerPoint Presentation</vt:lpstr>
      <vt:lpstr>Pytania?</vt:lpstr>
      <vt:lpstr>PowerPoint Presentation</vt:lpstr>
    </vt:vector>
  </TitlesOfParts>
  <Company>OT - Morph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emplate v02</dc:title>
  <dc:creator>DELAIRE Emmanuelle</dc:creator>
  <cp:lastModifiedBy>SINCZAK Damian</cp:lastModifiedBy>
  <cp:revision>37</cp:revision>
  <dcterms:created xsi:type="dcterms:W3CDTF">2017-12-08T10:53:09Z</dcterms:created>
  <dcterms:modified xsi:type="dcterms:W3CDTF">2018-01-25T06:28:39Z</dcterms:modified>
</cp:coreProperties>
</file>